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heme/themeOverride1.xml" ContentType="application/vnd.openxmlformats-officedocument.themeOverr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8" r:id="rId4"/>
    <p:sldMasterId id="2147483736" r:id="rId5"/>
    <p:sldMasterId id="2147483749" r:id="rId6"/>
  </p:sldMasterIdLst>
  <p:notesMasterIdLst>
    <p:notesMasterId r:id="rId60"/>
  </p:notesMasterIdLst>
  <p:handoutMasterIdLst>
    <p:handoutMasterId r:id="rId61"/>
  </p:handoutMasterIdLst>
  <p:sldIdLst>
    <p:sldId id="10092" r:id="rId7"/>
    <p:sldId id="10466" r:id="rId8"/>
    <p:sldId id="10331" r:id="rId9"/>
    <p:sldId id="10469" r:id="rId10"/>
    <p:sldId id="10320" r:id="rId11"/>
    <p:sldId id="10321" r:id="rId12"/>
    <p:sldId id="10322" r:id="rId13"/>
    <p:sldId id="10391" r:id="rId14"/>
    <p:sldId id="10241" r:id="rId15"/>
    <p:sldId id="10464" r:id="rId16"/>
    <p:sldId id="10470" r:id="rId17"/>
    <p:sldId id="10426" r:id="rId18"/>
    <p:sldId id="10425" r:id="rId19"/>
    <p:sldId id="10467" r:id="rId20"/>
    <p:sldId id="10193" r:id="rId21"/>
    <p:sldId id="10473" r:id="rId22"/>
    <p:sldId id="10249" r:id="rId23"/>
    <p:sldId id="10228" r:id="rId24"/>
    <p:sldId id="10443" r:id="rId25"/>
    <p:sldId id="10447" r:id="rId26"/>
    <p:sldId id="10445" r:id="rId27"/>
    <p:sldId id="10446" r:id="rId28"/>
    <p:sldId id="10251" r:id="rId29"/>
    <p:sldId id="10231" r:id="rId30"/>
    <p:sldId id="10448" r:id="rId31"/>
    <p:sldId id="10450" r:id="rId32"/>
    <p:sldId id="10451" r:id="rId33"/>
    <p:sldId id="10452" r:id="rId34"/>
    <p:sldId id="10449" r:id="rId35"/>
    <p:sldId id="10252" r:id="rId36"/>
    <p:sldId id="10232" r:id="rId37"/>
    <p:sldId id="10459" r:id="rId38"/>
    <p:sldId id="10463" r:id="rId39"/>
    <p:sldId id="10462" r:id="rId40"/>
    <p:sldId id="10481" r:id="rId41"/>
    <p:sldId id="10461" r:id="rId42"/>
    <p:sldId id="10460" r:id="rId43"/>
    <p:sldId id="10475" r:id="rId44"/>
    <p:sldId id="10256" r:id="rId45"/>
    <p:sldId id="10275" r:id="rId46"/>
    <p:sldId id="10429" r:id="rId47"/>
    <p:sldId id="10436" r:id="rId48"/>
    <p:sldId id="10433" r:id="rId49"/>
    <p:sldId id="10439" r:id="rId50"/>
    <p:sldId id="10437" r:id="rId51"/>
    <p:sldId id="10431" r:id="rId52"/>
    <p:sldId id="10489" r:id="rId53"/>
    <p:sldId id="10440" r:id="rId54"/>
    <p:sldId id="10434" r:id="rId55"/>
    <p:sldId id="10471" r:id="rId56"/>
    <p:sldId id="10442" r:id="rId57"/>
    <p:sldId id="10441" r:id="rId58"/>
    <p:sldId id="10150" r:id="rId59"/>
  </p:sldIdLst>
  <p:sldSz cx="24384000" cy="13716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1pPr>
    <a:lvl2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2pPr>
    <a:lvl3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3pPr>
    <a:lvl4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4pPr>
    <a:lvl5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5pPr>
    <a:lvl6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6pPr>
    <a:lvl7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7pPr>
    <a:lvl8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8pPr>
    <a:lvl9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9pPr>
  </p:defaultTextStyle>
  <p:extLst>
    <p:ext uri="{521415D9-36F7-43E2-AB2F-B90AF26B5E84}">
      <p14:sectionLst xmlns:p14="http://schemas.microsoft.com/office/powerpoint/2010/main">
        <p14:section name="Default Section" id="{64A52D3D-CB97-7542-94A0-F386CEE0CAAA}">
          <p14:sldIdLst>
            <p14:sldId id="10092"/>
            <p14:sldId id="10466"/>
            <p14:sldId id="10331"/>
            <p14:sldId id="10469"/>
            <p14:sldId id="10320"/>
            <p14:sldId id="10321"/>
            <p14:sldId id="10322"/>
            <p14:sldId id="10391"/>
            <p14:sldId id="10241"/>
            <p14:sldId id="10464"/>
            <p14:sldId id="10470"/>
            <p14:sldId id="10426"/>
            <p14:sldId id="10425"/>
            <p14:sldId id="10467"/>
            <p14:sldId id="10193"/>
            <p14:sldId id="10473"/>
            <p14:sldId id="10249"/>
            <p14:sldId id="10228"/>
            <p14:sldId id="10443"/>
            <p14:sldId id="10447"/>
            <p14:sldId id="10445"/>
            <p14:sldId id="10446"/>
            <p14:sldId id="10251"/>
            <p14:sldId id="10231"/>
            <p14:sldId id="10448"/>
            <p14:sldId id="10450"/>
            <p14:sldId id="10451"/>
            <p14:sldId id="10452"/>
            <p14:sldId id="10449"/>
            <p14:sldId id="10252"/>
            <p14:sldId id="10232"/>
            <p14:sldId id="10459"/>
            <p14:sldId id="10463"/>
            <p14:sldId id="10462"/>
            <p14:sldId id="10481"/>
            <p14:sldId id="10461"/>
            <p14:sldId id="10460"/>
            <p14:sldId id="10475"/>
            <p14:sldId id="10256"/>
            <p14:sldId id="10275"/>
            <p14:sldId id="10429"/>
            <p14:sldId id="10436"/>
            <p14:sldId id="10433"/>
            <p14:sldId id="10439"/>
            <p14:sldId id="10437"/>
            <p14:sldId id="10431"/>
            <p14:sldId id="10489"/>
            <p14:sldId id="10440"/>
            <p14:sldId id="10434"/>
            <p14:sldId id="10471"/>
            <p14:sldId id="10442"/>
            <p14:sldId id="10441"/>
            <p14:sldId id="10150"/>
          </p14:sldIdLst>
        </p14:section>
      </p14:sectionLst>
    </p:ext>
    <p:ext uri="{EFAFB233-063F-42B5-8137-9DF3F51BA10A}">
      <p15:sldGuideLst xmlns:p15="http://schemas.microsoft.com/office/powerpoint/2012/main">
        <p15:guide id="1" pos="1608" userDrawn="1">
          <p15:clr>
            <a:srgbClr val="A4A3A4"/>
          </p15:clr>
        </p15:guide>
        <p15:guide id="2" orient="horz" pos="206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ime Pedregal" initials="JP" lastIdx="1" clrIdx="0">
    <p:extLst>
      <p:ext uri="{19B8F6BF-5375-455C-9EA6-DF929625EA0E}">
        <p15:presenceInfo xmlns:p15="http://schemas.microsoft.com/office/powerpoint/2012/main" userId="S::jaime.pedregal@ibm.com::780357e1-7e8c-438a-a3ea-fbf54520b6a5" providerId="AD"/>
      </p:ext>
    </p:extLst>
  </p:cmAuthor>
  <p:cmAuthor id="2" name="Jaime Pedregal" initials="JP [2]" lastIdx="11" clrIdx="1">
    <p:extLst>
      <p:ext uri="{19B8F6BF-5375-455C-9EA6-DF929625EA0E}">
        <p15:presenceInfo xmlns:p15="http://schemas.microsoft.com/office/powerpoint/2012/main" userId="SmFn8H8erXhpMZa7DqfhE05SP1nxbnuNwwcFJeLL0HU="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000000"/>
        </p14:laserClr>
      </p:ext>
      <p:ext uri="{2FDB2607-1784-4EEB-B798-7EB5836EED8A}">
        <p14:showMediaCtrls xmlns:p14="http://schemas.microsoft.com/office/powerpoint/2010/main" val="1"/>
      </p:ext>
    </p:extLst>
  </p:showPr>
  <p:clrMru>
    <a:srgbClr val="AC0000"/>
    <a:srgbClr val="0060B6"/>
    <a:srgbClr val="7DB0D2"/>
    <a:srgbClr val="C00000"/>
    <a:srgbClr val="AC5FDA"/>
    <a:srgbClr val="D00000"/>
    <a:srgbClr val="FFFFFF"/>
    <a:srgbClr val="AF7FE5"/>
    <a:srgbClr val="BC3ADB"/>
    <a:srgbClr val="B464E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B648533-5C85-4FE7-8D23-1346E8D25D05}" v="50" dt="2020-07-14T14:43:19.591"/>
    <p1510:client id="{BCBF7C69-B919-4BF1-941D-9F33D05DA556}" v="9" dt="2020-07-14T13:01:32.909"/>
  </p1510:revLst>
</p1510:revInfo>
</file>

<file path=ppt/tableStyles.xml><?xml version="1.0" encoding="utf-8"?>
<a:tblStyleLst xmlns:a="http://schemas.openxmlformats.org/drawingml/2006/main" def="{5940675A-B579-460E-94D1-54222C63F5DA}">
  <a:tblStyle styleId="{4C3C2611-4C71-4FC5-86AE-919BDF0F9419}"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DFFF"/>
          </a:solidFill>
        </a:fill>
      </a:tcStyle>
    </a:wholeTbl>
    <a:band2H>
      <a:tcTxStyle/>
      <a:tcStyle>
        <a:tcBdr/>
        <a:fill>
          <a:solidFill>
            <a:srgbClr val="E6F0FF"/>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Row>
  </a:tblStyle>
  <a:tblStyle styleId="{C7B018BB-80A7-4F77-B60F-C8B233D01FF8}"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D1F0CC"/>
          </a:solidFill>
        </a:fill>
      </a:tcStyle>
    </a:wholeTbl>
    <a:band2H>
      <a:tcTxStyle/>
      <a:tcStyle>
        <a:tcBdr/>
        <a:fill>
          <a:solidFill>
            <a:srgbClr val="EAF8E7"/>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Row>
  </a:tblStyle>
  <a:tblStyle styleId="{EEE7283C-3CF3-47DC-8721-378D4A62B228}"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F9D1E1"/>
          </a:solidFill>
        </a:fill>
      </a:tcStyle>
    </a:wholeTbl>
    <a:band2H>
      <a:tcTxStyle/>
      <a:tcStyle>
        <a:tcBdr/>
        <a:fill>
          <a:solidFill>
            <a:srgbClr val="FCE9F0"/>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Row>
  </a:tblStyle>
  <a:tblStyle styleId="{CF821DB8-F4EB-4A41-A1BA-3FCAFE7338EE}" styleName="">
    <a:tblBg/>
    <a:wholeTbl>
      <a:tcTxStyle b="off" i="off">
        <a:fontRef idx="maj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6E6"/>
          </a:solidFill>
        </a:fill>
      </a:tcStyle>
    </a:wholeTbl>
    <a:band2H>
      <a:tcTxStyle/>
      <a:tcStyle>
        <a:tcBdr/>
        <a:fill>
          <a:solidFill>
            <a:srgbClr val="FFFFFF"/>
          </a:solidFill>
        </a:fill>
      </a:tcStyle>
    </a:band2H>
    <a:firstCol>
      <a:tcTxStyle b="on" i="off">
        <a:fontRef idx="major">
          <a:srgbClr val="FFFFFF"/>
        </a:fontRef>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Ref idx="major">
          <a:srgbClr val="000000"/>
        </a:fontRef>
        <a:srgbClr val="000000"/>
      </a:tcTxStyle>
      <a:tcStyle>
        <a:tcBdr>
          <a:left>
            <a:ln w="12700" cap="flat">
              <a:noFill/>
              <a:miter lim="400000"/>
            </a:ln>
          </a:left>
          <a:right>
            <a:ln w="12700" cap="flat">
              <a:noFill/>
              <a:miter lim="400000"/>
            </a:ln>
          </a:right>
          <a:top>
            <a:ln w="508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rgbClr val="FFFFFF"/>
          </a:solidFill>
        </a:fill>
      </a:tcStyle>
    </a:lastRow>
    <a:firstRow>
      <a:tcTxStyle b="on" i="off">
        <a:fontRef idx="major">
          <a:srgbClr val="FFFFFF"/>
        </a:fontRef>
        <a:srgbClr val="FFFFFF"/>
      </a:tcTxStyle>
      <a:tcStyle>
        <a:tcBdr>
          <a:left>
            <a:ln w="12700" cap="flat">
              <a:noFill/>
              <a:miter lim="400000"/>
            </a:ln>
          </a:left>
          <a:right>
            <a:ln w="12700" cap="flat">
              <a:noFill/>
              <a:miter lim="400000"/>
            </a:ln>
          </a:right>
          <a:top>
            <a:ln w="254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33BA23B1-9221-436E-865A-0063620EA4FD}"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CACA"/>
          </a:solidFill>
        </a:fill>
      </a:tcStyle>
    </a:wholeTbl>
    <a:band2H>
      <a:tcTxStyle/>
      <a:tcStyle>
        <a:tcBdr/>
        <a:fill>
          <a:solidFill>
            <a:srgbClr val="E6E6E6"/>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Row>
  </a:tblStyle>
  <a:tblStyle styleId="{2708684C-4D16-4618-839F-0558EEFCDFE6}" styleName="">
    <a:tblBg/>
    <a:wholeTbl>
      <a:tcTxStyle b="off"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wholeTbl>
    <a:band2H>
      <a:tcTxStyle/>
      <a:tcStyle>
        <a:tcBdr/>
        <a:fill>
          <a:solidFill>
            <a:srgbClr val="FFFFFF"/>
          </a:solidFill>
        </a:fill>
      </a:tcStyle>
    </a:band2H>
    <a:firstCol>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firstCol>
    <a:lastRow>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508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lastRow>
    <a:firstRow>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254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firstRow>
  </a:tblStyle>
  <a:tblStyle styleId="{5940675A-B579-460E-94D1-54222C63F5DA}" styleName="Sin estilo, cuadrícula de la tab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221" autoAdjust="0"/>
    <p:restoredTop sz="90724" autoAdjust="0"/>
  </p:normalViewPr>
  <p:slideViewPr>
    <p:cSldViewPr snapToGrid="0">
      <p:cViewPr>
        <p:scale>
          <a:sx n="30" d="100"/>
          <a:sy n="30" d="100"/>
        </p:scale>
        <p:origin x="1170" y="210"/>
      </p:cViewPr>
      <p:guideLst>
        <p:guide pos="1608"/>
        <p:guide orient="horz" pos="2064"/>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presProps" Target="presProps.xml"/><Relationship Id="rId68" Type="http://schemas.microsoft.com/office/2015/10/relationships/revisionInfo" Target="revisionInfo.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handoutMaster" Target="handoutMasters/handoutMaster1.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viewProps" Target="viewProp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microsoft.com/office/2016/11/relationships/changesInfo" Target="changesInfos/changesInfo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notesMaster" Target="notesMasters/notesMaster1.xml"/><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RRIBAS GOMEZ JAIME" userId="bda9de57-7129-4431-9ddb-1c140753328c" providerId="ADAL" clId="{7B648533-5C85-4FE7-8D23-1346E8D25D05}"/>
    <pc:docChg chg="undo custSel addSld delSld modSld modSection">
      <pc:chgData name="ARRIBAS GOMEZ JAIME" userId="bda9de57-7129-4431-9ddb-1c140753328c" providerId="ADAL" clId="{7B648533-5C85-4FE7-8D23-1346E8D25D05}" dt="2020-07-14T14:47:36.773" v="208" actId="478"/>
      <pc:docMkLst>
        <pc:docMk/>
      </pc:docMkLst>
      <pc:sldChg chg="modSp">
        <pc:chgData name="ARRIBAS GOMEZ JAIME" userId="bda9de57-7129-4431-9ddb-1c140753328c" providerId="ADAL" clId="{7B648533-5C85-4FE7-8D23-1346E8D25D05}" dt="2020-07-14T14:35:14.189" v="155" actId="20577"/>
        <pc:sldMkLst>
          <pc:docMk/>
          <pc:sldMk cId="3383033531" sldId="10193"/>
        </pc:sldMkLst>
        <pc:spChg chg="mod">
          <ac:chgData name="ARRIBAS GOMEZ JAIME" userId="bda9de57-7129-4431-9ddb-1c140753328c" providerId="ADAL" clId="{7B648533-5C85-4FE7-8D23-1346E8D25D05}" dt="2020-07-14T14:35:14.189" v="155" actId="20577"/>
          <ac:spMkLst>
            <pc:docMk/>
            <pc:sldMk cId="3383033531" sldId="10193"/>
            <ac:spMk id="71" creationId="{F676AB65-77DB-4A78-A643-4620598C8FD4}"/>
          </ac:spMkLst>
        </pc:spChg>
      </pc:sldChg>
      <pc:sldChg chg="modSp">
        <pc:chgData name="ARRIBAS GOMEZ JAIME" userId="bda9de57-7129-4431-9ddb-1c140753328c" providerId="ADAL" clId="{7B648533-5C85-4FE7-8D23-1346E8D25D05}" dt="2020-07-14T14:33:40.472" v="118" actId="113"/>
        <pc:sldMkLst>
          <pc:docMk/>
          <pc:sldMk cId="1600129533" sldId="10426"/>
        </pc:sldMkLst>
        <pc:spChg chg="mod">
          <ac:chgData name="ARRIBAS GOMEZ JAIME" userId="bda9de57-7129-4431-9ddb-1c140753328c" providerId="ADAL" clId="{7B648533-5C85-4FE7-8D23-1346E8D25D05}" dt="2020-07-14T14:33:40.472" v="118" actId="113"/>
          <ac:spMkLst>
            <pc:docMk/>
            <pc:sldMk cId="1600129533" sldId="10426"/>
            <ac:spMk id="69" creationId="{A51579CF-1C9F-4C88-B800-91DB91C9AC35}"/>
          </ac:spMkLst>
        </pc:spChg>
      </pc:sldChg>
      <pc:sldChg chg="modSp">
        <pc:chgData name="ARRIBAS GOMEZ JAIME" userId="bda9de57-7129-4431-9ddb-1c140753328c" providerId="ADAL" clId="{7B648533-5C85-4FE7-8D23-1346E8D25D05}" dt="2020-07-14T14:43:19.590" v="198" actId="1035"/>
        <pc:sldMkLst>
          <pc:docMk/>
          <pc:sldMk cId="2630739623" sldId="10441"/>
        </pc:sldMkLst>
        <pc:spChg chg="mod">
          <ac:chgData name="ARRIBAS GOMEZ JAIME" userId="bda9de57-7129-4431-9ddb-1c140753328c" providerId="ADAL" clId="{7B648533-5C85-4FE7-8D23-1346E8D25D05}" dt="2020-07-14T14:43:19.590" v="198" actId="1035"/>
          <ac:spMkLst>
            <pc:docMk/>
            <pc:sldMk cId="2630739623" sldId="10441"/>
            <ac:spMk id="21" creationId="{6F9A9748-BA7E-442B-94A9-DA3FFA7EC9C7}"/>
          </ac:spMkLst>
        </pc:spChg>
        <pc:spChg chg="mod">
          <ac:chgData name="ARRIBAS GOMEZ JAIME" userId="bda9de57-7129-4431-9ddb-1c140753328c" providerId="ADAL" clId="{7B648533-5C85-4FE7-8D23-1346E8D25D05}" dt="2020-07-14T14:43:19.590" v="198" actId="1035"/>
          <ac:spMkLst>
            <pc:docMk/>
            <pc:sldMk cId="2630739623" sldId="10441"/>
            <ac:spMk id="22" creationId="{32480B73-00A8-402E-9083-0C69BA7603A3}"/>
          </ac:spMkLst>
        </pc:spChg>
        <pc:spChg chg="mod">
          <ac:chgData name="ARRIBAS GOMEZ JAIME" userId="bda9de57-7129-4431-9ddb-1c140753328c" providerId="ADAL" clId="{7B648533-5C85-4FE7-8D23-1346E8D25D05}" dt="2020-07-14T14:43:19.590" v="198" actId="1035"/>
          <ac:spMkLst>
            <pc:docMk/>
            <pc:sldMk cId="2630739623" sldId="10441"/>
            <ac:spMk id="30" creationId="{248FB0C6-B876-461A-9CE7-50C16585B429}"/>
          </ac:spMkLst>
        </pc:spChg>
        <pc:spChg chg="mod">
          <ac:chgData name="ARRIBAS GOMEZ JAIME" userId="bda9de57-7129-4431-9ddb-1c140753328c" providerId="ADAL" clId="{7B648533-5C85-4FE7-8D23-1346E8D25D05}" dt="2020-07-14T14:43:19.590" v="198" actId="1035"/>
          <ac:spMkLst>
            <pc:docMk/>
            <pc:sldMk cId="2630739623" sldId="10441"/>
            <ac:spMk id="37" creationId="{F807DF85-FE98-4250-A183-DC4B3C7507DF}"/>
          </ac:spMkLst>
        </pc:spChg>
        <pc:spChg chg="mod">
          <ac:chgData name="ARRIBAS GOMEZ JAIME" userId="bda9de57-7129-4431-9ddb-1c140753328c" providerId="ADAL" clId="{7B648533-5C85-4FE7-8D23-1346E8D25D05}" dt="2020-07-14T14:43:19.590" v="198" actId="1035"/>
          <ac:spMkLst>
            <pc:docMk/>
            <pc:sldMk cId="2630739623" sldId="10441"/>
            <ac:spMk id="38" creationId="{8866B764-EA2F-4611-983E-EBD66700A68B}"/>
          </ac:spMkLst>
        </pc:spChg>
        <pc:spChg chg="mod">
          <ac:chgData name="ARRIBAS GOMEZ JAIME" userId="bda9de57-7129-4431-9ddb-1c140753328c" providerId="ADAL" clId="{7B648533-5C85-4FE7-8D23-1346E8D25D05}" dt="2020-07-14T14:43:19.590" v="198" actId="1035"/>
          <ac:spMkLst>
            <pc:docMk/>
            <pc:sldMk cId="2630739623" sldId="10441"/>
            <ac:spMk id="39" creationId="{8278DE77-F67D-485A-A5CB-0C5BDCE07991}"/>
          </ac:spMkLst>
        </pc:spChg>
        <pc:spChg chg="mod">
          <ac:chgData name="ARRIBAS GOMEZ JAIME" userId="bda9de57-7129-4431-9ddb-1c140753328c" providerId="ADAL" clId="{7B648533-5C85-4FE7-8D23-1346E8D25D05}" dt="2020-07-14T14:43:19.590" v="198" actId="1035"/>
          <ac:spMkLst>
            <pc:docMk/>
            <pc:sldMk cId="2630739623" sldId="10441"/>
            <ac:spMk id="40" creationId="{491C8BFE-F4EF-4B5F-B4DA-51AAD85F81C4}"/>
          </ac:spMkLst>
        </pc:spChg>
        <pc:spChg chg="mod">
          <ac:chgData name="ARRIBAS GOMEZ JAIME" userId="bda9de57-7129-4431-9ddb-1c140753328c" providerId="ADAL" clId="{7B648533-5C85-4FE7-8D23-1346E8D25D05}" dt="2020-07-14T14:43:19.590" v="198" actId="1035"/>
          <ac:spMkLst>
            <pc:docMk/>
            <pc:sldMk cId="2630739623" sldId="10441"/>
            <ac:spMk id="41" creationId="{1D6D4FB3-504E-416B-8103-68012EE27596}"/>
          </ac:spMkLst>
        </pc:spChg>
        <pc:spChg chg="mod">
          <ac:chgData name="ARRIBAS GOMEZ JAIME" userId="bda9de57-7129-4431-9ddb-1c140753328c" providerId="ADAL" clId="{7B648533-5C85-4FE7-8D23-1346E8D25D05}" dt="2020-07-14T14:43:19.590" v="198" actId="1035"/>
          <ac:spMkLst>
            <pc:docMk/>
            <pc:sldMk cId="2630739623" sldId="10441"/>
            <ac:spMk id="42" creationId="{2119C021-7B93-4429-9B56-A006DF57BF80}"/>
          </ac:spMkLst>
        </pc:spChg>
        <pc:spChg chg="mod">
          <ac:chgData name="ARRIBAS GOMEZ JAIME" userId="bda9de57-7129-4431-9ddb-1c140753328c" providerId="ADAL" clId="{7B648533-5C85-4FE7-8D23-1346E8D25D05}" dt="2020-07-14T14:43:19.590" v="198" actId="1035"/>
          <ac:spMkLst>
            <pc:docMk/>
            <pc:sldMk cId="2630739623" sldId="10441"/>
            <ac:spMk id="43" creationId="{FAEAF1DE-6259-4906-89C3-CDC0163181C0}"/>
          </ac:spMkLst>
        </pc:spChg>
        <pc:spChg chg="mod">
          <ac:chgData name="ARRIBAS GOMEZ JAIME" userId="bda9de57-7129-4431-9ddb-1c140753328c" providerId="ADAL" clId="{7B648533-5C85-4FE7-8D23-1346E8D25D05}" dt="2020-07-14T14:43:19.590" v="198" actId="1035"/>
          <ac:spMkLst>
            <pc:docMk/>
            <pc:sldMk cId="2630739623" sldId="10441"/>
            <ac:spMk id="44" creationId="{B495AA50-D674-4E32-B6B6-55EE28295267}"/>
          </ac:spMkLst>
        </pc:spChg>
        <pc:spChg chg="mod">
          <ac:chgData name="ARRIBAS GOMEZ JAIME" userId="bda9de57-7129-4431-9ddb-1c140753328c" providerId="ADAL" clId="{7B648533-5C85-4FE7-8D23-1346E8D25D05}" dt="2020-07-14T14:43:19.590" v="198" actId="1035"/>
          <ac:spMkLst>
            <pc:docMk/>
            <pc:sldMk cId="2630739623" sldId="10441"/>
            <ac:spMk id="248" creationId="{DFA08D17-6113-4313-A801-61891899DE14}"/>
          </ac:spMkLst>
        </pc:spChg>
        <pc:spChg chg="mod">
          <ac:chgData name="ARRIBAS GOMEZ JAIME" userId="bda9de57-7129-4431-9ddb-1c140753328c" providerId="ADAL" clId="{7B648533-5C85-4FE7-8D23-1346E8D25D05}" dt="2020-07-14T14:43:19.590" v="198" actId="1035"/>
          <ac:spMkLst>
            <pc:docMk/>
            <pc:sldMk cId="2630739623" sldId="10441"/>
            <ac:spMk id="249" creationId="{7E380BFC-7D03-4C67-A7E7-E0C5DA2807E5}"/>
          </ac:spMkLst>
        </pc:spChg>
        <pc:spChg chg="mod">
          <ac:chgData name="ARRIBAS GOMEZ JAIME" userId="bda9de57-7129-4431-9ddb-1c140753328c" providerId="ADAL" clId="{7B648533-5C85-4FE7-8D23-1346E8D25D05}" dt="2020-07-14T14:43:19.590" v="198" actId="1035"/>
          <ac:spMkLst>
            <pc:docMk/>
            <pc:sldMk cId="2630739623" sldId="10441"/>
            <ac:spMk id="250" creationId="{CFE0C78D-9CDB-4DDD-B535-59A7535F154D}"/>
          </ac:spMkLst>
        </pc:spChg>
        <pc:spChg chg="mod">
          <ac:chgData name="ARRIBAS GOMEZ JAIME" userId="bda9de57-7129-4431-9ddb-1c140753328c" providerId="ADAL" clId="{7B648533-5C85-4FE7-8D23-1346E8D25D05}" dt="2020-07-14T14:43:19.590" v="198" actId="1035"/>
          <ac:spMkLst>
            <pc:docMk/>
            <pc:sldMk cId="2630739623" sldId="10441"/>
            <ac:spMk id="251" creationId="{65534B48-27DF-4CC8-BFED-596256A0D4E4}"/>
          </ac:spMkLst>
        </pc:spChg>
        <pc:spChg chg="mod">
          <ac:chgData name="ARRIBAS GOMEZ JAIME" userId="bda9de57-7129-4431-9ddb-1c140753328c" providerId="ADAL" clId="{7B648533-5C85-4FE7-8D23-1346E8D25D05}" dt="2020-07-14T14:43:19.590" v="198" actId="1035"/>
          <ac:spMkLst>
            <pc:docMk/>
            <pc:sldMk cId="2630739623" sldId="10441"/>
            <ac:spMk id="252" creationId="{A4D6FEB1-9066-4C24-B822-75FA13D9DE25}"/>
          </ac:spMkLst>
        </pc:spChg>
        <pc:spChg chg="mod">
          <ac:chgData name="ARRIBAS GOMEZ JAIME" userId="bda9de57-7129-4431-9ddb-1c140753328c" providerId="ADAL" clId="{7B648533-5C85-4FE7-8D23-1346E8D25D05}" dt="2020-07-14T14:43:19.590" v="198" actId="1035"/>
          <ac:spMkLst>
            <pc:docMk/>
            <pc:sldMk cId="2630739623" sldId="10441"/>
            <ac:spMk id="253" creationId="{35BB263D-DEBC-4B72-8B40-B729ACB65B19}"/>
          </ac:spMkLst>
        </pc:spChg>
        <pc:spChg chg="mod">
          <ac:chgData name="ARRIBAS GOMEZ JAIME" userId="bda9de57-7129-4431-9ddb-1c140753328c" providerId="ADAL" clId="{7B648533-5C85-4FE7-8D23-1346E8D25D05}" dt="2020-07-14T14:43:19.590" v="198" actId="1035"/>
          <ac:spMkLst>
            <pc:docMk/>
            <pc:sldMk cId="2630739623" sldId="10441"/>
            <ac:spMk id="254" creationId="{C2D7F909-8A25-4F83-BE9C-6BA425FFFE3D}"/>
          </ac:spMkLst>
        </pc:spChg>
        <pc:graphicFrameChg chg="mod">
          <ac:chgData name="ARRIBAS GOMEZ JAIME" userId="bda9de57-7129-4431-9ddb-1c140753328c" providerId="ADAL" clId="{7B648533-5C85-4FE7-8D23-1346E8D25D05}" dt="2020-07-14T14:43:19.590" v="198" actId="1035"/>
          <ac:graphicFrameMkLst>
            <pc:docMk/>
            <pc:sldMk cId="2630739623" sldId="10441"/>
            <ac:graphicFrameMk id="84" creationId="{315848BD-5669-43CB-89FE-334B2A351F3C}"/>
          </ac:graphicFrameMkLst>
        </pc:graphicFrameChg>
      </pc:sldChg>
      <pc:sldChg chg="modSp">
        <pc:chgData name="ARRIBAS GOMEZ JAIME" userId="bda9de57-7129-4431-9ddb-1c140753328c" providerId="ADAL" clId="{7B648533-5C85-4FE7-8D23-1346E8D25D05}" dt="2020-07-14T14:43:11.692" v="183" actId="1036"/>
        <pc:sldMkLst>
          <pc:docMk/>
          <pc:sldMk cId="1543669535" sldId="10442"/>
        </pc:sldMkLst>
        <pc:spChg chg="mod">
          <ac:chgData name="ARRIBAS GOMEZ JAIME" userId="bda9de57-7129-4431-9ddb-1c140753328c" providerId="ADAL" clId="{7B648533-5C85-4FE7-8D23-1346E8D25D05}" dt="2020-07-14T14:43:11.692" v="183" actId="1036"/>
          <ac:spMkLst>
            <pc:docMk/>
            <pc:sldMk cId="1543669535" sldId="10442"/>
            <ac:spMk id="20" creationId="{A97E7284-D11F-4B67-80C6-4BD7ADCB6920}"/>
          </ac:spMkLst>
        </pc:spChg>
        <pc:spChg chg="mod">
          <ac:chgData name="ARRIBAS GOMEZ JAIME" userId="bda9de57-7129-4431-9ddb-1c140753328c" providerId="ADAL" clId="{7B648533-5C85-4FE7-8D23-1346E8D25D05}" dt="2020-07-14T14:43:11.692" v="183" actId="1036"/>
          <ac:spMkLst>
            <pc:docMk/>
            <pc:sldMk cId="1543669535" sldId="10442"/>
            <ac:spMk id="21" creationId="{E0BD6808-FD33-43B8-9631-1C15F1F74756}"/>
          </ac:spMkLst>
        </pc:spChg>
        <pc:spChg chg="mod">
          <ac:chgData name="ARRIBAS GOMEZ JAIME" userId="bda9de57-7129-4431-9ddb-1c140753328c" providerId="ADAL" clId="{7B648533-5C85-4FE7-8D23-1346E8D25D05}" dt="2020-07-14T14:43:11.692" v="183" actId="1036"/>
          <ac:spMkLst>
            <pc:docMk/>
            <pc:sldMk cId="1543669535" sldId="10442"/>
            <ac:spMk id="22" creationId="{C5E5C3DB-BAD9-4701-8620-D9C37864F152}"/>
          </ac:spMkLst>
        </pc:spChg>
        <pc:spChg chg="mod">
          <ac:chgData name="ARRIBAS GOMEZ JAIME" userId="bda9de57-7129-4431-9ddb-1c140753328c" providerId="ADAL" clId="{7B648533-5C85-4FE7-8D23-1346E8D25D05}" dt="2020-07-14T14:43:11.692" v="183" actId="1036"/>
          <ac:spMkLst>
            <pc:docMk/>
            <pc:sldMk cId="1543669535" sldId="10442"/>
            <ac:spMk id="23" creationId="{02B76618-C01F-4348-B84A-1A612C867FCF}"/>
          </ac:spMkLst>
        </pc:spChg>
        <pc:spChg chg="mod">
          <ac:chgData name="ARRIBAS GOMEZ JAIME" userId="bda9de57-7129-4431-9ddb-1c140753328c" providerId="ADAL" clId="{7B648533-5C85-4FE7-8D23-1346E8D25D05}" dt="2020-07-14T14:43:11.692" v="183" actId="1036"/>
          <ac:spMkLst>
            <pc:docMk/>
            <pc:sldMk cId="1543669535" sldId="10442"/>
            <ac:spMk id="30" creationId="{A4F45E62-3A43-4B9F-AB35-654F5503E264}"/>
          </ac:spMkLst>
        </pc:spChg>
        <pc:spChg chg="mod">
          <ac:chgData name="ARRIBAS GOMEZ JAIME" userId="bda9de57-7129-4431-9ddb-1c140753328c" providerId="ADAL" clId="{7B648533-5C85-4FE7-8D23-1346E8D25D05}" dt="2020-07-14T14:43:11.692" v="183" actId="1036"/>
          <ac:spMkLst>
            <pc:docMk/>
            <pc:sldMk cId="1543669535" sldId="10442"/>
            <ac:spMk id="36" creationId="{157EE8BD-0DA6-43A4-90BD-31054BA0F5F7}"/>
          </ac:spMkLst>
        </pc:spChg>
        <pc:spChg chg="mod">
          <ac:chgData name="ARRIBAS GOMEZ JAIME" userId="bda9de57-7129-4431-9ddb-1c140753328c" providerId="ADAL" clId="{7B648533-5C85-4FE7-8D23-1346E8D25D05}" dt="2020-07-14T14:43:11.692" v="183" actId="1036"/>
          <ac:spMkLst>
            <pc:docMk/>
            <pc:sldMk cId="1543669535" sldId="10442"/>
            <ac:spMk id="37" creationId="{296AD9F3-E028-47AC-A818-0043E839B495}"/>
          </ac:spMkLst>
        </pc:spChg>
        <pc:spChg chg="mod">
          <ac:chgData name="ARRIBAS GOMEZ JAIME" userId="bda9de57-7129-4431-9ddb-1c140753328c" providerId="ADAL" clId="{7B648533-5C85-4FE7-8D23-1346E8D25D05}" dt="2020-07-14T14:43:11.692" v="183" actId="1036"/>
          <ac:spMkLst>
            <pc:docMk/>
            <pc:sldMk cId="1543669535" sldId="10442"/>
            <ac:spMk id="38" creationId="{2C48D04D-C0DC-4DD0-B466-7A8373196E44}"/>
          </ac:spMkLst>
        </pc:spChg>
        <pc:spChg chg="mod">
          <ac:chgData name="ARRIBAS GOMEZ JAIME" userId="bda9de57-7129-4431-9ddb-1c140753328c" providerId="ADAL" clId="{7B648533-5C85-4FE7-8D23-1346E8D25D05}" dt="2020-07-14T14:43:11.692" v="183" actId="1036"/>
          <ac:spMkLst>
            <pc:docMk/>
            <pc:sldMk cId="1543669535" sldId="10442"/>
            <ac:spMk id="39" creationId="{A47B288A-4F2D-4CEE-9A3C-6EE379DFF86B}"/>
          </ac:spMkLst>
        </pc:spChg>
        <pc:spChg chg="mod">
          <ac:chgData name="ARRIBAS GOMEZ JAIME" userId="bda9de57-7129-4431-9ddb-1c140753328c" providerId="ADAL" clId="{7B648533-5C85-4FE7-8D23-1346E8D25D05}" dt="2020-07-14T14:43:11.692" v="183" actId="1036"/>
          <ac:spMkLst>
            <pc:docMk/>
            <pc:sldMk cId="1543669535" sldId="10442"/>
            <ac:spMk id="40" creationId="{0E0BADC0-8F20-427A-8332-2FC6381816DC}"/>
          </ac:spMkLst>
        </pc:spChg>
        <pc:spChg chg="mod">
          <ac:chgData name="ARRIBAS GOMEZ JAIME" userId="bda9de57-7129-4431-9ddb-1c140753328c" providerId="ADAL" clId="{7B648533-5C85-4FE7-8D23-1346E8D25D05}" dt="2020-07-14T14:43:11.692" v="183" actId="1036"/>
          <ac:spMkLst>
            <pc:docMk/>
            <pc:sldMk cId="1543669535" sldId="10442"/>
            <ac:spMk id="41" creationId="{B39D8B17-3AB3-488A-B7BF-3AE2C8B43969}"/>
          </ac:spMkLst>
        </pc:spChg>
        <pc:spChg chg="mod">
          <ac:chgData name="ARRIBAS GOMEZ JAIME" userId="bda9de57-7129-4431-9ddb-1c140753328c" providerId="ADAL" clId="{7B648533-5C85-4FE7-8D23-1346E8D25D05}" dt="2020-07-14T14:43:11.692" v="183" actId="1036"/>
          <ac:spMkLst>
            <pc:docMk/>
            <pc:sldMk cId="1543669535" sldId="10442"/>
            <ac:spMk id="42" creationId="{92D74D70-D378-48C7-9B77-0A04563ACC88}"/>
          </ac:spMkLst>
        </pc:spChg>
        <pc:spChg chg="mod">
          <ac:chgData name="ARRIBAS GOMEZ JAIME" userId="bda9de57-7129-4431-9ddb-1c140753328c" providerId="ADAL" clId="{7B648533-5C85-4FE7-8D23-1346E8D25D05}" dt="2020-07-14T14:43:11.692" v="183" actId="1036"/>
          <ac:spMkLst>
            <pc:docMk/>
            <pc:sldMk cId="1543669535" sldId="10442"/>
            <ac:spMk id="248" creationId="{DFA08D17-6113-4313-A801-61891899DE14}"/>
          </ac:spMkLst>
        </pc:spChg>
        <pc:spChg chg="mod">
          <ac:chgData name="ARRIBAS GOMEZ JAIME" userId="bda9de57-7129-4431-9ddb-1c140753328c" providerId="ADAL" clId="{7B648533-5C85-4FE7-8D23-1346E8D25D05}" dt="2020-07-14T14:43:11.692" v="183" actId="1036"/>
          <ac:spMkLst>
            <pc:docMk/>
            <pc:sldMk cId="1543669535" sldId="10442"/>
            <ac:spMk id="249" creationId="{7E380BFC-7D03-4C67-A7E7-E0C5DA2807E5}"/>
          </ac:spMkLst>
        </pc:spChg>
        <pc:spChg chg="mod">
          <ac:chgData name="ARRIBAS GOMEZ JAIME" userId="bda9de57-7129-4431-9ddb-1c140753328c" providerId="ADAL" clId="{7B648533-5C85-4FE7-8D23-1346E8D25D05}" dt="2020-07-14T14:43:11.692" v="183" actId="1036"/>
          <ac:spMkLst>
            <pc:docMk/>
            <pc:sldMk cId="1543669535" sldId="10442"/>
            <ac:spMk id="250" creationId="{CFE0C78D-9CDB-4DDD-B535-59A7535F154D}"/>
          </ac:spMkLst>
        </pc:spChg>
        <pc:spChg chg="mod">
          <ac:chgData name="ARRIBAS GOMEZ JAIME" userId="bda9de57-7129-4431-9ddb-1c140753328c" providerId="ADAL" clId="{7B648533-5C85-4FE7-8D23-1346E8D25D05}" dt="2020-07-14T14:43:11.692" v="183" actId="1036"/>
          <ac:spMkLst>
            <pc:docMk/>
            <pc:sldMk cId="1543669535" sldId="10442"/>
            <ac:spMk id="251" creationId="{65534B48-27DF-4CC8-BFED-596256A0D4E4}"/>
          </ac:spMkLst>
        </pc:spChg>
        <pc:spChg chg="mod">
          <ac:chgData name="ARRIBAS GOMEZ JAIME" userId="bda9de57-7129-4431-9ddb-1c140753328c" providerId="ADAL" clId="{7B648533-5C85-4FE7-8D23-1346E8D25D05}" dt="2020-07-14T14:43:11.692" v="183" actId="1036"/>
          <ac:spMkLst>
            <pc:docMk/>
            <pc:sldMk cId="1543669535" sldId="10442"/>
            <ac:spMk id="252" creationId="{A4D6FEB1-9066-4C24-B822-75FA13D9DE25}"/>
          </ac:spMkLst>
        </pc:spChg>
        <pc:spChg chg="mod">
          <ac:chgData name="ARRIBAS GOMEZ JAIME" userId="bda9de57-7129-4431-9ddb-1c140753328c" providerId="ADAL" clId="{7B648533-5C85-4FE7-8D23-1346E8D25D05}" dt="2020-07-14T14:43:11.692" v="183" actId="1036"/>
          <ac:spMkLst>
            <pc:docMk/>
            <pc:sldMk cId="1543669535" sldId="10442"/>
            <ac:spMk id="253" creationId="{35BB263D-DEBC-4B72-8B40-B729ACB65B19}"/>
          </ac:spMkLst>
        </pc:spChg>
        <pc:spChg chg="mod">
          <ac:chgData name="ARRIBAS GOMEZ JAIME" userId="bda9de57-7129-4431-9ddb-1c140753328c" providerId="ADAL" clId="{7B648533-5C85-4FE7-8D23-1346E8D25D05}" dt="2020-07-14T14:43:11.692" v="183" actId="1036"/>
          <ac:spMkLst>
            <pc:docMk/>
            <pc:sldMk cId="1543669535" sldId="10442"/>
            <ac:spMk id="254" creationId="{C2D7F909-8A25-4F83-BE9C-6BA425FFFE3D}"/>
          </ac:spMkLst>
        </pc:spChg>
        <pc:graphicFrameChg chg="mod">
          <ac:chgData name="ARRIBAS GOMEZ JAIME" userId="bda9de57-7129-4431-9ddb-1c140753328c" providerId="ADAL" clId="{7B648533-5C85-4FE7-8D23-1346E8D25D05}" dt="2020-07-14T14:43:11.692" v="183" actId="1036"/>
          <ac:graphicFrameMkLst>
            <pc:docMk/>
            <pc:sldMk cId="1543669535" sldId="10442"/>
            <ac:graphicFrameMk id="3" creationId="{8424FDA4-45D3-45E2-8762-723E57EB49CF}"/>
          </ac:graphicFrameMkLst>
        </pc:graphicFrameChg>
      </pc:sldChg>
      <pc:sldChg chg="delSp">
        <pc:chgData name="ARRIBAS GOMEZ JAIME" userId="bda9de57-7129-4431-9ddb-1c140753328c" providerId="ADAL" clId="{7B648533-5C85-4FE7-8D23-1346E8D25D05}" dt="2020-07-14T14:47:36.773" v="208" actId="478"/>
        <pc:sldMkLst>
          <pc:docMk/>
          <pc:sldMk cId="141520604" sldId="10466"/>
        </pc:sldMkLst>
        <pc:spChg chg="del">
          <ac:chgData name="ARRIBAS GOMEZ JAIME" userId="bda9de57-7129-4431-9ddb-1c140753328c" providerId="ADAL" clId="{7B648533-5C85-4FE7-8D23-1346E8D25D05}" dt="2020-07-14T14:47:36.773" v="208" actId="478"/>
          <ac:spMkLst>
            <pc:docMk/>
            <pc:sldMk cId="141520604" sldId="10466"/>
            <ac:spMk id="58" creationId="{C4E41289-79D9-433F-A2CC-54854C8BFDA9}"/>
          </ac:spMkLst>
        </pc:spChg>
      </pc:sldChg>
      <pc:sldChg chg="delSp">
        <pc:chgData name="ARRIBAS GOMEZ JAIME" userId="bda9de57-7129-4431-9ddb-1c140753328c" providerId="ADAL" clId="{7B648533-5C85-4FE7-8D23-1346E8D25D05}" dt="2020-07-14T14:47:27.791" v="205" actId="478"/>
        <pc:sldMkLst>
          <pc:docMk/>
          <pc:sldMk cId="4183251716" sldId="10467"/>
        </pc:sldMkLst>
        <pc:spChg chg="del">
          <ac:chgData name="ARRIBAS GOMEZ JAIME" userId="bda9de57-7129-4431-9ddb-1c140753328c" providerId="ADAL" clId="{7B648533-5C85-4FE7-8D23-1346E8D25D05}" dt="2020-07-14T14:47:27.791" v="205" actId="478"/>
          <ac:spMkLst>
            <pc:docMk/>
            <pc:sldMk cId="4183251716" sldId="10467"/>
            <ac:spMk id="58" creationId="{C4E41289-79D9-433F-A2CC-54854C8BFDA9}"/>
          </ac:spMkLst>
        </pc:spChg>
        <pc:picChg chg="del">
          <ac:chgData name="ARRIBAS GOMEZ JAIME" userId="bda9de57-7129-4431-9ddb-1c140753328c" providerId="ADAL" clId="{7B648533-5C85-4FE7-8D23-1346E8D25D05}" dt="2020-07-14T14:47:27.058" v="204" actId="478"/>
          <ac:picMkLst>
            <pc:docMk/>
            <pc:sldMk cId="4183251716" sldId="10467"/>
            <ac:picMk id="3" creationId="{803EE050-D601-4C76-B9B1-AE86744FB1B1}"/>
          </ac:picMkLst>
        </pc:picChg>
      </pc:sldChg>
      <pc:sldChg chg="delSp">
        <pc:chgData name="ARRIBAS GOMEZ JAIME" userId="bda9de57-7129-4431-9ddb-1c140753328c" providerId="ADAL" clId="{7B648533-5C85-4FE7-8D23-1346E8D25D05}" dt="2020-07-14T14:47:34.651" v="207" actId="478"/>
        <pc:sldMkLst>
          <pc:docMk/>
          <pc:sldMk cId="4173463210" sldId="10469"/>
        </pc:sldMkLst>
        <pc:spChg chg="del">
          <ac:chgData name="ARRIBAS GOMEZ JAIME" userId="bda9de57-7129-4431-9ddb-1c140753328c" providerId="ADAL" clId="{7B648533-5C85-4FE7-8D23-1346E8D25D05}" dt="2020-07-14T14:47:34.651" v="207" actId="478"/>
          <ac:spMkLst>
            <pc:docMk/>
            <pc:sldMk cId="4173463210" sldId="10469"/>
            <ac:spMk id="58" creationId="{C4E41289-79D9-433F-A2CC-54854C8BFDA9}"/>
          </ac:spMkLst>
        </pc:spChg>
      </pc:sldChg>
      <pc:sldChg chg="delSp">
        <pc:chgData name="ARRIBAS GOMEZ JAIME" userId="bda9de57-7129-4431-9ddb-1c140753328c" providerId="ADAL" clId="{7B648533-5C85-4FE7-8D23-1346E8D25D05}" dt="2020-07-14T14:47:30.297" v="206" actId="478"/>
        <pc:sldMkLst>
          <pc:docMk/>
          <pc:sldMk cId="3867597237" sldId="10470"/>
        </pc:sldMkLst>
        <pc:spChg chg="del">
          <ac:chgData name="ARRIBAS GOMEZ JAIME" userId="bda9de57-7129-4431-9ddb-1c140753328c" providerId="ADAL" clId="{7B648533-5C85-4FE7-8D23-1346E8D25D05}" dt="2020-07-14T14:47:30.297" v="206" actId="478"/>
          <ac:spMkLst>
            <pc:docMk/>
            <pc:sldMk cId="3867597237" sldId="10470"/>
            <ac:spMk id="58" creationId="{C4E41289-79D9-433F-A2CC-54854C8BFDA9}"/>
          </ac:spMkLst>
        </pc:spChg>
      </pc:sldChg>
      <pc:sldChg chg="delSp">
        <pc:chgData name="ARRIBAS GOMEZ JAIME" userId="bda9de57-7129-4431-9ddb-1c140753328c" providerId="ADAL" clId="{7B648533-5C85-4FE7-8D23-1346E8D25D05}" dt="2020-07-14T14:47:17.077" v="203" actId="478"/>
        <pc:sldMkLst>
          <pc:docMk/>
          <pc:sldMk cId="1588692522" sldId="10471"/>
        </pc:sldMkLst>
        <pc:spChg chg="del">
          <ac:chgData name="ARRIBAS GOMEZ JAIME" userId="bda9de57-7129-4431-9ddb-1c140753328c" providerId="ADAL" clId="{7B648533-5C85-4FE7-8D23-1346E8D25D05}" dt="2020-07-14T14:47:17.077" v="203" actId="478"/>
          <ac:spMkLst>
            <pc:docMk/>
            <pc:sldMk cId="1588692522" sldId="10471"/>
            <ac:spMk id="58" creationId="{C4E41289-79D9-433F-A2CC-54854C8BFDA9}"/>
          </ac:spMkLst>
        </pc:spChg>
      </pc:sldChg>
      <pc:sldChg chg="del">
        <pc:chgData name="ARRIBAS GOMEZ JAIME" userId="bda9de57-7129-4431-9ddb-1c140753328c" providerId="ADAL" clId="{7B648533-5C85-4FE7-8D23-1346E8D25D05}" dt="2020-07-14T14:47:14.895" v="202" actId="2696"/>
        <pc:sldMkLst>
          <pc:docMk/>
          <pc:sldMk cId="385086142" sldId="10472"/>
        </pc:sldMkLst>
      </pc:sldChg>
      <pc:sldChg chg="add del">
        <pc:chgData name="ARRIBAS GOMEZ JAIME" userId="bda9de57-7129-4431-9ddb-1c140753328c" providerId="ADAL" clId="{7B648533-5C85-4FE7-8D23-1346E8D25D05}" dt="2020-07-14T14:47:13.673" v="201" actId="2696"/>
        <pc:sldMkLst>
          <pc:docMk/>
          <pc:sldMk cId="2561311029" sldId="10476"/>
        </pc:sldMkLst>
      </pc:sldChg>
    </pc:docChg>
  </pc:docChgLst>
  <pc:docChgLst>
    <pc:chgData name="ARRIBAS GOMEZ JAIME" userId="S::x976093@gruposantander.es::bda9de57-7129-4431-9ddb-1c140753328c" providerId="AD" clId="Web-{BCBF7C69-B919-4BF1-941D-9F33D05DA556}"/>
    <pc:docChg chg="modSld">
      <pc:chgData name="ARRIBAS GOMEZ JAIME" userId="S::x976093@gruposantander.es::bda9de57-7129-4431-9ddb-1c140753328c" providerId="AD" clId="Web-{BCBF7C69-B919-4BF1-941D-9F33D05DA556}" dt="2020-07-14T13:01:32.909" v="8" actId="20577"/>
      <pc:docMkLst>
        <pc:docMk/>
      </pc:docMkLst>
      <pc:sldChg chg="modSp">
        <pc:chgData name="ARRIBAS GOMEZ JAIME" userId="S::x976093@gruposantander.es::bda9de57-7129-4431-9ddb-1c140753328c" providerId="AD" clId="Web-{BCBF7C69-B919-4BF1-941D-9F33D05DA556}" dt="2020-07-14T13:01:32.581" v="6" actId="20577"/>
        <pc:sldMkLst>
          <pc:docMk/>
          <pc:sldMk cId="2561311029" sldId="10476"/>
        </pc:sldMkLst>
        <pc:spChg chg="mod">
          <ac:chgData name="ARRIBAS GOMEZ JAIME" userId="S::x976093@gruposantander.es::bda9de57-7129-4431-9ddb-1c140753328c" providerId="AD" clId="Web-{BCBF7C69-B919-4BF1-941D-9F33D05DA556}" dt="2020-07-14T13:01:32.581" v="6" actId="20577"/>
          <ac:spMkLst>
            <pc:docMk/>
            <pc:sldMk cId="2561311029" sldId="10476"/>
            <ac:spMk id="4" creationId="{55E9B59B-4EE5-4CA0-B4A8-150715FEB447}"/>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18E15A2-F735-4862-8DE5-9A58C00DC3F6}"/>
              </a:ext>
            </a:extLst>
          </p:cNvPr>
          <p:cNvSpPr>
            <a:spLocks noGrp="1"/>
          </p:cNvSpPr>
          <p:nvPr>
            <p:ph type="hdr" sz="quarter"/>
          </p:nvPr>
        </p:nvSpPr>
        <p:spPr>
          <a:xfrm>
            <a:off x="0" y="0"/>
            <a:ext cx="2944813" cy="498475"/>
          </a:xfrm>
          <a:prstGeom prst="rect">
            <a:avLst/>
          </a:prstGeom>
        </p:spPr>
        <p:txBody>
          <a:bodyPr vert="horz" lIns="91440" tIns="45720" rIns="91440" bIns="45720" rtlCol="0"/>
          <a:lstStyle>
            <a:lvl1pPr algn="l">
              <a:defRPr sz="1200"/>
            </a:lvl1pPr>
          </a:lstStyle>
          <a:p>
            <a:endParaRPr lang="es-ES" dirty="0"/>
          </a:p>
        </p:txBody>
      </p:sp>
      <p:sp>
        <p:nvSpPr>
          <p:cNvPr id="3" name="Date Placeholder 2">
            <a:extLst>
              <a:ext uri="{FF2B5EF4-FFF2-40B4-BE49-F238E27FC236}">
                <a16:creationId xmlns:a16="http://schemas.microsoft.com/office/drawing/2014/main" id="{5900D521-DEA1-4182-82B7-BC001F0F7BCC}"/>
              </a:ext>
            </a:extLst>
          </p:cNvPr>
          <p:cNvSpPr>
            <a:spLocks noGrp="1"/>
          </p:cNvSpPr>
          <p:nvPr>
            <p:ph type="dt" sz="quarter" idx="1"/>
          </p:nvPr>
        </p:nvSpPr>
        <p:spPr>
          <a:xfrm>
            <a:off x="3848100" y="0"/>
            <a:ext cx="2944813" cy="498475"/>
          </a:xfrm>
          <a:prstGeom prst="rect">
            <a:avLst/>
          </a:prstGeom>
        </p:spPr>
        <p:txBody>
          <a:bodyPr vert="horz" lIns="91440" tIns="45720" rIns="91440" bIns="45720" rtlCol="0"/>
          <a:lstStyle>
            <a:lvl1pPr algn="r">
              <a:defRPr sz="1200"/>
            </a:lvl1pPr>
          </a:lstStyle>
          <a:p>
            <a:fld id="{6AD47659-2A37-4E36-8949-56E8F5305A27}" type="datetimeFigureOut">
              <a:rPr lang="es-ES" smtClean="0"/>
              <a:t>14/07/2020</a:t>
            </a:fld>
            <a:endParaRPr lang="es-ES" dirty="0"/>
          </a:p>
        </p:txBody>
      </p:sp>
      <p:sp>
        <p:nvSpPr>
          <p:cNvPr id="4" name="Footer Placeholder 3">
            <a:extLst>
              <a:ext uri="{FF2B5EF4-FFF2-40B4-BE49-F238E27FC236}">
                <a16:creationId xmlns:a16="http://schemas.microsoft.com/office/drawing/2014/main" id="{B7BA2CF9-3122-4E3A-AA39-F2AEDC5BAA9A}"/>
              </a:ext>
            </a:extLst>
          </p:cNvPr>
          <p:cNvSpPr>
            <a:spLocks noGrp="1"/>
          </p:cNvSpPr>
          <p:nvPr>
            <p:ph type="ftr" sz="quarter" idx="2"/>
          </p:nvPr>
        </p:nvSpPr>
        <p:spPr>
          <a:xfrm>
            <a:off x="0" y="9432925"/>
            <a:ext cx="2944813" cy="498475"/>
          </a:xfrm>
          <a:prstGeom prst="rect">
            <a:avLst/>
          </a:prstGeom>
        </p:spPr>
        <p:txBody>
          <a:bodyPr vert="horz" lIns="91440" tIns="45720" rIns="91440" bIns="45720" rtlCol="0" anchor="b"/>
          <a:lstStyle>
            <a:lvl1pPr algn="l">
              <a:defRPr sz="1200"/>
            </a:lvl1pPr>
          </a:lstStyle>
          <a:p>
            <a:endParaRPr lang="es-ES" dirty="0"/>
          </a:p>
        </p:txBody>
      </p:sp>
      <p:sp>
        <p:nvSpPr>
          <p:cNvPr id="5" name="Slide Number Placeholder 4">
            <a:extLst>
              <a:ext uri="{FF2B5EF4-FFF2-40B4-BE49-F238E27FC236}">
                <a16:creationId xmlns:a16="http://schemas.microsoft.com/office/drawing/2014/main" id="{3556DE72-EC41-431E-9B6D-DFE5F91310A9}"/>
              </a:ext>
            </a:extLst>
          </p:cNvPr>
          <p:cNvSpPr>
            <a:spLocks noGrp="1"/>
          </p:cNvSpPr>
          <p:nvPr>
            <p:ph type="sldNum" sz="quarter" idx="3"/>
          </p:nvPr>
        </p:nvSpPr>
        <p:spPr>
          <a:xfrm>
            <a:off x="3848100" y="9432925"/>
            <a:ext cx="2944813" cy="498475"/>
          </a:xfrm>
          <a:prstGeom prst="rect">
            <a:avLst/>
          </a:prstGeom>
        </p:spPr>
        <p:txBody>
          <a:bodyPr vert="horz" lIns="91440" tIns="45720" rIns="91440" bIns="45720" rtlCol="0" anchor="b"/>
          <a:lstStyle>
            <a:lvl1pPr algn="r">
              <a:defRPr sz="1200"/>
            </a:lvl1pPr>
          </a:lstStyle>
          <a:p>
            <a:fld id="{AEB2F9A7-AE55-44FE-AE33-2D2AFD068187}" type="slidenum">
              <a:rPr lang="es-ES" smtClean="0"/>
              <a:t>‹Nº›</a:t>
            </a:fld>
            <a:endParaRPr lang="es-ES" dirty="0"/>
          </a:p>
        </p:txBody>
      </p:sp>
    </p:spTree>
    <p:extLst>
      <p:ext uri="{BB962C8B-B14F-4D97-AF65-F5344CB8AC3E}">
        <p14:creationId xmlns:p14="http://schemas.microsoft.com/office/powerpoint/2010/main" val="420467525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86" name="Shape 486"/>
          <p:cNvSpPr>
            <a:spLocks noGrp="1" noRot="1" noChangeAspect="1"/>
          </p:cNvSpPr>
          <p:nvPr>
            <p:ph type="sldImg"/>
          </p:nvPr>
        </p:nvSpPr>
        <p:spPr>
          <a:xfrm>
            <a:off x="87313" y="744538"/>
            <a:ext cx="6619875" cy="3724275"/>
          </a:xfrm>
          <a:prstGeom prst="rect">
            <a:avLst/>
          </a:prstGeom>
        </p:spPr>
        <p:txBody>
          <a:bodyPr/>
          <a:lstStyle/>
          <a:p>
            <a:endParaRPr dirty="0"/>
          </a:p>
        </p:txBody>
      </p:sp>
      <p:sp>
        <p:nvSpPr>
          <p:cNvPr id="487" name="Shape 487"/>
          <p:cNvSpPr>
            <a:spLocks noGrp="1"/>
          </p:cNvSpPr>
          <p:nvPr>
            <p:ph type="body" sz="quarter" idx="1"/>
          </p:nvPr>
        </p:nvSpPr>
        <p:spPr>
          <a:xfrm>
            <a:off x="905934" y="4717415"/>
            <a:ext cx="4982633" cy="4469130"/>
          </a:xfrm>
          <a:prstGeom prst="rect">
            <a:avLst/>
          </a:prstGeom>
        </p:spPr>
        <p:txBody>
          <a:bodyPr/>
          <a:lstStyle/>
          <a:p>
            <a:endParaRPr/>
          </a:p>
        </p:txBody>
      </p:sp>
    </p:spTree>
    <p:extLst>
      <p:ext uri="{BB962C8B-B14F-4D97-AF65-F5344CB8AC3E}">
        <p14:creationId xmlns:p14="http://schemas.microsoft.com/office/powerpoint/2010/main" val="532818349"/>
      </p:ext>
    </p:extLst>
  </p:cSld>
  <p:clrMap bg1="lt1" tx1="dk1" bg2="lt2" tx2="dk2" accent1="accent1" accent2="accent2" accent3="accent3" accent4="accent4" accent5="accent5" accent6="accent6" hlink="hlink" folHlink="folHlink"/>
  <p:notesStyle>
    <a:lvl1pPr defTabSz="457200" latinLnBrk="0">
      <a:lnSpc>
        <a:spcPct val="117999"/>
      </a:lnSpc>
      <a:defRPr sz="2200">
        <a:latin typeface="+mn-lt"/>
        <a:ea typeface="+mn-ea"/>
        <a:cs typeface="+mn-cs"/>
        <a:sym typeface="Helvetica Neue"/>
      </a:defRPr>
    </a:lvl1pPr>
    <a:lvl2pPr indent="228600" defTabSz="457200" latinLnBrk="0">
      <a:lnSpc>
        <a:spcPct val="117999"/>
      </a:lnSpc>
      <a:defRPr sz="2200">
        <a:latin typeface="+mn-lt"/>
        <a:ea typeface="+mn-ea"/>
        <a:cs typeface="+mn-cs"/>
        <a:sym typeface="Helvetica Neue"/>
      </a:defRPr>
    </a:lvl2pPr>
    <a:lvl3pPr indent="457200" defTabSz="457200" latinLnBrk="0">
      <a:lnSpc>
        <a:spcPct val="117999"/>
      </a:lnSpc>
      <a:defRPr sz="2200">
        <a:latin typeface="+mn-lt"/>
        <a:ea typeface="+mn-ea"/>
        <a:cs typeface="+mn-cs"/>
        <a:sym typeface="Helvetica Neue"/>
      </a:defRPr>
    </a:lvl3pPr>
    <a:lvl4pPr indent="685800" defTabSz="457200" latinLnBrk="0">
      <a:lnSpc>
        <a:spcPct val="117999"/>
      </a:lnSpc>
      <a:defRPr sz="2200">
        <a:latin typeface="+mn-lt"/>
        <a:ea typeface="+mn-ea"/>
        <a:cs typeface="+mn-cs"/>
        <a:sym typeface="Helvetica Neue"/>
      </a:defRPr>
    </a:lvl4pPr>
    <a:lvl5pPr indent="914400" defTabSz="457200" latinLnBrk="0">
      <a:lnSpc>
        <a:spcPct val="117999"/>
      </a:lnSpc>
      <a:defRPr sz="2200">
        <a:latin typeface="+mn-lt"/>
        <a:ea typeface="+mn-ea"/>
        <a:cs typeface="+mn-cs"/>
        <a:sym typeface="Helvetica Neue"/>
      </a:defRPr>
    </a:lvl5pPr>
    <a:lvl6pPr indent="1143000" defTabSz="457200" latinLnBrk="0">
      <a:lnSpc>
        <a:spcPct val="117999"/>
      </a:lnSpc>
      <a:defRPr sz="2200">
        <a:latin typeface="+mn-lt"/>
        <a:ea typeface="+mn-ea"/>
        <a:cs typeface="+mn-cs"/>
        <a:sym typeface="Helvetica Neue"/>
      </a:defRPr>
    </a:lvl6pPr>
    <a:lvl7pPr indent="1371600" defTabSz="457200" latinLnBrk="0">
      <a:lnSpc>
        <a:spcPct val="117999"/>
      </a:lnSpc>
      <a:defRPr sz="2200">
        <a:latin typeface="+mn-lt"/>
        <a:ea typeface="+mn-ea"/>
        <a:cs typeface="+mn-cs"/>
        <a:sym typeface="Helvetica Neue"/>
      </a:defRPr>
    </a:lvl7pPr>
    <a:lvl8pPr indent="1600200" defTabSz="457200" latinLnBrk="0">
      <a:lnSpc>
        <a:spcPct val="117999"/>
      </a:lnSpc>
      <a:defRPr sz="2200">
        <a:latin typeface="+mn-lt"/>
        <a:ea typeface="+mn-ea"/>
        <a:cs typeface="+mn-cs"/>
        <a:sym typeface="Helvetica Neue"/>
      </a:defRPr>
    </a:lvl8pPr>
    <a:lvl9pPr indent="1828800" defTabSz="457200" latinLnBrk="0">
      <a:lnSpc>
        <a:spcPct val="117999"/>
      </a:lnSpc>
      <a:defRPr sz="2200">
        <a:latin typeface="+mn-lt"/>
        <a:ea typeface="+mn-ea"/>
        <a:cs typeface="+mn-cs"/>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36983798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2"/>
          <p:cNvSpPr>
            <a:spLocks noGrp="1" noRot="1" noChangeAspect="1" noChangeArrowheads="1" noTextEdit="1"/>
          </p:cNvSpPr>
          <p:nvPr>
            <p:ph type="sldImg"/>
          </p:nvPr>
        </p:nvSpPr>
        <p:spPr>
          <a:xfrm>
            <a:off x="406400" y="695325"/>
            <a:ext cx="6202363" cy="3489325"/>
          </a:xfrm>
          <a:ln/>
        </p:spPr>
      </p:sp>
      <p:sp>
        <p:nvSpPr>
          <p:cNvPr id="28674" name="Rectangle 3"/>
          <p:cNvSpPr>
            <a:spLocks noGrp="1" noChangeArrowheads="1"/>
          </p:cNvSpPr>
          <p:nvPr>
            <p:ph type="body" idx="1"/>
          </p:nvPr>
        </p:nvSpPr>
        <p:spPr>
          <a:xfrm>
            <a:off x="701675" y="4414838"/>
            <a:ext cx="5607050" cy="4186237"/>
          </a:xfrm>
          <a:noFill/>
        </p:spPr>
        <p:txBody>
          <a:bodyPr lIns="93130" tIns="46567" rIns="93130" bIns="46567"/>
          <a:lstStyle/>
          <a:p>
            <a:pPr eaLnBrk="1" hangingPunct="1"/>
            <a:endParaRPr lang="en-GB" dirty="0">
              <a:cs typeface="Arial" charset="0"/>
            </a:endParaRPr>
          </a:p>
        </p:txBody>
      </p:sp>
    </p:spTree>
    <p:extLst>
      <p:ext uri="{BB962C8B-B14F-4D97-AF65-F5344CB8AC3E}">
        <p14:creationId xmlns:p14="http://schemas.microsoft.com/office/powerpoint/2010/main" val="35281991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2"/>
          <p:cNvSpPr>
            <a:spLocks noGrp="1" noRot="1" noChangeAspect="1" noChangeArrowheads="1" noTextEdit="1"/>
          </p:cNvSpPr>
          <p:nvPr>
            <p:ph type="sldImg"/>
          </p:nvPr>
        </p:nvSpPr>
        <p:spPr>
          <a:xfrm>
            <a:off x="406400" y="695325"/>
            <a:ext cx="6202363" cy="3489325"/>
          </a:xfrm>
          <a:ln/>
        </p:spPr>
      </p:sp>
      <p:sp>
        <p:nvSpPr>
          <p:cNvPr id="28674" name="Rectangle 3"/>
          <p:cNvSpPr>
            <a:spLocks noGrp="1" noChangeArrowheads="1"/>
          </p:cNvSpPr>
          <p:nvPr>
            <p:ph type="body" idx="1"/>
          </p:nvPr>
        </p:nvSpPr>
        <p:spPr>
          <a:xfrm>
            <a:off x="701675" y="4414838"/>
            <a:ext cx="5607050" cy="4186237"/>
          </a:xfrm>
          <a:noFill/>
        </p:spPr>
        <p:txBody>
          <a:bodyPr lIns="93130" tIns="46567" rIns="93130" bIns="46567"/>
          <a:lstStyle/>
          <a:p>
            <a:pPr eaLnBrk="1" hangingPunct="1"/>
            <a:endParaRPr lang="en-GB" dirty="0">
              <a:cs typeface="Arial" charset="0"/>
            </a:endParaRPr>
          </a:p>
        </p:txBody>
      </p:sp>
    </p:spTree>
    <p:extLst>
      <p:ext uri="{BB962C8B-B14F-4D97-AF65-F5344CB8AC3E}">
        <p14:creationId xmlns:p14="http://schemas.microsoft.com/office/powerpoint/2010/main" val="42757105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10320218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12063065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2652340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36265309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28993788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37201649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41131425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26669761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dirty="0"/>
          </a:p>
        </p:txBody>
      </p:sp>
      <p:sp>
        <p:nvSpPr>
          <p:cNvPr id="4" name="Slide Number Placeholder 3"/>
          <p:cNvSpPr>
            <a:spLocks noGrp="1"/>
          </p:cNvSpPr>
          <p:nvPr>
            <p:ph type="sldNum" sz="quarter" idx="10"/>
          </p:nvPr>
        </p:nvSpPr>
        <p:spPr/>
        <p:txBody>
          <a:bodyPr/>
          <a:lstStyle/>
          <a:p>
            <a:fld id="{BE374ED2-69C1-D348-BE18-DE2DEBD00C7E}" type="slidenum">
              <a:rPr lang="uk-UA" smtClean="0"/>
              <a:t>3</a:t>
            </a:fld>
            <a:endParaRPr lang="uk-UA"/>
          </a:p>
        </p:txBody>
      </p:sp>
    </p:spTree>
    <p:extLst>
      <p:ext uri="{BB962C8B-B14F-4D97-AF65-F5344CB8AC3E}">
        <p14:creationId xmlns:p14="http://schemas.microsoft.com/office/powerpoint/2010/main" val="41725244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35400056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40616795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17653795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21949664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41877043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184048975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21889127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275919448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225795980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33894200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334244398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60713800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60788519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413085108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82632592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293615320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214048437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399650706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340933545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155804473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37616570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2"/>
          <p:cNvSpPr>
            <a:spLocks noGrp="1" noRot="1" noChangeAspect="1" noChangeArrowheads="1" noTextEdit="1"/>
          </p:cNvSpPr>
          <p:nvPr>
            <p:ph type="sldImg"/>
          </p:nvPr>
        </p:nvSpPr>
        <p:spPr>
          <a:xfrm>
            <a:off x="406400" y="695325"/>
            <a:ext cx="6202363" cy="3489325"/>
          </a:xfrm>
          <a:ln/>
        </p:spPr>
      </p:sp>
      <p:sp>
        <p:nvSpPr>
          <p:cNvPr id="28674" name="Rectangle 3"/>
          <p:cNvSpPr>
            <a:spLocks noGrp="1" noChangeArrowheads="1"/>
          </p:cNvSpPr>
          <p:nvPr>
            <p:ph type="body" idx="1"/>
          </p:nvPr>
        </p:nvSpPr>
        <p:spPr>
          <a:xfrm>
            <a:off x="701675" y="4414838"/>
            <a:ext cx="5607050" cy="4186237"/>
          </a:xfrm>
          <a:noFill/>
        </p:spPr>
        <p:txBody>
          <a:bodyPr lIns="93130" tIns="46567" rIns="93130" bIns="46567"/>
          <a:lstStyle/>
          <a:p>
            <a:pPr eaLnBrk="1" hangingPunct="1"/>
            <a:endParaRPr lang="en-GB" dirty="0">
              <a:cs typeface="Arial" charset="0"/>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191127013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30143504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217301935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386582921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411478882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143725985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87313" y="744538"/>
            <a:ext cx="6619875" cy="3724275"/>
          </a:xfrm>
        </p:spPr>
      </p:sp>
      <p:sp>
        <p:nvSpPr>
          <p:cNvPr id="3" name="Marcador de notas 2"/>
          <p:cNvSpPr>
            <a:spLocks noGrp="1"/>
          </p:cNvSpPr>
          <p:nvPr>
            <p:ph type="body" idx="1"/>
          </p:nvPr>
        </p:nvSpPr>
        <p:spPr/>
        <p:txBody>
          <a:bodyPr/>
          <a:lstStyle/>
          <a:p>
            <a:endParaRPr lang="es-ES_tradnl" dirty="0"/>
          </a:p>
        </p:txBody>
      </p:sp>
    </p:spTree>
    <p:extLst>
      <p:ext uri="{BB962C8B-B14F-4D97-AF65-F5344CB8AC3E}">
        <p14:creationId xmlns:p14="http://schemas.microsoft.com/office/powerpoint/2010/main" val="11123318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2"/>
          <p:cNvSpPr>
            <a:spLocks noGrp="1" noRot="1" noChangeAspect="1" noChangeArrowheads="1" noTextEdit="1"/>
          </p:cNvSpPr>
          <p:nvPr>
            <p:ph type="sldImg"/>
          </p:nvPr>
        </p:nvSpPr>
        <p:spPr>
          <a:xfrm>
            <a:off x="406400" y="695325"/>
            <a:ext cx="6202363" cy="3489325"/>
          </a:xfrm>
          <a:ln/>
        </p:spPr>
      </p:sp>
      <p:sp>
        <p:nvSpPr>
          <p:cNvPr id="28674" name="Rectangle 3"/>
          <p:cNvSpPr>
            <a:spLocks noGrp="1" noChangeArrowheads="1"/>
          </p:cNvSpPr>
          <p:nvPr>
            <p:ph type="body" idx="1"/>
          </p:nvPr>
        </p:nvSpPr>
        <p:spPr>
          <a:xfrm>
            <a:off x="701675" y="4414838"/>
            <a:ext cx="5607050" cy="4186237"/>
          </a:xfrm>
          <a:noFill/>
        </p:spPr>
        <p:txBody>
          <a:bodyPr lIns="93130" tIns="46567" rIns="93130" bIns="46567"/>
          <a:lstStyle/>
          <a:p>
            <a:pPr eaLnBrk="1" hangingPunct="1"/>
            <a:endParaRPr lang="en-GB" dirty="0">
              <a:cs typeface="Arial" charset="0"/>
            </a:endParaRPr>
          </a:p>
        </p:txBody>
      </p:sp>
    </p:spTree>
    <p:extLst>
      <p:ext uri="{BB962C8B-B14F-4D97-AF65-F5344CB8AC3E}">
        <p14:creationId xmlns:p14="http://schemas.microsoft.com/office/powerpoint/2010/main" val="3175885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2"/>
          <p:cNvSpPr>
            <a:spLocks noGrp="1" noRot="1" noChangeAspect="1" noChangeArrowheads="1" noTextEdit="1"/>
          </p:cNvSpPr>
          <p:nvPr>
            <p:ph type="sldImg"/>
          </p:nvPr>
        </p:nvSpPr>
        <p:spPr>
          <a:xfrm>
            <a:off x="406400" y="695325"/>
            <a:ext cx="6202363" cy="3489325"/>
          </a:xfrm>
          <a:ln/>
        </p:spPr>
      </p:sp>
      <p:sp>
        <p:nvSpPr>
          <p:cNvPr id="28674" name="Rectangle 3"/>
          <p:cNvSpPr>
            <a:spLocks noGrp="1" noChangeArrowheads="1"/>
          </p:cNvSpPr>
          <p:nvPr>
            <p:ph type="body" idx="1"/>
          </p:nvPr>
        </p:nvSpPr>
        <p:spPr>
          <a:xfrm>
            <a:off x="701675" y="4414838"/>
            <a:ext cx="5607050" cy="4186237"/>
          </a:xfrm>
          <a:noFill/>
        </p:spPr>
        <p:txBody>
          <a:bodyPr lIns="93130" tIns="46567" rIns="93130" bIns="46567"/>
          <a:lstStyle/>
          <a:p>
            <a:pPr eaLnBrk="1" hangingPunct="1"/>
            <a:endParaRPr lang="en-GB" dirty="0">
              <a:cs typeface="Arial" charset="0"/>
            </a:endParaRPr>
          </a:p>
        </p:txBody>
      </p:sp>
    </p:spTree>
    <p:extLst>
      <p:ext uri="{BB962C8B-B14F-4D97-AF65-F5344CB8AC3E}">
        <p14:creationId xmlns:p14="http://schemas.microsoft.com/office/powerpoint/2010/main" val="6153651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2764911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41435201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13569578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Índice">
    <p:spTree>
      <p:nvGrpSpPr>
        <p:cNvPr id="1" name=""/>
        <p:cNvGrpSpPr/>
        <p:nvPr/>
      </p:nvGrpSpPr>
      <p:grpSpPr>
        <a:xfrm>
          <a:off x="0" y="0"/>
          <a:ext cx="0" cy="0"/>
          <a:chOff x="0" y="0"/>
          <a:chExt cx="0" cy="0"/>
        </a:xfrm>
      </p:grpSpPr>
      <p:sp>
        <p:nvSpPr>
          <p:cNvPr id="6" name="Marcador de número de diapositiva 5">
            <a:extLst>
              <a:ext uri="{FF2B5EF4-FFF2-40B4-BE49-F238E27FC236}">
                <a16:creationId xmlns:a16="http://schemas.microsoft.com/office/drawing/2014/main" id="{C60B320C-F93D-45A7-B5CC-5C18ED1F85FB}"/>
              </a:ext>
            </a:extLst>
          </p:cNvPr>
          <p:cNvSpPr>
            <a:spLocks noGrp="1"/>
          </p:cNvSpPr>
          <p:nvPr>
            <p:ph type="sldNum" sz="quarter" idx="12"/>
          </p:nvPr>
        </p:nvSpPr>
        <p:spPr>
          <a:xfrm>
            <a:off x="17461690" y="12419201"/>
            <a:ext cx="5486400" cy="730250"/>
          </a:xfrm>
        </p:spPr>
        <p:txBody>
          <a:bodyPr/>
          <a:lstStyle>
            <a:lvl1pPr>
              <a:defRPr sz="2600">
                <a:solidFill>
                  <a:schemeClr val="accent1"/>
                </a:solidFill>
              </a:defRPr>
            </a:lvl1pPr>
          </a:lstStyle>
          <a:p>
            <a:fld id="{BC0D97B6-E32F-4D7D-B839-7C3B51F2640F}" type="slidenum">
              <a:rPr lang="es-ES" smtClean="0">
                <a:solidFill>
                  <a:srgbClr val="EB0000"/>
                </a:solidFill>
              </a:rPr>
              <a:pPr/>
              <a:t>‹Nº›</a:t>
            </a:fld>
            <a:endParaRPr lang="es-ES" dirty="0">
              <a:solidFill>
                <a:srgbClr val="EB0000"/>
              </a:solidFill>
            </a:endParaRPr>
          </a:p>
        </p:txBody>
      </p:sp>
      <p:sp>
        <p:nvSpPr>
          <p:cNvPr id="14" name="Marcador de texto 11">
            <a:extLst>
              <a:ext uri="{FF2B5EF4-FFF2-40B4-BE49-F238E27FC236}">
                <a16:creationId xmlns:a16="http://schemas.microsoft.com/office/drawing/2014/main" id="{0CC57AA0-6C3B-4C80-BF6B-C321A960A96C}"/>
              </a:ext>
            </a:extLst>
          </p:cNvPr>
          <p:cNvSpPr>
            <a:spLocks noGrp="1"/>
          </p:cNvSpPr>
          <p:nvPr>
            <p:ph type="body" sz="quarter" idx="13"/>
          </p:nvPr>
        </p:nvSpPr>
        <p:spPr>
          <a:xfrm>
            <a:off x="1665283" y="2200479"/>
            <a:ext cx="21271686" cy="9813330"/>
          </a:xfrm>
        </p:spPr>
        <p:txBody>
          <a:bodyPr>
            <a:normAutofit/>
          </a:bodyPr>
          <a:lstStyle>
            <a:lvl1pPr marL="864000" indent="-792000">
              <a:buClr>
                <a:schemeClr val="accent1"/>
              </a:buClr>
              <a:buSzPct val="45000"/>
              <a:buFont typeface="+mj-lt"/>
              <a:buAutoNum type="arabicPeriod"/>
              <a:defRPr lang="es-ES" sz="8000" b="1" kern="1200" dirty="0" smtClean="0">
                <a:solidFill>
                  <a:srgbClr val="3C3C3B"/>
                </a:solidFill>
                <a:latin typeface="+mn-lt"/>
                <a:ea typeface="+mn-ea"/>
                <a:cs typeface="+mn-cs"/>
              </a:defRPr>
            </a:lvl1pPr>
            <a:lvl2pPr marL="914400" indent="0">
              <a:buNone/>
              <a:defRPr/>
            </a:lvl2pPr>
          </a:lstStyle>
          <a:p>
            <a:pPr lvl="0"/>
            <a:r>
              <a:rPr lang="es-ES"/>
              <a:t>Editar los estilos de texto del patrón</a:t>
            </a:r>
          </a:p>
        </p:txBody>
      </p:sp>
    </p:spTree>
    <p:extLst>
      <p:ext uri="{BB962C8B-B14F-4D97-AF65-F5344CB8AC3E}">
        <p14:creationId xmlns:p14="http://schemas.microsoft.com/office/powerpoint/2010/main" val="762248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x" preserve="1">
  <p:cSld name="White">
    <p:spTree>
      <p:nvGrpSpPr>
        <p:cNvPr id="1" name=""/>
        <p:cNvGrpSpPr/>
        <p:nvPr/>
      </p:nvGrpSpPr>
      <p:grpSpPr>
        <a:xfrm>
          <a:off x="0" y="0"/>
          <a:ext cx="0" cy="0"/>
          <a:chOff x="0" y="0"/>
          <a:chExt cx="0" cy="0"/>
        </a:xfrm>
      </p:grpSpPr>
      <p:sp>
        <p:nvSpPr>
          <p:cNvPr id="335" name="Rectangle 14"/>
          <p:cNvSpPr/>
          <p:nvPr/>
        </p:nvSpPr>
        <p:spPr>
          <a:xfrm>
            <a:off x="-4" y="12827000"/>
            <a:ext cx="24384008" cy="889000"/>
          </a:xfrm>
          <a:prstGeom prst="rect">
            <a:avLst/>
          </a:prstGeom>
          <a:solidFill>
            <a:srgbClr val="FFFFFF"/>
          </a:solidFill>
          <a:ln w="12700">
            <a:miter lim="400000"/>
          </a:ln>
        </p:spPr>
        <p:txBody>
          <a:bodyPr lIns="91437" tIns="91437" rIns="91437" bIns="91437" anchor="ctr"/>
          <a:lstStyle/>
          <a:p>
            <a:pPr algn="ctr" eaLnBrk="1" fontAlgn="auto">
              <a:spcBef>
                <a:spcPts val="0"/>
              </a:spcBef>
              <a:spcAft>
                <a:spcPts val="0"/>
              </a:spcAft>
              <a:defRPr>
                <a:solidFill>
                  <a:srgbClr val="FFFFFF"/>
                </a:solidFill>
                <a:latin typeface="+mn-lt"/>
                <a:ea typeface="+mn-ea"/>
                <a:cs typeface="+mn-cs"/>
                <a:sym typeface="Arial"/>
              </a:defRPr>
            </a:pPr>
            <a:endParaRPr sz="3600" kern="0">
              <a:solidFill>
                <a:srgbClr val="FFFFFF"/>
              </a:solidFill>
              <a:latin typeface="Arial"/>
              <a:ea typeface=""/>
              <a:cs typeface="Arial"/>
              <a:sym typeface="Arial"/>
            </a:endParaRPr>
          </a:p>
        </p:txBody>
      </p:sp>
      <p:pic>
        <p:nvPicPr>
          <p:cNvPr id="336" name="ibm_logo_dark blue-01.png" descr="ibm_logo_dark blue-01.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5400000">
            <a:off x="715295" y="12766642"/>
            <a:ext cx="381003" cy="1009722"/>
          </a:xfrm>
          <a:prstGeom prst="rect">
            <a:avLst/>
          </a:prstGeom>
          <a:ln w="12700">
            <a:miter lim="400000"/>
          </a:ln>
        </p:spPr>
      </p:pic>
      <p:sp>
        <p:nvSpPr>
          <p:cNvPr id="337" name="Line"/>
          <p:cNvSpPr/>
          <p:nvPr/>
        </p:nvSpPr>
        <p:spPr>
          <a:xfrm>
            <a:off x="-2" y="12814300"/>
            <a:ext cx="24384007" cy="0"/>
          </a:xfrm>
          <a:prstGeom prst="line">
            <a:avLst/>
          </a:prstGeom>
          <a:ln w="25400">
            <a:solidFill>
              <a:schemeClr val="accent5"/>
            </a:solidFill>
            <a:miter/>
          </a:ln>
        </p:spPr>
        <p:txBody>
          <a:bodyPr lIns="91437" tIns="91437" rIns="91437" bIns="91437"/>
          <a:lstStyle/>
          <a:p>
            <a:pPr eaLnBrk="1" fontAlgn="auto">
              <a:spcBef>
                <a:spcPts val="0"/>
              </a:spcBef>
              <a:spcAft>
                <a:spcPts val="0"/>
              </a:spcAft>
              <a:defRPr/>
            </a:pPr>
            <a:endParaRPr sz="3600" kern="0">
              <a:solidFill>
                <a:srgbClr val="000000"/>
              </a:solidFill>
              <a:latin typeface="Calibri"/>
              <a:ea typeface=""/>
              <a:sym typeface="Calibri"/>
            </a:endParaRPr>
          </a:p>
        </p:txBody>
      </p:sp>
      <p:sp>
        <p:nvSpPr>
          <p:cNvPr id="339" name="Slide title"/>
          <p:cNvSpPr txBox="1">
            <a:spLocks noGrp="1"/>
          </p:cNvSpPr>
          <p:nvPr>
            <p:ph type="body" sz="quarter" idx="13"/>
          </p:nvPr>
        </p:nvSpPr>
        <p:spPr>
          <a:xfrm>
            <a:off x="508002" y="508003"/>
            <a:ext cx="23622002" cy="1071418"/>
          </a:xfrm>
          <a:prstGeom prst="rect">
            <a:avLst/>
          </a:prstGeom>
        </p:spPr>
        <p:txBody>
          <a:bodyPr lIns="45718" tIns="45718" rIns="45718" bIns="45718"/>
          <a:lstStyle>
            <a:lvl1pPr defTabSz="1554511">
              <a:lnSpc>
                <a:spcPct val="90000"/>
              </a:lnSpc>
              <a:defRPr sz="5600" b="0">
                <a:solidFill>
                  <a:schemeClr val="accent4"/>
                </a:solidFill>
              </a:defRPr>
            </a:lvl1pPr>
          </a:lstStyle>
          <a:p>
            <a:r>
              <a:t>Slide title</a:t>
            </a:r>
          </a:p>
        </p:txBody>
      </p:sp>
      <p:sp>
        <p:nvSpPr>
          <p:cNvPr id="8" name="Rectangle 7"/>
          <p:cNvSpPr/>
          <p:nvPr userDrawn="1"/>
        </p:nvSpPr>
        <p:spPr>
          <a:xfrm>
            <a:off x="1473401" y="13113999"/>
            <a:ext cx="6831172" cy="341632"/>
          </a:xfrm>
          <a:prstGeom prst="rect">
            <a:avLst/>
          </a:prstGeom>
        </p:spPr>
        <p:txBody>
          <a:bodyPr wrap="square" anchor="ctr">
            <a:spAutoFit/>
          </a:bodyPr>
          <a:lstStyle/>
          <a:p>
            <a:pPr marL="0" marR="0" indent="0" algn="l" defTabSz="1828837" rtl="0" eaLnBrk="1" fontAlgn="base" latinLnBrk="0" hangingPunct="1">
              <a:lnSpc>
                <a:spcPct val="90000"/>
              </a:lnSpc>
              <a:spcBef>
                <a:spcPct val="0"/>
              </a:spcBef>
              <a:spcAft>
                <a:spcPct val="0"/>
              </a:spcAft>
              <a:buClrTx/>
              <a:buSzTx/>
              <a:buFontTx/>
              <a:buNone/>
              <a:tabLst/>
              <a:defRPr/>
            </a:pPr>
            <a:r>
              <a:rPr lang="en-US" altLang="en-US" sz="1800" b="0" i="0">
                <a:solidFill>
                  <a:schemeClr val="tx1"/>
                </a:solidFill>
                <a:latin typeface="IBM Plex Sans Regular" charset="0"/>
                <a:ea typeface="IBM Plex Sans Regular" charset="0"/>
                <a:cs typeface="IBM Plex Sans Regular" charset="0"/>
              </a:rPr>
              <a:t>© 2018</a:t>
            </a:r>
            <a:r>
              <a:rPr lang="en-US" altLang="en-US" sz="1800" b="0" i="0" baseline="0">
                <a:solidFill>
                  <a:schemeClr val="tx1"/>
                </a:solidFill>
                <a:latin typeface="IBM Plex Sans Regular" charset="0"/>
                <a:ea typeface="IBM Plex Sans Regular" charset="0"/>
                <a:cs typeface="IBM Plex Sans Regular" charset="0"/>
              </a:rPr>
              <a:t>  </a:t>
            </a:r>
            <a:r>
              <a:rPr lang="en-US" altLang="en-US" sz="1800" b="0" i="0">
                <a:solidFill>
                  <a:schemeClr val="tx1"/>
                </a:solidFill>
                <a:latin typeface="IBM Plex Sans Regular" charset="0"/>
                <a:ea typeface="IBM Plex Sans Regular" charset="0"/>
                <a:cs typeface="IBM Plex Sans Regular" charset="0"/>
              </a:rPr>
              <a:t>IBM Corporation</a:t>
            </a:r>
          </a:p>
        </p:txBody>
      </p:sp>
      <p:sp>
        <p:nvSpPr>
          <p:cNvPr id="9" name="Rectangle 6"/>
          <p:cNvSpPr>
            <a:spLocks noChangeArrowheads="1"/>
          </p:cNvSpPr>
          <p:nvPr userDrawn="1"/>
        </p:nvSpPr>
        <p:spPr bwMode="auto">
          <a:xfrm>
            <a:off x="23071017" y="12914668"/>
            <a:ext cx="1302820" cy="6035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77" tIns="91438" rIns="182877" bIns="91438" anchor="ctr"/>
          <a:lstStyle>
            <a:lvl1pPr eaLnBrk="0" hangingPunct="0">
              <a:defRPr baseline="-25000">
                <a:solidFill>
                  <a:schemeClr val="tx1"/>
                </a:solidFill>
                <a:latin typeface="Arial" panose="020B0604020202020204" pitchFamily="34" charset="0"/>
                <a:ea typeface="MS PGothic" panose="020B0600070205080204" pitchFamily="34" charset="-128"/>
              </a:defRPr>
            </a:lvl1pPr>
            <a:lvl2pPr marL="742950" indent="-285750" eaLnBrk="0" hangingPunct="0">
              <a:defRPr baseline="-25000">
                <a:solidFill>
                  <a:schemeClr val="tx1"/>
                </a:solidFill>
                <a:latin typeface="Arial" panose="020B0604020202020204" pitchFamily="34" charset="0"/>
                <a:ea typeface="MS PGothic" panose="020B0600070205080204" pitchFamily="34" charset="-128"/>
              </a:defRPr>
            </a:lvl2pPr>
            <a:lvl3pPr marL="1143000" indent="-228600" eaLnBrk="0" hangingPunct="0">
              <a:defRPr baseline="-25000">
                <a:solidFill>
                  <a:schemeClr val="tx1"/>
                </a:solidFill>
                <a:latin typeface="Arial" panose="020B0604020202020204" pitchFamily="34" charset="0"/>
                <a:ea typeface="MS PGothic" panose="020B0600070205080204" pitchFamily="34" charset="-128"/>
              </a:defRPr>
            </a:lvl3pPr>
            <a:lvl4pPr marL="1600200" indent="-228600" eaLnBrk="0" hangingPunct="0">
              <a:defRPr baseline="-25000">
                <a:solidFill>
                  <a:schemeClr val="tx1"/>
                </a:solidFill>
                <a:latin typeface="Arial" panose="020B0604020202020204" pitchFamily="34" charset="0"/>
                <a:ea typeface="MS PGothic" panose="020B0600070205080204" pitchFamily="34" charset="-128"/>
              </a:defRPr>
            </a:lvl4pPr>
            <a:lvl5pPr marL="2057400" indent="-228600" eaLnBrk="0" hangingPunct="0">
              <a:defRPr baseline="-25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9pPr>
          </a:lstStyle>
          <a:p>
            <a:pPr algn="ctr" eaLnBrk="1" hangingPunct="1">
              <a:defRPr/>
            </a:pPr>
            <a:fld id="{8995AC45-5A92-44C2-B9A7-BA7BB3D600ED}" type="slidenum">
              <a:rPr lang="en-US" altLang="en-US" sz="2000" b="0" i="0" baseline="0" smtClean="0">
                <a:solidFill>
                  <a:schemeClr val="tx1"/>
                </a:solidFill>
                <a:latin typeface="IBM Plex Sans Regular" charset="0"/>
                <a:ea typeface="IBM Plex Sans Regular" charset="0"/>
                <a:cs typeface="+mn-cs"/>
              </a:rPr>
              <a:pPr algn="ctr" eaLnBrk="1" hangingPunct="1">
                <a:defRPr/>
              </a:pPr>
              <a:t>‹Nº›</a:t>
            </a:fld>
            <a:endParaRPr lang="en-US" altLang="en-US" sz="2000" b="0" i="0" baseline="0">
              <a:solidFill>
                <a:schemeClr val="tx1"/>
              </a:solidFill>
              <a:latin typeface="IBM Plex Sans Regular" charset="0"/>
              <a:ea typeface="IBM Plex Sans Regular" charset="0"/>
              <a:cs typeface="+mn-cs"/>
            </a:endParaRPr>
          </a:p>
        </p:txBody>
      </p:sp>
    </p:spTree>
    <p:extLst>
      <p:ext uri="{BB962C8B-B14F-4D97-AF65-F5344CB8AC3E}">
        <p14:creationId xmlns:p14="http://schemas.microsoft.com/office/powerpoint/2010/main" val="2834062502"/>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x" preserve="1">
  <p:cSld name="1_Light_Blank">
    <p:bg>
      <p:bgPr>
        <a:solidFill>
          <a:schemeClr val="bg1">
            <a:lumMod val="95000"/>
          </a:schemeClr>
        </a:solidFill>
        <a:effectLst/>
      </p:bgPr>
    </p:bg>
    <p:spTree>
      <p:nvGrpSpPr>
        <p:cNvPr id="1" name=""/>
        <p:cNvGrpSpPr/>
        <p:nvPr/>
      </p:nvGrpSpPr>
      <p:grpSpPr>
        <a:xfrm>
          <a:off x="0" y="0"/>
          <a:ext cx="0" cy="0"/>
          <a:chOff x="0" y="0"/>
          <a:chExt cx="0" cy="0"/>
        </a:xfrm>
      </p:grpSpPr>
      <p:sp>
        <p:nvSpPr>
          <p:cNvPr id="335" name="Rectangle 14"/>
          <p:cNvSpPr/>
          <p:nvPr/>
        </p:nvSpPr>
        <p:spPr>
          <a:xfrm>
            <a:off x="-4" y="12827000"/>
            <a:ext cx="24384008" cy="889000"/>
          </a:xfrm>
          <a:prstGeom prst="rect">
            <a:avLst/>
          </a:prstGeom>
          <a:solidFill>
            <a:srgbClr val="FFFFFF"/>
          </a:solidFill>
          <a:ln w="12700">
            <a:miter lim="400000"/>
          </a:ln>
        </p:spPr>
        <p:txBody>
          <a:bodyPr lIns="91437" tIns="91437" rIns="91437" bIns="91437" anchor="ctr"/>
          <a:lstStyle/>
          <a:p>
            <a:pPr algn="ctr" eaLnBrk="1" fontAlgn="auto">
              <a:spcBef>
                <a:spcPts val="0"/>
              </a:spcBef>
              <a:spcAft>
                <a:spcPts val="0"/>
              </a:spcAft>
              <a:defRPr>
                <a:solidFill>
                  <a:srgbClr val="FFFFFF"/>
                </a:solidFill>
                <a:latin typeface="+mn-lt"/>
                <a:ea typeface="+mn-ea"/>
                <a:cs typeface="+mn-cs"/>
                <a:sym typeface="Arial"/>
              </a:defRPr>
            </a:pPr>
            <a:endParaRPr sz="3600" kern="0">
              <a:solidFill>
                <a:srgbClr val="FFFFFF"/>
              </a:solidFill>
              <a:latin typeface="Arial"/>
              <a:ea typeface=""/>
              <a:cs typeface="Arial"/>
              <a:sym typeface="Arial"/>
            </a:endParaRPr>
          </a:p>
        </p:txBody>
      </p:sp>
      <p:pic>
        <p:nvPicPr>
          <p:cNvPr id="336" name="ibm_logo_dark blue-01.png" descr="ibm_logo_dark blue-01.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5400000">
            <a:off x="715295" y="12766642"/>
            <a:ext cx="381003" cy="1009722"/>
          </a:xfrm>
          <a:prstGeom prst="rect">
            <a:avLst/>
          </a:prstGeom>
          <a:ln w="12700">
            <a:miter lim="400000"/>
          </a:ln>
        </p:spPr>
      </p:pic>
      <p:sp>
        <p:nvSpPr>
          <p:cNvPr id="337" name="Line"/>
          <p:cNvSpPr/>
          <p:nvPr/>
        </p:nvSpPr>
        <p:spPr>
          <a:xfrm>
            <a:off x="-2" y="12814300"/>
            <a:ext cx="24384007" cy="0"/>
          </a:xfrm>
          <a:prstGeom prst="line">
            <a:avLst/>
          </a:prstGeom>
          <a:ln w="25400">
            <a:solidFill>
              <a:schemeClr val="accent5"/>
            </a:solidFill>
            <a:miter/>
          </a:ln>
        </p:spPr>
        <p:txBody>
          <a:bodyPr lIns="91437" tIns="91437" rIns="91437" bIns="91437"/>
          <a:lstStyle/>
          <a:p>
            <a:pPr eaLnBrk="1" fontAlgn="auto">
              <a:spcBef>
                <a:spcPts val="0"/>
              </a:spcBef>
              <a:spcAft>
                <a:spcPts val="0"/>
              </a:spcAft>
              <a:defRPr/>
            </a:pPr>
            <a:endParaRPr sz="3600" kern="0">
              <a:solidFill>
                <a:srgbClr val="000000"/>
              </a:solidFill>
              <a:latin typeface="Calibri"/>
              <a:ea typeface=""/>
              <a:sym typeface="Calibri"/>
            </a:endParaRPr>
          </a:p>
        </p:txBody>
      </p:sp>
      <p:sp>
        <p:nvSpPr>
          <p:cNvPr id="339" name="Slide title"/>
          <p:cNvSpPr txBox="1">
            <a:spLocks noGrp="1"/>
          </p:cNvSpPr>
          <p:nvPr>
            <p:ph type="body" sz="quarter" idx="13"/>
          </p:nvPr>
        </p:nvSpPr>
        <p:spPr>
          <a:xfrm>
            <a:off x="508002" y="508003"/>
            <a:ext cx="23622002" cy="1071418"/>
          </a:xfrm>
          <a:prstGeom prst="rect">
            <a:avLst/>
          </a:prstGeom>
        </p:spPr>
        <p:txBody>
          <a:bodyPr lIns="45718" tIns="45718" rIns="45718" bIns="45718"/>
          <a:lstStyle>
            <a:lvl1pPr defTabSz="1554511">
              <a:lnSpc>
                <a:spcPct val="90000"/>
              </a:lnSpc>
              <a:defRPr sz="5600" b="0">
                <a:solidFill>
                  <a:schemeClr val="accent4"/>
                </a:solidFill>
              </a:defRPr>
            </a:lvl1pPr>
          </a:lstStyle>
          <a:p>
            <a:r>
              <a:t>Slide title</a:t>
            </a:r>
          </a:p>
        </p:txBody>
      </p:sp>
      <p:sp>
        <p:nvSpPr>
          <p:cNvPr id="8" name="Rectangle 7"/>
          <p:cNvSpPr/>
          <p:nvPr userDrawn="1"/>
        </p:nvSpPr>
        <p:spPr>
          <a:xfrm>
            <a:off x="1473401" y="13113999"/>
            <a:ext cx="6831172" cy="341632"/>
          </a:xfrm>
          <a:prstGeom prst="rect">
            <a:avLst/>
          </a:prstGeom>
        </p:spPr>
        <p:txBody>
          <a:bodyPr wrap="square" anchor="ctr">
            <a:spAutoFit/>
          </a:bodyPr>
          <a:lstStyle/>
          <a:p>
            <a:pPr marL="0" marR="0" indent="0" algn="l" defTabSz="1828837" rtl="0" eaLnBrk="1" fontAlgn="base" latinLnBrk="0" hangingPunct="1">
              <a:lnSpc>
                <a:spcPct val="90000"/>
              </a:lnSpc>
              <a:spcBef>
                <a:spcPct val="0"/>
              </a:spcBef>
              <a:spcAft>
                <a:spcPct val="0"/>
              </a:spcAft>
              <a:buClrTx/>
              <a:buSzTx/>
              <a:buFontTx/>
              <a:buNone/>
              <a:tabLst/>
              <a:defRPr/>
            </a:pPr>
            <a:r>
              <a:rPr lang="en-US" altLang="en-US" sz="1800" b="0" i="0">
                <a:solidFill>
                  <a:schemeClr val="tx1"/>
                </a:solidFill>
                <a:latin typeface="IBM Plex Sans Regular" charset="0"/>
                <a:ea typeface="IBM Plex Sans Regular" charset="0"/>
                <a:cs typeface="IBM Plex Sans Regular" charset="0"/>
              </a:rPr>
              <a:t>© 2018</a:t>
            </a:r>
            <a:r>
              <a:rPr lang="en-US" altLang="en-US" sz="1800" b="0" i="0" baseline="0">
                <a:solidFill>
                  <a:schemeClr val="tx1"/>
                </a:solidFill>
                <a:latin typeface="IBM Plex Sans Regular" charset="0"/>
                <a:ea typeface="IBM Plex Sans Regular" charset="0"/>
                <a:cs typeface="IBM Plex Sans Regular" charset="0"/>
              </a:rPr>
              <a:t>  </a:t>
            </a:r>
            <a:r>
              <a:rPr lang="en-US" altLang="en-US" sz="1800" b="0" i="0">
                <a:solidFill>
                  <a:schemeClr val="tx1"/>
                </a:solidFill>
                <a:latin typeface="IBM Plex Sans Regular" charset="0"/>
                <a:ea typeface="IBM Plex Sans Regular" charset="0"/>
                <a:cs typeface="IBM Plex Sans Regular" charset="0"/>
              </a:rPr>
              <a:t>IBM Corporation</a:t>
            </a:r>
          </a:p>
        </p:txBody>
      </p:sp>
      <p:sp>
        <p:nvSpPr>
          <p:cNvPr id="9" name="Rectangle 6"/>
          <p:cNvSpPr>
            <a:spLocks noChangeArrowheads="1"/>
          </p:cNvSpPr>
          <p:nvPr userDrawn="1"/>
        </p:nvSpPr>
        <p:spPr bwMode="auto">
          <a:xfrm>
            <a:off x="23071017" y="12914668"/>
            <a:ext cx="1302820" cy="6035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77" tIns="91438" rIns="182877" bIns="91438" anchor="ctr"/>
          <a:lstStyle>
            <a:lvl1pPr eaLnBrk="0" hangingPunct="0">
              <a:defRPr baseline="-25000">
                <a:solidFill>
                  <a:schemeClr val="tx1"/>
                </a:solidFill>
                <a:latin typeface="Arial" panose="020B0604020202020204" pitchFamily="34" charset="0"/>
                <a:ea typeface="MS PGothic" panose="020B0600070205080204" pitchFamily="34" charset="-128"/>
              </a:defRPr>
            </a:lvl1pPr>
            <a:lvl2pPr marL="742950" indent="-285750" eaLnBrk="0" hangingPunct="0">
              <a:defRPr baseline="-25000">
                <a:solidFill>
                  <a:schemeClr val="tx1"/>
                </a:solidFill>
                <a:latin typeface="Arial" panose="020B0604020202020204" pitchFamily="34" charset="0"/>
                <a:ea typeface="MS PGothic" panose="020B0600070205080204" pitchFamily="34" charset="-128"/>
              </a:defRPr>
            </a:lvl2pPr>
            <a:lvl3pPr marL="1143000" indent="-228600" eaLnBrk="0" hangingPunct="0">
              <a:defRPr baseline="-25000">
                <a:solidFill>
                  <a:schemeClr val="tx1"/>
                </a:solidFill>
                <a:latin typeface="Arial" panose="020B0604020202020204" pitchFamily="34" charset="0"/>
                <a:ea typeface="MS PGothic" panose="020B0600070205080204" pitchFamily="34" charset="-128"/>
              </a:defRPr>
            </a:lvl3pPr>
            <a:lvl4pPr marL="1600200" indent="-228600" eaLnBrk="0" hangingPunct="0">
              <a:defRPr baseline="-25000">
                <a:solidFill>
                  <a:schemeClr val="tx1"/>
                </a:solidFill>
                <a:latin typeface="Arial" panose="020B0604020202020204" pitchFamily="34" charset="0"/>
                <a:ea typeface="MS PGothic" panose="020B0600070205080204" pitchFamily="34" charset="-128"/>
              </a:defRPr>
            </a:lvl4pPr>
            <a:lvl5pPr marL="2057400" indent="-228600" eaLnBrk="0" hangingPunct="0">
              <a:defRPr baseline="-25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9pPr>
          </a:lstStyle>
          <a:p>
            <a:pPr algn="ctr" eaLnBrk="1" hangingPunct="1">
              <a:defRPr/>
            </a:pPr>
            <a:fld id="{8995AC45-5A92-44C2-B9A7-BA7BB3D600ED}" type="slidenum">
              <a:rPr lang="en-US" altLang="en-US" sz="2000" b="0" i="0" baseline="0" smtClean="0">
                <a:solidFill>
                  <a:schemeClr val="tx1"/>
                </a:solidFill>
                <a:latin typeface="IBM Plex Sans Regular" charset="0"/>
                <a:ea typeface="IBM Plex Sans Regular" charset="0"/>
                <a:cs typeface="+mn-cs"/>
              </a:rPr>
              <a:pPr algn="ctr" eaLnBrk="1" hangingPunct="1">
                <a:defRPr/>
              </a:pPr>
              <a:t>‹Nº›</a:t>
            </a:fld>
            <a:endParaRPr lang="en-US" altLang="en-US" sz="2000" b="0" i="0" baseline="0">
              <a:solidFill>
                <a:schemeClr val="tx1"/>
              </a:solidFill>
              <a:latin typeface="IBM Plex Sans Regular" charset="0"/>
              <a:ea typeface="IBM Plex Sans Regular" charset="0"/>
              <a:cs typeface="+mn-cs"/>
            </a:endParaRPr>
          </a:p>
        </p:txBody>
      </p:sp>
    </p:spTree>
    <p:extLst>
      <p:ext uri="{BB962C8B-B14F-4D97-AF65-F5344CB8AC3E}">
        <p14:creationId xmlns:p14="http://schemas.microsoft.com/office/powerpoint/2010/main" val="2259289460"/>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6" y="508000"/>
            <a:ext cx="23622002" cy="1778000"/>
          </a:xfrm>
        </p:spPr>
        <p:txBody>
          <a:bodyPr/>
          <a:lstStyle>
            <a:lvl1pPr>
              <a:defRPr b="0"/>
            </a:lvl1pPr>
          </a:lstStyle>
          <a:p>
            <a:r>
              <a:rPr lang="en-US"/>
              <a:t>Click to edit Master title style</a:t>
            </a:r>
          </a:p>
        </p:txBody>
      </p:sp>
      <p:sp>
        <p:nvSpPr>
          <p:cNvPr id="3" name="Content Placeholder 2"/>
          <p:cNvSpPr>
            <a:spLocks noGrp="1"/>
          </p:cNvSpPr>
          <p:nvPr>
            <p:ph idx="1"/>
          </p:nvPr>
        </p:nvSpPr>
        <p:spPr>
          <a:xfrm>
            <a:off x="381006" y="2537520"/>
            <a:ext cx="23622002" cy="9815887"/>
          </a:xfrm>
          <a:prstGeom prst="rect">
            <a:avLst/>
          </a:prstGeom>
        </p:spPr>
        <p:txBody>
          <a:bodyPr lIns="66961" tIns="33477" rIns="66961" bIns="33477"/>
          <a:lstStyle>
            <a:lvl1pPr>
              <a:defRPr b="0" i="0">
                <a:latin typeface="HelveticaNeueLT Std Lt Cn" panose="020B0406020202030204" pitchFamily="34" charset="0"/>
                <a:ea typeface="HelveticaNeueLT Std Lt Cn" panose="020B0406020202030204" pitchFamily="34" charset="0"/>
                <a:cs typeface="HelveticaNeueLT Std Lt Cn" panose="020B0406020202030204" pitchFamily="34" charset="0"/>
              </a:defRPr>
            </a:lvl1pPr>
            <a:lvl2pPr>
              <a:defRPr b="0" i="0">
                <a:latin typeface="HelveticaNeueLT Std Lt Cn" panose="020B0406020202030204" pitchFamily="34" charset="0"/>
                <a:ea typeface="HelveticaNeueLT Std Lt Cn" panose="020B0406020202030204" pitchFamily="34" charset="0"/>
                <a:cs typeface="HelveticaNeueLT Std Lt Cn" panose="020B0406020202030204" pitchFamily="34" charset="0"/>
              </a:defRPr>
            </a:lvl2pPr>
            <a:lvl3pPr>
              <a:defRPr b="0" i="0">
                <a:latin typeface="HelveticaNeueLT Std Lt Cn" panose="020B0406020202030204" pitchFamily="34" charset="0"/>
                <a:ea typeface="HelveticaNeueLT Std Lt Cn" panose="020B0406020202030204" pitchFamily="34" charset="0"/>
                <a:cs typeface="HelveticaNeueLT Std Lt Cn" panose="020B0406020202030204" pitchFamily="34" charset="0"/>
              </a:defRPr>
            </a:lvl3pPr>
            <a:lvl4pPr>
              <a:defRPr b="0" i="0">
                <a:latin typeface="HelveticaNeueLT Std Lt Cn" panose="020B0406020202030204" pitchFamily="34" charset="0"/>
                <a:ea typeface="HelveticaNeueLT Std Lt Cn" panose="020B0406020202030204" pitchFamily="34" charset="0"/>
                <a:cs typeface="HelveticaNeueLT Std Lt Cn" panose="020B0406020202030204" pitchFamily="34" charset="0"/>
              </a:defRPr>
            </a:lvl4pPr>
            <a:lvl5pPr>
              <a:defRPr b="0" i="0">
                <a:latin typeface="HelveticaNeueLT Std Lt Cn" panose="020B0406020202030204" pitchFamily="34" charset="0"/>
                <a:ea typeface="HelveticaNeueLT Std Lt Cn" panose="020B0406020202030204" pitchFamily="34" charset="0"/>
                <a:cs typeface="HelveticaNeueLT Std Lt Cn" panose="020B0406020202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8818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91069" y="368303"/>
            <a:ext cx="22906568" cy="1000127"/>
          </a:xfrm>
        </p:spPr>
        <p:txBody>
          <a:bodyPr/>
          <a:lstStyle/>
          <a:p>
            <a:r>
              <a:rPr lang="en-US"/>
              <a:t>Click to edit Master title style</a:t>
            </a:r>
          </a:p>
        </p:txBody>
      </p:sp>
      <p:sp>
        <p:nvSpPr>
          <p:cNvPr id="3" name="Table Placeholder 2"/>
          <p:cNvSpPr>
            <a:spLocks noGrp="1"/>
          </p:cNvSpPr>
          <p:nvPr>
            <p:ph type="tbl" idx="1"/>
          </p:nvPr>
        </p:nvSpPr>
        <p:spPr>
          <a:xfrm>
            <a:off x="656168" y="1616077"/>
            <a:ext cx="22906567" cy="11249023"/>
          </a:xfrm>
        </p:spPr>
        <p:txBody>
          <a:bodyPr/>
          <a:lstStyle/>
          <a:p>
            <a:pPr lvl="0"/>
            <a:endParaRPr lang="en-US" noProof="0" dirty="0"/>
          </a:p>
        </p:txBody>
      </p:sp>
    </p:spTree>
    <p:extLst>
      <p:ext uri="{BB962C8B-B14F-4D97-AF65-F5344CB8AC3E}">
        <p14:creationId xmlns:p14="http://schemas.microsoft.com/office/powerpoint/2010/main" val="11840556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8896" y="707135"/>
            <a:ext cx="23349612" cy="829057"/>
          </a:xfrm>
          <a:prstGeom prst="rect">
            <a:avLst/>
          </a:prstGeom>
        </p:spPr>
        <p:txBody>
          <a:bodyPr/>
          <a:lstStyle/>
          <a:p>
            <a:r>
              <a:rPr lang="en-US"/>
              <a:t>Click to edit Master title style</a:t>
            </a:r>
          </a:p>
        </p:txBody>
      </p:sp>
      <p:sp>
        <p:nvSpPr>
          <p:cNvPr id="5" name="Footer Placeholder 3"/>
          <p:cNvSpPr>
            <a:spLocks noGrp="1"/>
          </p:cNvSpPr>
          <p:nvPr>
            <p:ph type="ftr" sz="quarter" idx="3"/>
          </p:nvPr>
        </p:nvSpPr>
        <p:spPr>
          <a:xfrm>
            <a:off x="8077202" y="12712703"/>
            <a:ext cx="8229600" cy="732368"/>
          </a:xfrm>
          <a:prstGeom prst="rect">
            <a:avLst/>
          </a:prstGeom>
        </p:spPr>
        <p:txBody>
          <a:bodyPr vert="horz" lIns="91440" tIns="0" rIns="91440" bIns="0" rtlCol="0" anchor="b"/>
          <a:lstStyle>
            <a:lvl1pPr algn="ctr">
              <a:defRPr sz="1733">
                <a:solidFill>
                  <a:schemeClr val="tx1">
                    <a:tint val="75000"/>
                  </a:schemeClr>
                </a:solidFill>
              </a:defRPr>
            </a:lvl1pPr>
          </a:lstStyle>
          <a:p>
            <a:r>
              <a:rPr lang="en-US" dirty="0">
                <a:solidFill>
                  <a:srgbClr val="000000">
                    <a:tint val="75000"/>
                  </a:srgbClr>
                </a:solidFill>
              </a:rPr>
              <a:t>Confidential</a:t>
            </a:r>
          </a:p>
        </p:txBody>
      </p:sp>
    </p:spTree>
    <p:extLst>
      <p:ext uri="{BB962C8B-B14F-4D97-AF65-F5344CB8AC3E}">
        <p14:creationId xmlns:p14="http://schemas.microsoft.com/office/powerpoint/2010/main" val="23863485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15" name="Vertical Text Placeholder 14">
            <a:extLst>
              <a:ext uri="{FF2B5EF4-FFF2-40B4-BE49-F238E27FC236}">
                <a16:creationId xmlns:a16="http://schemas.microsoft.com/office/drawing/2014/main" id="{168D8E4A-879A-A44B-9F36-EB1C82D28994}"/>
              </a:ext>
            </a:extLst>
          </p:cNvPr>
          <p:cNvSpPr>
            <a:spLocks noGrp="1"/>
          </p:cNvSpPr>
          <p:nvPr>
            <p:ph type="body" orient="vert" sz="quarter" idx="16" hasCustomPrompt="1"/>
          </p:nvPr>
        </p:nvSpPr>
        <p:spPr>
          <a:xfrm rot="10800000">
            <a:off x="55420" y="-1"/>
            <a:ext cx="609600" cy="13715998"/>
          </a:xfrm>
          <a:prstGeom prst="rect">
            <a:avLst/>
          </a:prstGeom>
        </p:spPr>
        <p:txBody>
          <a:bodyPr vert="eaVert"/>
          <a:lstStyle>
            <a:lvl1pPr marL="0" indent="0" algn="ctr">
              <a:buNone/>
              <a:defRPr sz="2400" b="0" i="0">
                <a:solidFill>
                  <a:srgbClr val="E1305D"/>
                </a:solidFill>
                <a:latin typeface="IBM Plex Sans Light" panose="020B0403050000000000" pitchFamily="34" charset="77"/>
              </a:defRPr>
            </a:lvl1pPr>
          </a:lstStyle>
          <a:p>
            <a:pPr lvl="0"/>
            <a:r>
              <a:rPr lang="en-US"/>
              <a:t>Click to edit the master style</a:t>
            </a:r>
          </a:p>
        </p:txBody>
      </p:sp>
      <p:sp>
        <p:nvSpPr>
          <p:cNvPr id="5" name="Content Placeholder 4"/>
          <p:cNvSpPr>
            <a:spLocks noGrp="1"/>
          </p:cNvSpPr>
          <p:nvPr>
            <p:ph sz="quarter" idx="17"/>
          </p:nvPr>
        </p:nvSpPr>
        <p:spPr>
          <a:xfrm>
            <a:off x="873127" y="3575050"/>
            <a:ext cx="22637750" cy="90900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itle 5"/>
          <p:cNvSpPr>
            <a:spLocks noGrp="1"/>
          </p:cNvSpPr>
          <p:nvPr>
            <p:ph type="title" hasCustomPrompt="1"/>
          </p:nvPr>
        </p:nvSpPr>
        <p:spPr/>
        <p:txBody>
          <a:bodyPr/>
          <a:lstStyle/>
          <a:p>
            <a:r>
              <a:rPr lang="en-US"/>
              <a:t>CLICK TO EDIT MASTER TITLE STYLE</a:t>
            </a:r>
            <a:endParaRPr lang="en-GB"/>
          </a:p>
        </p:txBody>
      </p:sp>
      <p:sp>
        <p:nvSpPr>
          <p:cNvPr id="11" name="Text Placeholder 8">
            <a:extLst>
              <a:ext uri="{FF2B5EF4-FFF2-40B4-BE49-F238E27FC236}">
                <a16:creationId xmlns:a16="http://schemas.microsoft.com/office/drawing/2014/main" id="{132C30ED-5034-7A4B-B1C3-36C251222B04}"/>
              </a:ext>
            </a:extLst>
          </p:cNvPr>
          <p:cNvSpPr>
            <a:spLocks noGrp="1"/>
          </p:cNvSpPr>
          <p:nvPr>
            <p:ph type="body" sz="quarter" idx="13" hasCustomPrompt="1"/>
          </p:nvPr>
        </p:nvSpPr>
        <p:spPr>
          <a:xfrm>
            <a:off x="1171253" y="1094892"/>
            <a:ext cx="22029940" cy="1374862"/>
          </a:xfrm>
          <a:prstGeom prst="rect">
            <a:avLst/>
          </a:prstGeom>
        </p:spPr>
        <p:txBody>
          <a:bodyPr/>
          <a:lstStyle>
            <a:lvl1pPr marL="0" indent="0">
              <a:lnSpc>
                <a:spcPct val="100000"/>
              </a:lnSpc>
              <a:buNone/>
              <a:defRPr sz="2600" b="0" i="0">
                <a:solidFill>
                  <a:schemeClr val="tx1">
                    <a:lumMod val="85000"/>
                    <a:lumOff val="15000"/>
                  </a:schemeClr>
                </a:solidFill>
                <a:latin typeface="IBM Plex Sans Light" panose="020B0403050000000000" pitchFamily="34" charset="77"/>
              </a:defRPr>
            </a:lvl1pPr>
          </a:lstStyle>
          <a:p>
            <a:pPr lvl="0"/>
            <a:r>
              <a:rPr lang="en-US"/>
              <a:t>What are we trying to address</a:t>
            </a:r>
          </a:p>
        </p:txBody>
      </p:sp>
    </p:spTree>
    <p:extLst>
      <p:ext uri="{BB962C8B-B14F-4D97-AF65-F5344CB8AC3E}">
        <p14:creationId xmlns:p14="http://schemas.microsoft.com/office/powerpoint/2010/main" val="609285585"/>
      </p:ext>
    </p:extLst>
  </p:cSld>
  <p:clrMapOvr>
    <a:masterClrMapping/>
  </p:clrMapOvr>
  <p:extLst>
    <p:ext uri="{DCECCB84-F9BA-43D5-87BE-67443E8EF086}">
      <p15:sldGuideLst xmlns:p15="http://schemas.microsoft.com/office/powerpoint/2012/main">
        <p15:guide id="1" orient="horz" pos="164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ntent 1">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781050" y="416812"/>
            <a:ext cx="22717127" cy="2067893"/>
          </a:xfrm>
        </p:spPr>
        <p:txBody>
          <a:bodyPr>
            <a:normAutofit/>
          </a:bodyPr>
          <a:lstStyle>
            <a:lvl1pPr>
              <a:defRPr sz="4800" b="1" baseline="0">
                <a:solidFill>
                  <a:schemeClr val="tx2"/>
                </a:solidFill>
              </a:defRPr>
            </a:lvl1pPr>
          </a:lstStyle>
          <a:p>
            <a:pPr lvl="0"/>
            <a:r>
              <a:rPr lang="en-US"/>
              <a:t>Title (Century Gothic 24, dark blue – bold)</a:t>
            </a:r>
            <a:endParaRPr lang="es-MX"/>
          </a:p>
        </p:txBody>
      </p:sp>
    </p:spTree>
    <p:extLst>
      <p:ext uri="{BB962C8B-B14F-4D97-AF65-F5344CB8AC3E}">
        <p14:creationId xmlns:p14="http://schemas.microsoft.com/office/powerpoint/2010/main" val="2704983342"/>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ontent 2">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781050" y="416812"/>
            <a:ext cx="22717127" cy="2067893"/>
          </a:xfrm>
        </p:spPr>
        <p:txBody>
          <a:bodyPr>
            <a:normAutofit/>
          </a:bodyPr>
          <a:lstStyle>
            <a:lvl1pPr>
              <a:defRPr sz="4800" b="1" baseline="0">
                <a:solidFill>
                  <a:schemeClr val="tx2"/>
                </a:solidFill>
              </a:defRPr>
            </a:lvl1pPr>
          </a:lstStyle>
          <a:p>
            <a:pPr lvl="0"/>
            <a:r>
              <a:rPr lang="en-US"/>
              <a:t>Title (Century Gothic 24, dark blue – bold)</a:t>
            </a:r>
            <a:endParaRPr lang="es-MX"/>
          </a:p>
        </p:txBody>
      </p:sp>
      <p:sp>
        <p:nvSpPr>
          <p:cNvPr id="3" name="Text Placeholder 2"/>
          <p:cNvSpPr>
            <a:spLocks noGrp="1"/>
          </p:cNvSpPr>
          <p:nvPr>
            <p:ph type="body" sz="quarter" idx="11" hasCustomPrompt="1"/>
          </p:nvPr>
        </p:nvSpPr>
        <p:spPr/>
        <p:txBody>
          <a:bodyPr/>
          <a:lstStyle>
            <a:lvl1pPr>
              <a:tabLst/>
              <a:defRPr>
                <a:solidFill>
                  <a:schemeClr val="tx1"/>
                </a:solidFill>
              </a:defRPr>
            </a:lvl1pPr>
            <a:lvl2pPr>
              <a:defRPr>
                <a:solidFill>
                  <a:schemeClr val="tx1"/>
                </a:solidFill>
              </a:defRPr>
            </a:lvl2pPr>
            <a:lvl3pPr>
              <a:spcBef>
                <a:spcPts val="600"/>
              </a:spcBef>
              <a:defRPr>
                <a:solidFill>
                  <a:schemeClr val="tx1"/>
                </a:solidFill>
              </a:defRPr>
            </a:lvl3pPr>
            <a:lvl4pPr>
              <a:defRPr>
                <a:solidFill>
                  <a:schemeClr val="tx1">
                    <a:lumMod val="65000"/>
                    <a:lumOff val="35000"/>
                  </a:schemeClr>
                </a:solidFill>
              </a:defRPr>
            </a:lvl4pPr>
          </a:lstStyle>
          <a:p>
            <a:r>
              <a:rPr lang="en-US" kern="0"/>
              <a:t>Main Text (</a:t>
            </a:r>
            <a:r>
              <a:rPr lang="en-US"/>
              <a:t>Century Gothic</a:t>
            </a:r>
            <a:r>
              <a:rPr lang="en-US" kern="0"/>
              <a:t> 14, black)</a:t>
            </a:r>
          </a:p>
          <a:p>
            <a:pPr lvl="1"/>
            <a:r>
              <a:rPr lang="en-US" kern="0"/>
              <a:t>Level 1 Bullet (</a:t>
            </a:r>
            <a:r>
              <a:rPr lang="en-US"/>
              <a:t>Century Gothic</a:t>
            </a:r>
            <a:r>
              <a:rPr lang="en-US" kern="0"/>
              <a:t> 14, black – mid blue bullet)</a:t>
            </a:r>
          </a:p>
          <a:p>
            <a:pPr lvl="2"/>
            <a:r>
              <a:rPr lang="en-US" kern="0"/>
              <a:t>Level 2 Bullet (</a:t>
            </a:r>
            <a:r>
              <a:rPr lang="en-US"/>
              <a:t>Century Gothic</a:t>
            </a:r>
            <a:r>
              <a:rPr lang="en-US" kern="0"/>
              <a:t> 14, black – mid blue double arrow)</a:t>
            </a:r>
          </a:p>
          <a:p>
            <a:pPr lvl="3"/>
            <a:r>
              <a:rPr lang="en-US" kern="0"/>
              <a:t>Level 3 Bullet (</a:t>
            </a:r>
            <a:r>
              <a:rPr lang="en-US"/>
              <a:t>Century Gothic</a:t>
            </a:r>
            <a:r>
              <a:rPr lang="en-US" kern="0"/>
              <a:t> 12, black – mid blue circle bullet)</a:t>
            </a:r>
          </a:p>
        </p:txBody>
      </p:sp>
    </p:spTree>
    <p:extLst>
      <p:ext uri="{BB962C8B-B14F-4D97-AF65-F5344CB8AC3E}">
        <p14:creationId xmlns:p14="http://schemas.microsoft.com/office/powerpoint/2010/main" val="2066312344"/>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Background_2">
    <p:spTree>
      <p:nvGrpSpPr>
        <p:cNvPr id="1" name=""/>
        <p:cNvGrpSpPr/>
        <p:nvPr/>
      </p:nvGrpSpPr>
      <p:grpSpPr>
        <a:xfrm>
          <a:off x="0" y="0"/>
          <a:ext cx="0" cy="0"/>
          <a:chOff x="0" y="0"/>
          <a:chExt cx="0" cy="0"/>
        </a:xfrm>
      </p:grpSpPr>
      <p:sp>
        <p:nvSpPr>
          <p:cNvPr id="2" name="Rectangle 5"/>
          <p:cNvSpPr/>
          <p:nvPr userDrawn="1"/>
        </p:nvSpPr>
        <p:spPr>
          <a:xfrm>
            <a:off x="0" y="0"/>
            <a:ext cx="8991600" cy="13716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243823" tIns="121912" rIns="243823" bIns="121912" anchor="ctr"/>
          <a:lstStyle/>
          <a:p>
            <a:pPr algn="ctr" defTabSz="1219106" fontAlgn="auto">
              <a:spcBef>
                <a:spcPts val="0"/>
              </a:spcBef>
              <a:spcAft>
                <a:spcPts val="0"/>
              </a:spcAft>
              <a:defRPr/>
            </a:pPr>
            <a:endParaRPr lang="en-US" sz="4800" dirty="0"/>
          </a:p>
        </p:txBody>
      </p:sp>
      <p:sp>
        <p:nvSpPr>
          <p:cNvPr id="3" name="TextBox 13"/>
          <p:cNvSpPr txBox="1"/>
          <p:nvPr userDrawn="1"/>
        </p:nvSpPr>
        <p:spPr>
          <a:xfrm>
            <a:off x="23355305" y="194735"/>
            <a:ext cx="821267" cy="902667"/>
          </a:xfrm>
          <a:prstGeom prst="rect">
            <a:avLst/>
          </a:prstGeom>
          <a:noFill/>
        </p:spPr>
        <p:txBody>
          <a:bodyPr lIns="243823" tIns="121912" rIns="243823" bIns="121912">
            <a:spAutoFit/>
          </a:bodyPr>
          <a:lstStyle/>
          <a:p>
            <a:pPr defTabSz="1219106" fontAlgn="auto">
              <a:spcBef>
                <a:spcPts val="0"/>
              </a:spcBef>
              <a:spcAft>
                <a:spcPts val="0"/>
              </a:spcAft>
              <a:defRPr/>
            </a:pPr>
            <a:fld id="{56A6B436-326E-49BA-8D5E-C57C06137468}" type="slidenum">
              <a:rPr lang="en-US" sz="2133">
                <a:solidFill>
                  <a:srgbClr val="2D2D2D"/>
                </a:solidFill>
                <a:latin typeface="+mn-lt"/>
                <a:cs typeface="+mn-cs"/>
              </a:rPr>
              <a:pPr defTabSz="1219106" fontAlgn="auto">
                <a:spcBef>
                  <a:spcPts val="0"/>
                </a:spcBef>
                <a:spcAft>
                  <a:spcPts val="0"/>
                </a:spcAft>
                <a:defRPr/>
              </a:pPr>
              <a:t>‹Nº›</a:t>
            </a:fld>
            <a:endParaRPr lang="en-US" sz="2133" dirty="0">
              <a:solidFill>
                <a:srgbClr val="2D2D2D"/>
              </a:solidFill>
              <a:latin typeface="+mn-lt"/>
              <a:cs typeface="+mn-cs"/>
            </a:endParaRPr>
          </a:p>
        </p:txBody>
      </p:sp>
      <p:pic>
        <p:nvPicPr>
          <p:cNvPr id="5" name="Picture 5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rot="10800000" flipH="1" flipV="1">
            <a:off x="23025102" y="12945536"/>
            <a:ext cx="1041400" cy="419102"/>
          </a:xfrm>
          <a:prstGeom prst="rect">
            <a:avLst/>
          </a:prstGeom>
          <a:noFill/>
          <a:ln w="9525">
            <a:noFill/>
            <a:miter lim="800000"/>
            <a:headEnd/>
            <a:tailEnd/>
          </a:ln>
        </p:spPr>
      </p:pic>
    </p:spTree>
    <p:extLst>
      <p:ext uri="{BB962C8B-B14F-4D97-AF65-F5344CB8AC3E}">
        <p14:creationId xmlns:p14="http://schemas.microsoft.com/office/powerpoint/2010/main" val="7837874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1_Title Slide">
    <p:bg>
      <p:bgRef idx="1003">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alphaModFix amt="50000"/>
            <a:extLst>
              <a:ext uri="{BEBA8EAE-BF5A-486C-A8C5-ECC9F3942E4B}">
                <a14:imgProps xmlns:a14="http://schemas.microsoft.com/office/drawing/2010/main">
                  <a14:imgLayer>
                    <a14:imgEffect>
                      <a14:colorTemperature colorTemp="5506"/>
                    </a14:imgEffect>
                    <a14:imgEffect>
                      <a14:saturation sat="161000"/>
                    </a14:imgEffect>
                    <a14:imgEffect>
                      <a14:brightnessContrast contrast="37000"/>
                    </a14:imgEffect>
                  </a14:imgLayer>
                </a14:imgProps>
              </a:ext>
              <a:ext uri="{28A0092B-C50C-407E-A947-70E740481C1C}">
                <a14:useLocalDpi xmlns:a14="http://schemas.microsoft.com/office/drawing/2010/main"/>
              </a:ext>
            </a:extLst>
          </a:blip>
          <a:srcRect/>
          <a:stretch/>
        </p:blipFill>
        <p:spPr>
          <a:xfrm>
            <a:off x="0" y="-1"/>
            <a:ext cx="24384000" cy="13716002"/>
          </a:xfrm>
          <a:prstGeom prst="rect">
            <a:avLst/>
          </a:prstGeom>
        </p:spPr>
      </p:pic>
      <p:sp>
        <p:nvSpPr>
          <p:cNvPr id="29" name="Rectangle 28"/>
          <p:cNvSpPr/>
          <p:nvPr userDrawn="1"/>
        </p:nvSpPr>
        <p:spPr>
          <a:xfrm>
            <a:off x="0" y="12974052"/>
            <a:ext cx="24384000" cy="741950"/>
          </a:xfrm>
          <a:prstGeom prst="rect">
            <a:avLst/>
          </a:prstGeom>
          <a:solidFill>
            <a:schemeClr val="accent5">
              <a:lumMod val="25000"/>
              <a:alpha val="8588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320" b="0" i="0" dirty="0">
              <a:latin typeface="IBM Plex Sans Regular" charset="0"/>
            </a:endParaRPr>
          </a:p>
        </p:txBody>
      </p:sp>
      <p:sp>
        <p:nvSpPr>
          <p:cNvPr id="28674" name="Rectangle 2"/>
          <p:cNvSpPr>
            <a:spLocks noGrp="1" noChangeArrowheads="1"/>
          </p:cNvSpPr>
          <p:nvPr>
            <p:ph type="ctrTitle"/>
          </p:nvPr>
        </p:nvSpPr>
        <p:spPr>
          <a:xfrm>
            <a:off x="706969" y="9114973"/>
            <a:ext cx="14380632" cy="2877118"/>
          </a:xfrm>
          <a:prstGeom prst="rect">
            <a:avLst/>
          </a:prstGeom>
        </p:spPr>
        <p:txBody>
          <a:bodyPr rIns="91438" anchor="t"/>
          <a:lstStyle>
            <a:lvl1pPr>
              <a:defRPr sz="6400" b="1" i="0" spc="-300">
                <a:solidFill>
                  <a:schemeClr val="tx1"/>
                </a:solidFill>
                <a:latin typeface="IBM Plex Sans" charset="0"/>
                <a:ea typeface="IBM Plex Sans" charset="0"/>
                <a:cs typeface="IBM Plex Sans" charset="0"/>
              </a:defRPr>
            </a:lvl1pPr>
          </a:lstStyle>
          <a:p>
            <a:r>
              <a:rPr lang="en-US"/>
              <a:t>Click to edit Master title style</a:t>
            </a:r>
          </a:p>
        </p:txBody>
      </p:sp>
      <p:sp>
        <p:nvSpPr>
          <p:cNvPr id="30" name="Rectangle 29"/>
          <p:cNvSpPr/>
          <p:nvPr userDrawn="1"/>
        </p:nvSpPr>
        <p:spPr>
          <a:xfrm>
            <a:off x="1968426" y="13225564"/>
            <a:ext cx="6831172" cy="341632"/>
          </a:xfrm>
          <a:prstGeom prst="rect">
            <a:avLst/>
          </a:prstGeom>
        </p:spPr>
        <p:txBody>
          <a:bodyPr wrap="square" anchor="ctr">
            <a:spAutoFit/>
          </a:bodyPr>
          <a:lstStyle/>
          <a:p>
            <a:pPr marL="0" marR="0" indent="0" algn="l" defTabSz="1828837" rtl="0" eaLnBrk="1" fontAlgn="base" latinLnBrk="0" hangingPunct="1">
              <a:lnSpc>
                <a:spcPct val="90000"/>
              </a:lnSpc>
              <a:spcBef>
                <a:spcPct val="0"/>
              </a:spcBef>
              <a:spcAft>
                <a:spcPct val="0"/>
              </a:spcAft>
              <a:buClrTx/>
              <a:buSzTx/>
              <a:buFontTx/>
              <a:buNone/>
              <a:tabLst/>
              <a:defRPr/>
            </a:pPr>
            <a:r>
              <a:rPr lang="en-US" altLang="en-US" sz="1800" b="0" i="0" dirty="0">
                <a:solidFill>
                  <a:srgbClr val="EBEFF0"/>
                </a:solidFill>
                <a:latin typeface="IBM Plex Sans Regular" charset="0"/>
                <a:ea typeface="IBM Plex Sans Regular" charset="0"/>
                <a:cs typeface="IBM Plex Sans Regular" charset="0"/>
              </a:rPr>
              <a:t>© 2018</a:t>
            </a:r>
            <a:r>
              <a:rPr lang="en-US" altLang="en-US" sz="1800" b="0" i="0" baseline="0" dirty="0">
                <a:solidFill>
                  <a:srgbClr val="EBEFF0"/>
                </a:solidFill>
                <a:latin typeface="IBM Plex Sans Regular" charset="0"/>
                <a:ea typeface="IBM Plex Sans Regular" charset="0"/>
                <a:cs typeface="IBM Plex Sans Regular" charset="0"/>
              </a:rPr>
              <a:t>  </a:t>
            </a:r>
            <a:r>
              <a:rPr lang="en-US" altLang="en-US" sz="1800" b="0" i="0" dirty="0">
                <a:solidFill>
                  <a:srgbClr val="EBEFF0"/>
                </a:solidFill>
                <a:latin typeface="IBM Plex Sans Regular" charset="0"/>
                <a:ea typeface="IBM Plex Sans Regular" charset="0"/>
                <a:cs typeface="IBM Plex Sans Regular" charset="0"/>
              </a:rPr>
              <a:t>IBM Corporation</a:t>
            </a:r>
          </a:p>
        </p:txBody>
      </p:sp>
      <p:pic>
        <p:nvPicPr>
          <p:cNvPr id="34" name="Picture 3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69394" y="13135512"/>
            <a:ext cx="1245682" cy="477852"/>
          </a:xfrm>
          <a:prstGeom prst="rect">
            <a:avLst/>
          </a:prstGeom>
        </p:spPr>
      </p:pic>
      <p:cxnSp>
        <p:nvCxnSpPr>
          <p:cNvPr id="28672" name="Straight Connector 28671"/>
          <p:cNvCxnSpPr/>
          <p:nvPr userDrawn="1"/>
        </p:nvCxnSpPr>
        <p:spPr>
          <a:xfrm>
            <a:off x="0" y="12642057"/>
            <a:ext cx="24384000" cy="0"/>
          </a:xfrm>
          <a:prstGeom prst="line">
            <a:avLst/>
          </a:prstGeom>
          <a:ln>
            <a:solidFill>
              <a:srgbClr val="36495A"/>
            </a:solidFill>
          </a:ln>
        </p:spPr>
        <p:style>
          <a:lnRef idx="1">
            <a:schemeClr val="accent1"/>
          </a:lnRef>
          <a:fillRef idx="0">
            <a:schemeClr val="accent1"/>
          </a:fillRef>
          <a:effectRef idx="0">
            <a:schemeClr val="accent1"/>
          </a:effectRef>
          <a:fontRef idx="minor">
            <a:schemeClr val="tx1"/>
          </a:fontRef>
        </p:style>
      </p:cxnSp>
      <p:grpSp>
        <p:nvGrpSpPr>
          <p:cNvPr id="13" name="Group 12"/>
          <p:cNvGrpSpPr/>
          <p:nvPr userDrawn="1"/>
        </p:nvGrpSpPr>
        <p:grpSpPr>
          <a:xfrm>
            <a:off x="8440420" y="1011722"/>
            <a:ext cx="15943580" cy="934720"/>
            <a:chOff x="4220210" y="1016000"/>
            <a:chExt cx="7971790" cy="274320"/>
          </a:xfrm>
        </p:grpSpPr>
        <p:sp>
          <p:nvSpPr>
            <p:cNvPr id="6" name="Rectangle 5"/>
            <p:cNvSpPr/>
            <p:nvPr userDrawn="1"/>
          </p:nvSpPr>
          <p:spPr>
            <a:xfrm flipH="1" flipV="1">
              <a:off x="5486400" y="1016000"/>
              <a:ext cx="6705600" cy="274320"/>
            </a:xfrm>
            <a:prstGeom prst="rect">
              <a:avLst/>
            </a:prstGeom>
            <a:solidFill>
              <a:srgbClr val="00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320" b="0" i="0" dirty="0">
                <a:latin typeface="IBM Plex Sans Regular" charset="0"/>
              </a:endParaRPr>
            </a:p>
          </p:txBody>
        </p:sp>
        <p:sp>
          <p:nvSpPr>
            <p:cNvPr id="8" name="Parallelogram 7"/>
            <p:cNvSpPr/>
            <p:nvPr userDrawn="1"/>
          </p:nvSpPr>
          <p:spPr>
            <a:xfrm flipH="1" flipV="1">
              <a:off x="4955540" y="1016000"/>
              <a:ext cx="1061720" cy="274320"/>
            </a:xfrm>
            <a:prstGeom prst="parallelogram">
              <a:avLst/>
            </a:prstGeom>
            <a:solidFill>
              <a:schemeClr val="accent5">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320" b="0" i="0" dirty="0">
                <a:latin typeface="IBM Plex Sans Regular" charset="0"/>
              </a:endParaRPr>
            </a:p>
          </p:txBody>
        </p:sp>
        <p:sp>
          <p:nvSpPr>
            <p:cNvPr id="18" name="Parallelogram 17"/>
            <p:cNvSpPr/>
            <p:nvPr userDrawn="1"/>
          </p:nvSpPr>
          <p:spPr>
            <a:xfrm flipH="1" flipV="1">
              <a:off x="4220210" y="1016000"/>
              <a:ext cx="1061720" cy="274320"/>
            </a:xfrm>
            <a:prstGeom prst="parallelogram">
              <a:avLst/>
            </a:prstGeom>
            <a:solidFill>
              <a:srgbClr val="0076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320" b="0" i="0" dirty="0">
                <a:latin typeface="IBM Plex Sans Regular" charset="0"/>
              </a:endParaRPr>
            </a:p>
          </p:txBody>
        </p:sp>
      </p:grpSp>
    </p:spTree>
    <p:extLst>
      <p:ext uri="{BB962C8B-B14F-4D97-AF65-F5344CB8AC3E}">
        <p14:creationId xmlns:p14="http://schemas.microsoft.com/office/powerpoint/2010/main" val="3863600879"/>
      </p:ext>
    </p:extLst>
  </p:cSld>
  <p:clrMapOvr>
    <a:overrideClrMapping bg1="dk1" tx1="lt1" bg2="dk2" tx2="lt2" accent1="accent1" accent2="accent2" accent3="accent3" accent4="accent4" accent5="accent5" accent6="accent6" hlink="hlink" folHlink="folHlink"/>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Título y subtítulo">
    <p:bg>
      <p:bgPr>
        <a:solidFill>
          <a:srgbClr val="EAEAEA"/>
        </a:solidFill>
        <a:effectLst/>
      </p:bgPr>
    </p:bg>
    <p:spTree>
      <p:nvGrpSpPr>
        <p:cNvPr id="1" name=""/>
        <p:cNvGrpSpPr/>
        <p:nvPr/>
      </p:nvGrpSpPr>
      <p:grpSpPr>
        <a:xfrm>
          <a:off x="0" y="0"/>
          <a:ext cx="0" cy="0"/>
          <a:chOff x="0" y="0"/>
          <a:chExt cx="0" cy="0"/>
        </a:xfrm>
      </p:grpSpPr>
      <p:sp>
        <p:nvSpPr>
          <p:cNvPr id="19" name="Texto del título"/>
          <p:cNvSpPr txBox="1">
            <a:spLocks noGrp="1"/>
          </p:cNvSpPr>
          <p:nvPr>
            <p:ph type="title"/>
          </p:nvPr>
        </p:nvSpPr>
        <p:spPr>
          <a:xfrm>
            <a:off x="1778000" y="2298700"/>
            <a:ext cx="20828000" cy="4648200"/>
          </a:xfrm>
          <a:prstGeom prst="rect">
            <a:avLst/>
          </a:prstGeom>
        </p:spPr>
        <p:txBody>
          <a:bodyPr lIns="50800" tIns="50800" rIns="50800" bIns="50800" anchor="b"/>
          <a:lstStyle>
            <a:lvl1pPr algn="ctr" defTabSz="825500">
              <a:lnSpc>
                <a:spcPct val="100000"/>
              </a:lnSpc>
              <a:defRPr sz="11200">
                <a:solidFill>
                  <a:srgbClr val="000000"/>
                </a:solidFill>
                <a:latin typeface="Helvetica Neue Medium"/>
                <a:ea typeface="Helvetica Neue Medium"/>
                <a:cs typeface="Helvetica Neue Medium"/>
                <a:sym typeface="Helvetica Neue Medium"/>
              </a:defRPr>
            </a:lvl1pPr>
          </a:lstStyle>
          <a:p>
            <a:r>
              <a:rPr lang="es-ES_tradnl"/>
              <a:t>Clic para editar título</a:t>
            </a:r>
            <a:endParaRPr/>
          </a:p>
        </p:txBody>
      </p:sp>
      <p:sp>
        <p:nvSpPr>
          <p:cNvPr id="20" name="Nivel de texto 1…"/>
          <p:cNvSpPr txBox="1">
            <a:spLocks noGrp="1"/>
          </p:cNvSpPr>
          <p:nvPr>
            <p:ph type="body" sz="quarter" idx="1"/>
          </p:nvPr>
        </p:nvSpPr>
        <p:spPr>
          <a:xfrm>
            <a:off x="1778000" y="7073900"/>
            <a:ext cx="20828000" cy="1587500"/>
          </a:xfrm>
          <a:prstGeom prst="rect">
            <a:avLst/>
          </a:prstGeom>
        </p:spPr>
        <p:txBody>
          <a:bodyPr lIns="50800" tIns="50800" rIns="50800" bIns="50800"/>
          <a:lstStyle>
            <a:lvl1pPr marL="0" indent="0" algn="ctr" defTabSz="825500">
              <a:lnSpc>
                <a:spcPct val="100000"/>
              </a:lnSpc>
              <a:spcBef>
                <a:spcPts val="0"/>
              </a:spcBef>
              <a:buClrTx/>
              <a:buSzTx/>
              <a:buNone/>
              <a:defRPr sz="5400">
                <a:solidFill>
                  <a:srgbClr val="000000"/>
                </a:solidFill>
                <a:latin typeface="+mn-lt"/>
                <a:ea typeface="+mn-ea"/>
                <a:cs typeface="+mn-cs"/>
                <a:sym typeface="Helvetica Neue"/>
              </a:defRPr>
            </a:lvl1pPr>
            <a:lvl2pPr marL="0" indent="0" algn="ctr" defTabSz="825500">
              <a:lnSpc>
                <a:spcPct val="100000"/>
              </a:lnSpc>
              <a:spcBef>
                <a:spcPts val="0"/>
              </a:spcBef>
              <a:buClrTx/>
              <a:buSzTx/>
              <a:buNone/>
              <a:defRPr sz="5400">
                <a:solidFill>
                  <a:srgbClr val="000000"/>
                </a:solidFill>
                <a:latin typeface="+mn-lt"/>
                <a:ea typeface="+mn-ea"/>
                <a:cs typeface="+mn-cs"/>
                <a:sym typeface="Helvetica Neue"/>
              </a:defRPr>
            </a:lvl2pPr>
            <a:lvl3pPr marL="0" indent="0" algn="ctr" defTabSz="825500">
              <a:lnSpc>
                <a:spcPct val="100000"/>
              </a:lnSpc>
              <a:spcBef>
                <a:spcPts val="0"/>
              </a:spcBef>
              <a:buClrTx/>
              <a:buSzTx/>
              <a:buNone/>
              <a:defRPr sz="5400">
                <a:solidFill>
                  <a:srgbClr val="000000"/>
                </a:solidFill>
                <a:latin typeface="+mn-lt"/>
                <a:ea typeface="+mn-ea"/>
                <a:cs typeface="+mn-cs"/>
                <a:sym typeface="Helvetica Neue"/>
              </a:defRPr>
            </a:lvl3pPr>
            <a:lvl4pPr marL="0" indent="0" algn="ctr" defTabSz="825500">
              <a:lnSpc>
                <a:spcPct val="100000"/>
              </a:lnSpc>
              <a:spcBef>
                <a:spcPts val="0"/>
              </a:spcBef>
              <a:buClrTx/>
              <a:buSzTx/>
              <a:buNone/>
              <a:defRPr sz="5400">
                <a:solidFill>
                  <a:srgbClr val="000000"/>
                </a:solidFill>
                <a:latin typeface="+mn-lt"/>
                <a:ea typeface="+mn-ea"/>
                <a:cs typeface="+mn-cs"/>
                <a:sym typeface="Helvetica Neue"/>
              </a:defRPr>
            </a:lvl4pPr>
            <a:lvl5pPr marL="0" indent="0" algn="ctr" defTabSz="825500">
              <a:lnSpc>
                <a:spcPct val="100000"/>
              </a:lnSpc>
              <a:spcBef>
                <a:spcPts val="0"/>
              </a:spcBef>
              <a:buClrTx/>
              <a:buSzTx/>
              <a:buNone/>
              <a:defRPr sz="5400">
                <a:solidFill>
                  <a:srgbClr val="000000"/>
                </a:solidFill>
                <a:latin typeface="+mn-lt"/>
                <a:ea typeface="+mn-ea"/>
                <a:cs typeface="+mn-cs"/>
                <a:sym typeface="Helvetica Neue"/>
              </a:defRPr>
            </a:lvl5p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a:p>
        </p:txBody>
      </p:sp>
      <p:sp>
        <p:nvSpPr>
          <p:cNvPr id="21" name="Número de diapositiva"/>
          <p:cNvSpPr txBox="1">
            <a:spLocks noGrp="1"/>
          </p:cNvSpPr>
          <p:nvPr>
            <p:ph type="sldNum" sz="quarter" idx="2"/>
          </p:nvPr>
        </p:nvSpPr>
        <p:spPr>
          <a:xfrm>
            <a:off x="11959031" y="13081000"/>
            <a:ext cx="453239" cy="461059"/>
          </a:xfrm>
          <a:prstGeom prst="rect">
            <a:avLst/>
          </a:prstGeom>
        </p:spPr>
        <p:txBody>
          <a:bodyPr/>
          <a:lstStyle/>
          <a:p>
            <a:fld id="{86CB4B4D-7CA3-9044-876B-883B54F8677D}" type="slidenum">
              <a:rPr/>
              <a:t>‹Nº›</a:t>
            </a:fld>
            <a:endParaRPr dirty="0"/>
          </a:p>
        </p:txBody>
      </p:sp>
      <p:sp>
        <p:nvSpPr>
          <p:cNvPr id="5" name="Marcador de número de diapositiva 5">
            <a:extLst>
              <a:ext uri="{FF2B5EF4-FFF2-40B4-BE49-F238E27FC236}">
                <a16:creationId xmlns:a16="http://schemas.microsoft.com/office/drawing/2014/main" id="{25BF1E81-5EA1-1C4F-B0AC-3F5C39BCB817}"/>
              </a:ext>
            </a:extLst>
          </p:cNvPr>
          <p:cNvSpPr txBox="1">
            <a:spLocks/>
          </p:cNvSpPr>
          <p:nvPr userDrawn="1"/>
        </p:nvSpPr>
        <p:spPr>
          <a:xfrm>
            <a:off x="17461690" y="12419201"/>
            <a:ext cx="5486400" cy="730250"/>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chemeClr val="accent1"/>
                </a:solidFill>
                <a:effectLst/>
                <a:uFillTx/>
                <a:latin typeface="+mj-lt"/>
                <a:ea typeface="+mj-ea"/>
                <a:cs typeface="+mj-cs"/>
                <a:sym typeface="Helvetica"/>
              </a:defRPr>
            </a:lvl1pPr>
            <a:lvl2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2pPr>
            <a:lvl3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3pPr>
            <a:lvl4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4pPr>
            <a:lvl5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5pPr>
            <a:lvl6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6pPr>
            <a:lvl7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7pPr>
            <a:lvl8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8pPr>
            <a:lvl9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9pPr>
          </a:lstStyle>
          <a:p>
            <a:fld id="{BC0D97B6-E32F-4D7D-B839-7C3B51F2640F}" type="slidenum">
              <a:rPr lang="es-ES" smtClean="0">
                <a:solidFill>
                  <a:srgbClr val="EB0000"/>
                </a:solidFill>
              </a:rPr>
              <a:pPr/>
              <a:t>‹Nº›</a:t>
            </a:fld>
            <a:endParaRPr lang="es-ES" dirty="0">
              <a:solidFill>
                <a:srgbClr val="EB0000"/>
              </a:solidFill>
            </a:endParaRPr>
          </a:p>
        </p:txBody>
      </p:sp>
    </p:spTree>
    <p:extLst>
      <p:ext uri="{BB962C8B-B14F-4D97-AF65-F5344CB8AC3E}">
        <p14:creationId xmlns:p14="http://schemas.microsoft.com/office/powerpoint/2010/main" val="1508722837"/>
      </p:ext>
    </p:extLst>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x" preserve="1">
  <p:cSld name="Dark Blank">
    <p:bg>
      <p:bgPr>
        <a:solidFill>
          <a:srgbClr val="1C3549"/>
        </a:solidFill>
        <a:effectLst/>
      </p:bgPr>
    </p:bg>
    <p:spTree>
      <p:nvGrpSpPr>
        <p:cNvPr id="1" name=""/>
        <p:cNvGrpSpPr/>
        <p:nvPr/>
      </p:nvGrpSpPr>
      <p:grpSpPr>
        <a:xfrm>
          <a:off x="0" y="0"/>
          <a:ext cx="0" cy="0"/>
          <a:chOff x="0" y="0"/>
          <a:chExt cx="0" cy="0"/>
        </a:xfrm>
      </p:grpSpPr>
      <p:sp>
        <p:nvSpPr>
          <p:cNvPr id="335" name="Rectangle 14"/>
          <p:cNvSpPr/>
          <p:nvPr/>
        </p:nvSpPr>
        <p:spPr>
          <a:xfrm>
            <a:off x="-4" y="13067833"/>
            <a:ext cx="24384008" cy="648167"/>
          </a:xfrm>
          <a:prstGeom prst="rect">
            <a:avLst/>
          </a:prstGeom>
          <a:solidFill>
            <a:srgbClr val="FFFFFF"/>
          </a:solidFill>
          <a:ln w="12700">
            <a:miter lim="400000"/>
          </a:ln>
        </p:spPr>
        <p:txBody>
          <a:bodyPr lIns="91437" tIns="91437" rIns="91437" bIns="91437" anchor="ctr"/>
          <a:lstStyle/>
          <a:p>
            <a:pPr algn="ctr" eaLnBrk="1" fontAlgn="auto">
              <a:spcBef>
                <a:spcPts val="0"/>
              </a:spcBef>
              <a:spcAft>
                <a:spcPts val="0"/>
              </a:spcAft>
              <a:defRPr>
                <a:solidFill>
                  <a:srgbClr val="FFFFFF"/>
                </a:solidFill>
                <a:latin typeface="+mn-lt"/>
                <a:ea typeface="+mn-ea"/>
                <a:cs typeface="+mn-cs"/>
                <a:sym typeface="Arial"/>
              </a:defRPr>
            </a:pPr>
            <a:endParaRPr sz="3600" kern="0">
              <a:solidFill>
                <a:srgbClr val="FFFFFF"/>
              </a:solidFill>
              <a:latin typeface="Arial"/>
              <a:ea typeface=""/>
              <a:cs typeface="Arial"/>
              <a:sym typeface="Arial"/>
            </a:endParaRPr>
          </a:p>
        </p:txBody>
      </p:sp>
      <p:pic>
        <p:nvPicPr>
          <p:cNvPr id="336" name="ibm_logo_dark blue-01.png" descr="ibm_logo_dark blue-01.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5400000">
            <a:off x="715295" y="12898621"/>
            <a:ext cx="381003" cy="1009722"/>
          </a:xfrm>
          <a:prstGeom prst="rect">
            <a:avLst/>
          </a:prstGeom>
          <a:ln w="12700">
            <a:miter lim="400000"/>
          </a:ln>
        </p:spPr>
      </p:pic>
      <p:sp>
        <p:nvSpPr>
          <p:cNvPr id="337" name="Line"/>
          <p:cNvSpPr/>
          <p:nvPr/>
        </p:nvSpPr>
        <p:spPr>
          <a:xfrm>
            <a:off x="-2" y="13002840"/>
            <a:ext cx="24384007" cy="0"/>
          </a:xfrm>
          <a:prstGeom prst="line">
            <a:avLst/>
          </a:prstGeom>
          <a:ln w="25400">
            <a:solidFill>
              <a:schemeClr val="accent5"/>
            </a:solidFill>
            <a:miter/>
          </a:ln>
        </p:spPr>
        <p:txBody>
          <a:bodyPr lIns="91437" tIns="91437" rIns="91437" bIns="91437"/>
          <a:lstStyle/>
          <a:p>
            <a:pPr eaLnBrk="1" fontAlgn="auto">
              <a:spcBef>
                <a:spcPts val="0"/>
              </a:spcBef>
              <a:spcAft>
                <a:spcPts val="0"/>
              </a:spcAft>
              <a:defRPr/>
            </a:pPr>
            <a:endParaRPr sz="3600" kern="0">
              <a:solidFill>
                <a:srgbClr val="000000"/>
              </a:solidFill>
              <a:latin typeface="Calibri"/>
              <a:ea typeface=""/>
              <a:sym typeface="Calibri"/>
            </a:endParaRPr>
          </a:p>
        </p:txBody>
      </p:sp>
      <p:sp>
        <p:nvSpPr>
          <p:cNvPr id="339" name="Slide title"/>
          <p:cNvSpPr txBox="1">
            <a:spLocks noGrp="1"/>
          </p:cNvSpPr>
          <p:nvPr>
            <p:ph type="body" sz="quarter" idx="13"/>
          </p:nvPr>
        </p:nvSpPr>
        <p:spPr>
          <a:xfrm>
            <a:off x="508002" y="508003"/>
            <a:ext cx="23622002" cy="1071418"/>
          </a:xfrm>
          <a:prstGeom prst="rect">
            <a:avLst/>
          </a:prstGeom>
        </p:spPr>
        <p:txBody>
          <a:bodyPr lIns="45718" tIns="45718" rIns="45718" bIns="45718"/>
          <a:lstStyle>
            <a:lvl1pPr defTabSz="1554511">
              <a:lnSpc>
                <a:spcPct val="90000"/>
              </a:lnSpc>
              <a:defRPr sz="5600" b="1">
                <a:solidFill>
                  <a:schemeClr val="accent2">
                    <a:lumOff val="5588"/>
                  </a:schemeClr>
                </a:solidFill>
              </a:defRPr>
            </a:lvl1pPr>
          </a:lstStyle>
          <a:p>
            <a:r>
              <a:t>Slide title</a:t>
            </a:r>
          </a:p>
        </p:txBody>
      </p:sp>
      <p:sp>
        <p:nvSpPr>
          <p:cNvPr id="8" name="Rectangle 7"/>
          <p:cNvSpPr/>
          <p:nvPr userDrawn="1"/>
        </p:nvSpPr>
        <p:spPr>
          <a:xfrm>
            <a:off x="1473401" y="13245977"/>
            <a:ext cx="6831172" cy="341632"/>
          </a:xfrm>
          <a:prstGeom prst="rect">
            <a:avLst/>
          </a:prstGeom>
        </p:spPr>
        <p:txBody>
          <a:bodyPr wrap="square" anchor="ctr">
            <a:spAutoFit/>
          </a:bodyPr>
          <a:lstStyle/>
          <a:p>
            <a:pPr marL="0" marR="0" indent="0" algn="l" defTabSz="1828837" rtl="0" eaLnBrk="1" fontAlgn="base" latinLnBrk="0" hangingPunct="1">
              <a:lnSpc>
                <a:spcPct val="90000"/>
              </a:lnSpc>
              <a:spcBef>
                <a:spcPct val="0"/>
              </a:spcBef>
              <a:spcAft>
                <a:spcPct val="0"/>
              </a:spcAft>
              <a:buClrTx/>
              <a:buSzTx/>
              <a:buFontTx/>
              <a:buNone/>
              <a:tabLst/>
              <a:defRPr/>
            </a:pPr>
            <a:r>
              <a:rPr lang="en-US" altLang="en-US" sz="1800" b="0" i="0">
                <a:solidFill>
                  <a:schemeClr val="tx1"/>
                </a:solidFill>
                <a:latin typeface="IBM Plex Sans Regular" charset="0"/>
                <a:ea typeface="IBM Plex Sans Regular" charset="0"/>
                <a:cs typeface="IBM Plex Sans Regular" charset="0"/>
              </a:rPr>
              <a:t>© 2018</a:t>
            </a:r>
            <a:r>
              <a:rPr lang="en-US" altLang="en-US" sz="1800" b="0" i="0" baseline="0">
                <a:solidFill>
                  <a:schemeClr val="tx1"/>
                </a:solidFill>
                <a:latin typeface="IBM Plex Sans Regular" charset="0"/>
                <a:ea typeface="IBM Plex Sans Regular" charset="0"/>
                <a:cs typeface="IBM Plex Sans Regular" charset="0"/>
              </a:rPr>
              <a:t>  </a:t>
            </a:r>
            <a:r>
              <a:rPr lang="en-US" altLang="en-US" sz="1800" b="0" i="0">
                <a:solidFill>
                  <a:schemeClr val="tx1"/>
                </a:solidFill>
                <a:latin typeface="IBM Plex Sans Regular" charset="0"/>
                <a:ea typeface="IBM Plex Sans Regular" charset="0"/>
                <a:cs typeface="IBM Plex Sans Regular" charset="0"/>
              </a:rPr>
              <a:t>IBM Corporation – OneCloud</a:t>
            </a:r>
          </a:p>
        </p:txBody>
      </p:sp>
      <p:sp>
        <p:nvSpPr>
          <p:cNvPr id="9" name="Rectangle 6"/>
          <p:cNvSpPr>
            <a:spLocks noChangeArrowheads="1"/>
          </p:cNvSpPr>
          <p:nvPr userDrawn="1"/>
        </p:nvSpPr>
        <p:spPr bwMode="auto">
          <a:xfrm>
            <a:off x="23071017" y="13065502"/>
            <a:ext cx="1302820" cy="6035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77" tIns="91438" rIns="182877" bIns="91438" anchor="ctr"/>
          <a:lstStyle>
            <a:lvl1pPr eaLnBrk="0" hangingPunct="0">
              <a:defRPr baseline="-25000">
                <a:solidFill>
                  <a:schemeClr val="tx1"/>
                </a:solidFill>
                <a:latin typeface="Arial" panose="020B0604020202020204" pitchFamily="34" charset="0"/>
                <a:ea typeface="MS PGothic" panose="020B0600070205080204" pitchFamily="34" charset="-128"/>
              </a:defRPr>
            </a:lvl1pPr>
            <a:lvl2pPr marL="742950" indent="-285750" eaLnBrk="0" hangingPunct="0">
              <a:defRPr baseline="-25000">
                <a:solidFill>
                  <a:schemeClr val="tx1"/>
                </a:solidFill>
                <a:latin typeface="Arial" panose="020B0604020202020204" pitchFamily="34" charset="0"/>
                <a:ea typeface="MS PGothic" panose="020B0600070205080204" pitchFamily="34" charset="-128"/>
              </a:defRPr>
            </a:lvl2pPr>
            <a:lvl3pPr marL="1143000" indent="-228600" eaLnBrk="0" hangingPunct="0">
              <a:defRPr baseline="-25000">
                <a:solidFill>
                  <a:schemeClr val="tx1"/>
                </a:solidFill>
                <a:latin typeface="Arial" panose="020B0604020202020204" pitchFamily="34" charset="0"/>
                <a:ea typeface="MS PGothic" panose="020B0600070205080204" pitchFamily="34" charset="-128"/>
              </a:defRPr>
            </a:lvl3pPr>
            <a:lvl4pPr marL="1600200" indent="-228600" eaLnBrk="0" hangingPunct="0">
              <a:defRPr baseline="-25000">
                <a:solidFill>
                  <a:schemeClr val="tx1"/>
                </a:solidFill>
                <a:latin typeface="Arial" panose="020B0604020202020204" pitchFamily="34" charset="0"/>
                <a:ea typeface="MS PGothic" panose="020B0600070205080204" pitchFamily="34" charset="-128"/>
              </a:defRPr>
            </a:lvl4pPr>
            <a:lvl5pPr marL="2057400" indent="-228600" eaLnBrk="0" hangingPunct="0">
              <a:defRPr baseline="-25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9pPr>
          </a:lstStyle>
          <a:p>
            <a:pPr algn="ctr" eaLnBrk="1" hangingPunct="1">
              <a:defRPr/>
            </a:pPr>
            <a:fld id="{8995AC45-5A92-44C2-B9A7-BA7BB3D600ED}" type="slidenum">
              <a:rPr lang="en-US" altLang="en-US" sz="2000" b="0" i="0" baseline="0" smtClean="0">
                <a:solidFill>
                  <a:schemeClr val="tx1"/>
                </a:solidFill>
                <a:latin typeface="IBM Plex Sans Regular" charset="0"/>
                <a:ea typeface="IBM Plex Sans Regular" charset="0"/>
                <a:cs typeface="+mn-cs"/>
              </a:rPr>
              <a:pPr algn="ctr" eaLnBrk="1" hangingPunct="1">
                <a:defRPr/>
              </a:pPr>
              <a:t>‹Nº›</a:t>
            </a:fld>
            <a:endParaRPr lang="en-US" altLang="en-US" sz="2000" b="0" i="0" baseline="0">
              <a:solidFill>
                <a:schemeClr val="tx1"/>
              </a:solidFill>
              <a:latin typeface="IBM Plex Sans Regular" charset="0"/>
              <a:ea typeface="IBM Plex Sans Regular" charset="0"/>
              <a:cs typeface="+mn-cs"/>
            </a:endParaRPr>
          </a:p>
        </p:txBody>
      </p:sp>
      <p:sp>
        <p:nvSpPr>
          <p:cNvPr id="10" name="TextBox 9">
            <a:extLst>
              <a:ext uri="{FF2B5EF4-FFF2-40B4-BE49-F238E27FC236}">
                <a16:creationId xmlns:a16="http://schemas.microsoft.com/office/drawing/2014/main" id="{A4C3A2F7-E918-C348-A741-E7D447124557}"/>
              </a:ext>
            </a:extLst>
          </p:cNvPr>
          <p:cNvSpPr txBox="1"/>
          <p:nvPr userDrawn="1"/>
        </p:nvSpPr>
        <p:spPr>
          <a:xfrm>
            <a:off x="10198757" y="13140965"/>
            <a:ext cx="3355340" cy="512027"/>
          </a:xfrm>
          <a:prstGeom prst="roundRect">
            <a:avLst/>
          </a:prstGeom>
          <a:solidFill>
            <a:srgbClr val="0070C0"/>
          </a:solidFill>
        </p:spPr>
        <p:style>
          <a:lnRef idx="0">
            <a:schemeClr val="accent5"/>
          </a:lnRef>
          <a:fillRef idx="3">
            <a:schemeClr val="accent5"/>
          </a:fillRef>
          <a:effectRef idx="3">
            <a:schemeClr val="accent5"/>
          </a:effectRef>
          <a:fontRef idx="minor">
            <a:schemeClr val="lt1"/>
          </a:fontRef>
        </p:style>
        <p:txBody>
          <a:bodyPr wrap="square" rtlCol="0" anchor="ctr">
            <a:noAutofit/>
          </a:bodyPr>
          <a:lstStyle/>
          <a:p>
            <a:pPr algn="ctr"/>
            <a:r>
              <a:rPr lang="en-GB" sz="2400" b="1" baseline="0">
                <a:solidFill>
                  <a:schemeClr val="bg1"/>
                </a:solidFill>
                <a:hlinkClick r:id="rId3" action="ppaction://hlinksldjump"/>
              </a:rPr>
              <a:t>Back to Contents</a:t>
            </a:r>
            <a:endParaRPr lang="en-GB" sz="2400" b="1" baseline="0">
              <a:solidFill>
                <a:schemeClr val="bg1"/>
              </a:solidFill>
            </a:endParaRPr>
          </a:p>
        </p:txBody>
      </p:sp>
    </p:spTree>
    <p:extLst>
      <p:ext uri="{BB962C8B-B14F-4D97-AF65-F5344CB8AC3E}">
        <p14:creationId xmlns:p14="http://schemas.microsoft.com/office/powerpoint/2010/main" val="538499987"/>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x" preserve="1">
  <p:cSld name="2_Dark Blank">
    <p:bg>
      <p:bgPr>
        <a:solidFill>
          <a:srgbClr val="1C3549"/>
        </a:solidFill>
        <a:effectLst/>
      </p:bgPr>
    </p:bg>
    <p:spTree>
      <p:nvGrpSpPr>
        <p:cNvPr id="1" name=""/>
        <p:cNvGrpSpPr/>
        <p:nvPr/>
      </p:nvGrpSpPr>
      <p:grpSpPr>
        <a:xfrm>
          <a:off x="0" y="0"/>
          <a:ext cx="0" cy="0"/>
          <a:chOff x="0" y="0"/>
          <a:chExt cx="0" cy="0"/>
        </a:xfrm>
      </p:grpSpPr>
      <p:sp>
        <p:nvSpPr>
          <p:cNvPr id="335" name="Rectangle 14"/>
          <p:cNvSpPr/>
          <p:nvPr/>
        </p:nvSpPr>
        <p:spPr>
          <a:xfrm>
            <a:off x="-4" y="13067833"/>
            <a:ext cx="24384008" cy="648167"/>
          </a:xfrm>
          <a:prstGeom prst="rect">
            <a:avLst/>
          </a:prstGeom>
          <a:solidFill>
            <a:srgbClr val="FFFFFF"/>
          </a:solidFill>
          <a:ln w="12700">
            <a:miter lim="400000"/>
          </a:ln>
        </p:spPr>
        <p:txBody>
          <a:bodyPr lIns="91437" tIns="91437" rIns="91437" bIns="91437" anchor="ctr"/>
          <a:lstStyle/>
          <a:p>
            <a:pPr algn="ctr" eaLnBrk="1" fontAlgn="auto">
              <a:spcBef>
                <a:spcPts val="0"/>
              </a:spcBef>
              <a:spcAft>
                <a:spcPts val="0"/>
              </a:spcAft>
              <a:defRPr>
                <a:solidFill>
                  <a:srgbClr val="FFFFFF"/>
                </a:solidFill>
                <a:latin typeface="+mn-lt"/>
                <a:ea typeface="+mn-ea"/>
                <a:cs typeface="+mn-cs"/>
                <a:sym typeface="Arial"/>
              </a:defRPr>
            </a:pPr>
            <a:endParaRPr sz="3600" kern="0">
              <a:solidFill>
                <a:srgbClr val="FFFFFF"/>
              </a:solidFill>
              <a:latin typeface="Arial"/>
              <a:ea typeface=""/>
              <a:cs typeface="Arial"/>
              <a:sym typeface="Arial"/>
            </a:endParaRPr>
          </a:p>
        </p:txBody>
      </p:sp>
      <p:pic>
        <p:nvPicPr>
          <p:cNvPr id="336" name="ibm_logo_dark blue-01.png" descr="ibm_logo_dark blue-01.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5400000">
            <a:off x="715295" y="12898621"/>
            <a:ext cx="381003" cy="1009722"/>
          </a:xfrm>
          <a:prstGeom prst="rect">
            <a:avLst/>
          </a:prstGeom>
          <a:ln w="12700">
            <a:miter lim="400000"/>
          </a:ln>
        </p:spPr>
      </p:pic>
      <p:sp>
        <p:nvSpPr>
          <p:cNvPr id="337" name="Line"/>
          <p:cNvSpPr/>
          <p:nvPr/>
        </p:nvSpPr>
        <p:spPr>
          <a:xfrm>
            <a:off x="-2" y="13002840"/>
            <a:ext cx="24384007" cy="0"/>
          </a:xfrm>
          <a:prstGeom prst="line">
            <a:avLst/>
          </a:prstGeom>
          <a:ln w="25400">
            <a:solidFill>
              <a:schemeClr val="accent5"/>
            </a:solidFill>
            <a:miter/>
          </a:ln>
        </p:spPr>
        <p:txBody>
          <a:bodyPr lIns="91437" tIns="91437" rIns="91437" bIns="91437"/>
          <a:lstStyle/>
          <a:p>
            <a:pPr eaLnBrk="1" fontAlgn="auto">
              <a:spcBef>
                <a:spcPts val="0"/>
              </a:spcBef>
              <a:spcAft>
                <a:spcPts val="0"/>
              </a:spcAft>
              <a:defRPr/>
            </a:pPr>
            <a:endParaRPr sz="3600" kern="0">
              <a:solidFill>
                <a:srgbClr val="000000"/>
              </a:solidFill>
              <a:latin typeface="Calibri"/>
              <a:ea typeface=""/>
              <a:sym typeface="Calibri"/>
            </a:endParaRPr>
          </a:p>
        </p:txBody>
      </p:sp>
      <p:sp>
        <p:nvSpPr>
          <p:cNvPr id="339" name="Slide title"/>
          <p:cNvSpPr txBox="1">
            <a:spLocks noGrp="1"/>
          </p:cNvSpPr>
          <p:nvPr>
            <p:ph type="body" sz="quarter" idx="13"/>
          </p:nvPr>
        </p:nvSpPr>
        <p:spPr>
          <a:xfrm>
            <a:off x="773452" y="4767486"/>
            <a:ext cx="9326657" cy="1071418"/>
          </a:xfrm>
          <a:prstGeom prst="rect">
            <a:avLst/>
          </a:prstGeom>
        </p:spPr>
        <p:txBody>
          <a:bodyPr lIns="45718" tIns="45718" rIns="45718" bIns="45718"/>
          <a:lstStyle>
            <a:lvl1pPr defTabSz="1554511">
              <a:lnSpc>
                <a:spcPct val="90000"/>
              </a:lnSpc>
              <a:defRPr sz="5600" b="1">
                <a:solidFill>
                  <a:schemeClr val="accent2">
                    <a:lumOff val="5588"/>
                  </a:schemeClr>
                </a:solidFill>
              </a:defRPr>
            </a:lvl1pPr>
          </a:lstStyle>
          <a:p>
            <a:r>
              <a:t>Slide title</a:t>
            </a:r>
          </a:p>
        </p:txBody>
      </p:sp>
      <p:sp>
        <p:nvSpPr>
          <p:cNvPr id="8" name="Rectangle 7"/>
          <p:cNvSpPr/>
          <p:nvPr userDrawn="1"/>
        </p:nvSpPr>
        <p:spPr>
          <a:xfrm>
            <a:off x="1473401" y="13245977"/>
            <a:ext cx="6831172" cy="341632"/>
          </a:xfrm>
          <a:prstGeom prst="rect">
            <a:avLst/>
          </a:prstGeom>
        </p:spPr>
        <p:txBody>
          <a:bodyPr wrap="square" anchor="ctr">
            <a:spAutoFit/>
          </a:bodyPr>
          <a:lstStyle/>
          <a:p>
            <a:pPr marL="0" marR="0" indent="0" algn="l" defTabSz="1828837" rtl="0" eaLnBrk="1" fontAlgn="base" latinLnBrk="0" hangingPunct="1">
              <a:lnSpc>
                <a:spcPct val="90000"/>
              </a:lnSpc>
              <a:spcBef>
                <a:spcPct val="0"/>
              </a:spcBef>
              <a:spcAft>
                <a:spcPct val="0"/>
              </a:spcAft>
              <a:buClrTx/>
              <a:buSzTx/>
              <a:buFontTx/>
              <a:buNone/>
              <a:tabLst/>
              <a:defRPr/>
            </a:pPr>
            <a:r>
              <a:rPr lang="en-US" altLang="en-US" sz="1800" b="0" i="0">
                <a:solidFill>
                  <a:schemeClr val="tx1"/>
                </a:solidFill>
                <a:latin typeface="IBM Plex Sans Regular" charset="0"/>
                <a:ea typeface="IBM Plex Sans Regular" charset="0"/>
                <a:cs typeface="IBM Plex Sans Regular" charset="0"/>
              </a:rPr>
              <a:t>© 2018</a:t>
            </a:r>
            <a:r>
              <a:rPr lang="en-US" altLang="en-US" sz="1800" b="0" i="0" baseline="0">
                <a:solidFill>
                  <a:schemeClr val="tx1"/>
                </a:solidFill>
                <a:latin typeface="IBM Plex Sans Regular" charset="0"/>
                <a:ea typeface="IBM Plex Sans Regular" charset="0"/>
                <a:cs typeface="IBM Plex Sans Regular" charset="0"/>
              </a:rPr>
              <a:t>  </a:t>
            </a:r>
            <a:r>
              <a:rPr lang="en-US" altLang="en-US" sz="1800" b="0" i="0">
                <a:solidFill>
                  <a:schemeClr val="tx1"/>
                </a:solidFill>
                <a:latin typeface="IBM Plex Sans Regular" charset="0"/>
                <a:ea typeface="IBM Plex Sans Regular" charset="0"/>
                <a:cs typeface="IBM Plex Sans Regular" charset="0"/>
              </a:rPr>
              <a:t>IBM Corporation – OneCloud</a:t>
            </a:r>
          </a:p>
        </p:txBody>
      </p:sp>
      <p:sp>
        <p:nvSpPr>
          <p:cNvPr id="9" name="Rectangle 6"/>
          <p:cNvSpPr>
            <a:spLocks noChangeArrowheads="1"/>
          </p:cNvSpPr>
          <p:nvPr userDrawn="1"/>
        </p:nvSpPr>
        <p:spPr bwMode="auto">
          <a:xfrm>
            <a:off x="23071017" y="13065502"/>
            <a:ext cx="1302820" cy="6035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77" tIns="91438" rIns="182877" bIns="91438" anchor="ctr"/>
          <a:lstStyle>
            <a:lvl1pPr eaLnBrk="0" hangingPunct="0">
              <a:defRPr baseline="-25000">
                <a:solidFill>
                  <a:schemeClr val="tx1"/>
                </a:solidFill>
                <a:latin typeface="Arial" panose="020B0604020202020204" pitchFamily="34" charset="0"/>
                <a:ea typeface="MS PGothic" panose="020B0600070205080204" pitchFamily="34" charset="-128"/>
              </a:defRPr>
            </a:lvl1pPr>
            <a:lvl2pPr marL="742950" indent="-285750" eaLnBrk="0" hangingPunct="0">
              <a:defRPr baseline="-25000">
                <a:solidFill>
                  <a:schemeClr val="tx1"/>
                </a:solidFill>
                <a:latin typeface="Arial" panose="020B0604020202020204" pitchFamily="34" charset="0"/>
                <a:ea typeface="MS PGothic" panose="020B0600070205080204" pitchFamily="34" charset="-128"/>
              </a:defRPr>
            </a:lvl2pPr>
            <a:lvl3pPr marL="1143000" indent="-228600" eaLnBrk="0" hangingPunct="0">
              <a:defRPr baseline="-25000">
                <a:solidFill>
                  <a:schemeClr val="tx1"/>
                </a:solidFill>
                <a:latin typeface="Arial" panose="020B0604020202020204" pitchFamily="34" charset="0"/>
                <a:ea typeface="MS PGothic" panose="020B0600070205080204" pitchFamily="34" charset="-128"/>
              </a:defRPr>
            </a:lvl3pPr>
            <a:lvl4pPr marL="1600200" indent="-228600" eaLnBrk="0" hangingPunct="0">
              <a:defRPr baseline="-25000">
                <a:solidFill>
                  <a:schemeClr val="tx1"/>
                </a:solidFill>
                <a:latin typeface="Arial" panose="020B0604020202020204" pitchFamily="34" charset="0"/>
                <a:ea typeface="MS PGothic" panose="020B0600070205080204" pitchFamily="34" charset="-128"/>
              </a:defRPr>
            </a:lvl4pPr>
            <a:lvl5pPr marL="2057400" indent="-228600" eaLnBrk="0" hangingPunct="0">
              <a:defRPr baseline="-25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9pPr>
          </a:lstStyle>
          <a:p>
            <a:pPr algn="ctr" eaLnBrk="1" hangingPunct="1">
              <a:defRPr/>
            </a:pPr>
            <a:fld id="{8995AC45-5A92-44C2-B9A7-BA7BB3D600ED}" type="slidenum">
              <a:rPr lang="en-US" altLang="en-US" sz="2000" b="0" i="0" baseline="0" smtClean="0">
                <a:solidFill>
                  <a:schemeClr val="tx1"/>
                </a:solidFill>
                <a:latin typeface="IBM Plex Sans Regular" charset="0"/>
                <a:ea typeface="IBM Plex Sans Regular" charset="0"/>
                <a:cs typeface="+mn-cs"/>
              </a:rPr>
              <a:pPr algn="ctr" eaLnBrk="1" hangingPunct="1">
                <a:defRPr/>
              </a:pPr>
              <a:t>‹Nº›</a:t>
            </a:fld>
            <a:endParaRPr lang="en-US" altLang="en-US" sz="2000" b="0" i="0" baseline="0">
              <a:solidFill>
                <a:schemeClr val="tx1"/>
              </a:solidFill>
              <a:latin typeface="IBM Plex Sans Regular" charset="0"/>
              <a:ea typeface="IBM Plex Sans Regular" charset="0"/>
              <a:cs typeface="+mn-cs"/>
            </a:endParaRPr>
          </a:p>
        </p:txBody>
      </p:sp>
      <p:sp>
        <p:nvSpPr>
          <p:cNvPr id="10" name="TextBox 9">
            <a:extLst>
              <a:ext uri="{FF2B5EF4-FFF2-40B4-BE49-F238E27FC236}">
                <a16:creationId xmlns:a16="http://schemas.microsoft.com/office/drawing/2014/main" id="{A4C3A2F7-E918-C348-A741-E7D447124557}"/>
              </a:ext>
            </a:extLst>
          </p:cNvPr>
          <p:cNvSpPr txBox="1"/>
          <p:nvPr userDrawn="1"/>
        </p:nvSpPr>
        <p:spPr>
          <a:xfrm>
            <a:off x="10198757" y="13140965"/>
            <a:ext cx="3355340" cy="512027"/>
          </a:xfrm>
          <a:prstGeom prst="roundRect">
            <a:avLst/>
          </a:prstGeom>
          <a:solidFill>
            <a:srgbClr val="0070C0"/>
          </a:solidFill>
        </p:spPr>
        <p:style>
          <a:lnRef idx="0">
            <a:schemeClr val="accent5"/>
          </a:lnRef>
          <a:fillRef idx="3">
            <a:schemeClr val="accent5"/>
          </a:fillRef>
          <a:effectRef idx="3">
            <a:schemeClr val="accent5"/>
          </a:effectRef>
          <a:fontRef idx="minor">
            <a:schemeClr val="lt1"/>
          </a:fontRef>
        </p:style>
        <p:txBody>
          <a:bodyPr wrap="square" rtlCol="0" anchor="ctr">
            <a:noAutofit/>
          </a:bodyPr>
          <a:lstStyle/>
          <a:p>
            <a:pPr algn="ctr"/>
            <a:r>
              <a:rPr lang="en-GB" sz="2400" b="1" baseline="0">
                <a:solidFill>
                  <a:schemeClr val="bg1"/>
                </a:solidFill>
                <a:hlinkClick r:id="rId3" action="ppaction://hlinksldjump"/>
              </a:rPr>
              <a:t>Back to Contents</a:t>
            </a:r>
            <a:endParaRPr lang="en-GB" sz="2400" b="1" baseline="0">
              <a:solidFill>
                <a:schemeClr val="bg1"/>
              </a:solidFill>
            </a:endParaRPr>
          </a:p>
        </p:txBody>
      </p:sp>
    </p:spTree>
    <p:extLst>
      <p:ext uri="{BB962C8B-B14F-4D97-AF65-F5344CB8AC3E}">
        <p14:creationId xmlns:p14="http://schemas.microsoft.com/office/powerpoint/2010/main" val="3599521728"/>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x" preserve="1">
  <p:cSld name="1_Dark Blank">
    <p:bg>
      <p:bgPr>
        <a:solidFill>
          <a:srgbClr val="1C3549"/>
        </a:solidFill>
        <a:effectLst/>
      </p:bgPr>
    </p:bg>
    <p:spTree>
      <p:nvGrpSpPr>
        <p:cNvPr id="1" name=""/>
        <p:cNvGrpSpPr/>
        <p:nvPr/>
      </p:nvGrpSpPr>
      <p:grpSpPr>
        <a:xfrm>
          <a:off x="0" y="0"/>
          <a:ext cx="0" cy="0"/>
          <a:chOff x="0" y="0"/>
          <a:chExt cx="0" cy="0"/>
        </a:xfrm>
      </p:grpSpPr>
      <p:sp>
        <p:nvSpPr>
          <p:cNvPr id="335" name="Rectangle 14"/>
          <p:cNvSpPr/>
          <p:nvPr/>
        </p:nvSpPr>
        <p:spPr>
          <a:xfrm>
            <a:off x="-4" y="12827000"/>
            <a:ext cx="24384008" cy="889000"/>
          </a:xfrm>
          <a:prstGeom prst="rect">
            <a:avLst/>
          </a:prstGeom>
          <a:solidFill>
            <a:srgbClr val="FFFFFF"/>
          </a:solidFill>
          <a:ln w="12700">
            <a:miter lim="400000"/>
          </a:ln>
        </p:spPr>
        <p:txBody>
          <a:bodyPr lIns="91437" tIns="91437" rIns="91437" bIns="91437" anchor="ctr"/>
          <a:lstStyle/>
          <a:p>
            <a:pPr algn="ctr" eaLnBrk="1" fontAlgn="auto">
              <a:spcBef>
                <a:spcPts val="0"/>
              </a:spcBef>
              <a:spcAft>
                <a:spcPts val="0"/>
              </a:spcAft>
              <a:defRPr>
                <a:solidFill>
                  <a:srgbClr val="FFFFFF"/>
                </a:solidFill>
                <a:latin typeface="+mn-lt"/>
                <a:ea typeface="+mn-ea"/>
                <a:cs typeface="+mn-cs"/>
                <a:sym typeface="Arial"/>
              </a:defRPr>
            </a:pPr>
            <a:endParaRPr sz="3600" kern="0">
              <a:solidFill>
                <a:srgbClr val="FFFFFF"/>
              </a:solidFill>
              <a:latin typeface="Arial"/>
              <a:ea typeface=""/>
              <a:cs typeface="Arial"/>
              <a:sym typeface="Arial"/>
            </a:endParaRPr>
          </a:p>
        </p:txBody>
      </p:sp>
      <p:pic>
        <p:nvPicPr>
          <p:cNvPr id="336" name="ibm_logo_dark blue-01.png" descr="ibm_logo_dark blue-01.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5400000">
            <a:off x="715295" y="12766642"/>
            <a:ext cx="381003" cy="1009722"/>
          </a:xfrm>
          <a:prstGeom prst="rect">
            <a:avLst/>
          </a:prstGeom>
          <a:ln w="12700">
            <a:miter lim="400000"/>
          </a:ln>
        </p:spPr>
      </p:pic>
      <p:sp>
        <p:nvSpPr>
          <p:cNvPr id="337" name="Line"/>
          <p:cNvSpPr/>
          <p:nvPr/>
        </p:nvSpPr>
        <p:spPr>
          <a:xfrm>
            <a:off x="-2" y="12814300"/>
            <a:ext cx="24384007" cy="0"/>
          </a:xfrm>
          <a:prstGeom prst="line">
            <a:avLst/>
          </a:prstGeom>
          <a:ln w="25400">
            <a:solidFill>
              <a:schemeClr val="accent5"/>
            </a:solidFill>
            <a:miter/>
          </a:ln>
        </p:spPr>
        <p:txBody>
          <a:bodyPr lIns="91437" tIns="91437" rIns="91437" bIns="91437"/>
          <a:lstStyle/>
          <a:p>
            <a:pPr eaLnBrk="1" fontAlgn="auto">
              <a:spcBef>
                <a:spcPts val="0"/>
              </a:spcBef>
              <a:spcAft>
                <a:spcPts val="0"/>
              </a:spcAft>
              <a:defRPr/>
            </a:pPr>
            <a:endParaRPr sz="3600" kern="0">
              <a:solidFill>
                <a:srgbClr val="000000"/>
              </a:solidFill>
              <a:latin typeface="Calibri"/>
              <a:ea typeface=""/>
              <a:sym typeface="Calibri"/>
            </a:endParaRPr>
          </a:p>
        </p:txBody>
      </p:sp>
      <p:sp>
        <p:nvSpPr>
          <p:cNvPr id="339" name="Slide title"/>
          <p:cNvSpPr txBox="1">
            <a:spLocks noGrp="1"/>
          </p:cNvSpPr>
          <p:nvPr>
            <p:ph type="body" sz="quarter" idx="13"/>
          </p:nvPr>
        </p:nvSpPr>
        <p:spPr>
          <a:xfrm>
            <a:off x="508002" y="5502034"/>
            <a:ext cx="23622002" cy="1071418"/>
          </a:xfrm>
          <a:prstGeom prst="rect">
            <a:avLst/>
          </a:prstGeom>
        </p:spPr>
        <p:txBody>
          <a:bodyPr lIns="45718" tIns="45718" rIns="45718" bIns="45718"/>
          <a:lstStyle>
            <a:lvl1pPr defTabSz="1554511">
              <a:lnSpc>
                <a:spcPct val="90000"/>
              </a:lnSpc>
              <a:defRPr sz="5600" b="1">
                <a:solidFill>
                  <a:schemeClr val="accent2">
                    <a:lumOff val="5588"/>
                  </a:schemeClr>
                </a:solidFill>
              </a:defRPr>
            </a:lvl1pPr>
          </a:lstStyle>
          <a:p>
            <a:r>
              <a:t>Slide title</a:t>
            </a:r>
          </a:p>
        </p:txBody>
      </p:sp>
      <p:sp>
        <p:nvSpPr>
          <p:cNvPr id="8" name="Rectangle 7"/>
          <p:cNvSpPr/>
          <p:nvPr userDrawn="1"/>
        </p:nvSpPr>
        <p:spPr>
          <a:xfrm>
            <a:off x="1473401" y="13113999"/>
            <a:ext cx="6831172" cy="341632"/>
          </a:xfrm>
          <a:prstGeom prst="rect">
            <a:avLst/>
          </a:prstGeom>
        </p:spPr>
        <p:txBody>
          <a:bodyPr wrap="square" anchor="ctr">
            <a:spAutoFit/>
          </a:bodyPr>
          <a:lstStyle/>
          <a:p>
            <a:pPr marL="0" marR="0" indent="0" algn="l" defTabSz="1828837" rtl="0" eaLnBrk="1" fontAlgn="base" latinLnBrk="0" hangingPunct="1">
              <a:lnSpc>
                <a:spcPct val="90000"/>
              </a:lnSpc>
              <a:spcBef>
                <a:spcPct val="0"/>
              </a:spcBef>
              <a:spcAft>
                <a:spcPct val="0"/>
              </a:spcAft>
              <a:buClrTx/>
              <a:buSzTx/>
              <a:buFontTx/>
              <a:buNone/>
              <a:tabLst/>
              <a:defRPr/>
            </a:pPr>
            <a:r>
              <a:rPr lang="en-US" altLang="en-US" sz="1800" b="0" i="0">
                <a:solidFill>
                  <a:schemeClr val="tx1"/>
                </a:solidFill>
                <a:latin typeface="IBM Plex Sans Regular" charset="0"/>
                <a:ea typeface="IBM Plex Sans Regular" charset="0"/>
                <a:cs typeface="IBM Plex Sans Regular" charset="0"/>
              </a:rPr>
              <a:t>© 2018</a:t>
            </a:r>
            <a:r>
              <a:rPr lang="en-US" altLang="en-US" sz="1800" b="0" i="0" baseline="0">
                <a:solidFill>
                  <a:schemeClr val="tx1"/>
                </a:solidFill>
                <a:latin typeface="IBM Plex Sans Regular" charset="0"/>
                <a:ea typeface="IBM Plex Sans Regular" charset="0"/>
                <a:cs typeface="IBM Plex Sans Regular" charset="0"/>
              </a:rPr>
              <a:t>  </a:t>
            </a:r>
            <a:r>
              <a:rPr lang="en-US" altLang="en-US" sz="1800" b="0" i="0">
                <a:solidFill>
                  <a:schemeClr val="tx1"/>
                </a:solidFill>
                <a:latin typeface="IBM Plex Sans Regular" charset="0"/>
                <a:ea typeface="IBM Plex Sans Regular" charset="0"/>
                <a:cs typeface="IBM Plex Sans Regular" charset="0"/>
              </a:rPr>
              <a:t>IBM Corporation</a:t>
            </a:r>
          </a:p>
        </p:txBody>
      </p:sp>
      <p:sp>
        <p:nvSpPr>
          <p:cNvPr id="9" name="Rectangle 6"/>
          <p:cNvSpPr>
            <a:spLocks noChangeArrowheads="1"/>
          </p:cNvSpPr>
          <p:nvPr userDrawn="1"/>
        </p:nvSpPr>
        <p:spPr bwMode="auto">
          <a:xfrm>
            <a:off x="23071017" y="12914668"/>
            <a:ext cx="1302820" cy="6035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77" tIns="91438" rIns="182877" bIns="91438" anchor="ctr"/>
          <a:lstStyle>
            <a:lvl1pPr eaLnBrk="0" hangingPunct="0">
              <a:defRPr baseline="-25000">
                <a:solidFill>
                  <a:schemeClr val="tx1"/>
                </a:solidFill>
                <a:latin typeface="Arial" panose="020B0604020202020204" pitchFamily="34" charset="0"/>
                <a:ea typeface="MS PGothic" panose="020B0600070205080204" pitchFamily="34" charset="-128"/>
              </a:defRPr>
            </a:lvl1pPr>
            <a:lvl2pPr marL="742950" indent="-285750" eaLnBrk="0" hangingPunct="0">
              <a:defRPr baseline="-25000">
                <a:solidFill>
                  <a:schemeClr val="tx1"/>
                </a:solidFill>
                <a:latin typeface="Arial" panose="020B0604020202020204" pitchFamily="34" charset="0"/>
                <a:ea typeface="MS PGothic" panose="020B0600070205080204" pitchFamily="34" charset="-128"/>
              </a:defRPr>
            </a:lvl2pPr>
            <a:lvl3pPr marL="1143000" indent="-228600" eaLnBrk="0" hangingPunct="0">
              <a:defRPr baseline="-25000">
                <a:solidFill>
                  <a:schemeClr val="tx1"/>
                </a:solidFill>
                <a:latin typeface="Arial" panose="020B0604020202020204" pitchFamily="34" charset="0"/>
                <a:ea typeface="MS PGothic" panose="020B0600070205080204" pitchFamily="34" charset="-128"/>
              </a:defRPr>
            </a:lvl3pPr>
            <a:lvl4pPr marL="1600200" indent="-228600" eaLnBrk="0" hangingPunct="0">
              <a:defRPr baseline="-25000">
                <a:solidFill>
                  <a:schemeClr val="tx1"/>
                </a:solidFill>
                <a:latin typeface="Arial" panose="020B0604020202020204" pitchFamily="34" charset="0"/>
                <a:ea typeface="MS PGothic" panose="020B0600070205080204" pitchFamily="34" charset="-128"/>
              </a:defRPr>
            </a:lvl4pPr>
            <a:lvl5pPr marL="2057400" indent="-228600" eaLnBrk="0" hangingPunct="0">
              <a:defRPr baseline="-25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9pPr>
          </a:lstStyle>
          <a:p>
            <a:pPr algn="ctr" eaLnBrk="1" hangingPunct="1">
              <a:defRPr/>
            </a:pPr>
            <a:fld id="{8995AC45-5A92-44C2-B9A7-BA7BB3D600ED}" type="slidenum">
              <a:rPr lang="en-US" altLang="en-US" sz="2000" b="0" i="0" baseline="0" smtClean="0">
                <a:solidFill>
                  <a:schemeClr val="tx1"/>
                </a:solidFill>
                <a:latin typeface="IBM Plex Sans Regular" charset="0"/>
                <a:ea typeface="IBM Plex Sans Regular" charset="0"/>
                <a:cs typeface="+mn-cs"/>
              </a:rPr>
              <a:pPr algn="ctr" eaLnBrk="1" hangingPunct="1">
                <a:defRPr/>
              </a:pPr>
              <a:t>‹Nº›</a:t>
            </a:fld>
            <a:endParaRPr lang="en-US" altLang="en-US" sz="2000" b="0" i="0" baseline="0">
              <a:solidFill>
                <a:schemeClr val="tx1"/>
              </a:solidFill>
              <a:latin typeface="IBM Plex Sans Regular" charset="0"/>
              <a:ea typeface="IBM Plex Sans Regular" charset="0"/>
              <a:cs typeface="+mn-cs"/>
            </a:endParaRPr>
          </a:p>
        </p:txBody>
      </p:sp>
    </p:spTree>
    <p:extLst>
      <p:ext uri="{BB962C8B-B14F-4D97-AF65-F5344CB8AC3E}">
        <p14:creationId xmlns:p14="http://schemas.microsoft.com/office/powerpoint/2010/main" val="2848287287"/>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x" preserve="1">
  <p:cSld name="White">
    <p:spTree>
      <p:nvGrpSpPr>
        <p:cNvPr id="1" name=""/>
        <p:cNvGrpSpPr/>
        <p:nvPr/>
      </p:nvGrpSpPr>
      <p:grpSpPr>
        <a:xfrm>
          <a:off x="0" y="0"/>
          <a:ext cx="0" cy="0"/>
          <a:chOff x="0" y="0"/>
          <a:chExt cx="0" cy="0"/>
        </a:xfrm>
      </p:grpSpPr>
      <p:sp>
        <p:nvSpPr>
          <p:cNvPr id="335" name="Rectangle 14"/>
          <p:cNvSpPr/>
          <p:nvPr/>
        </p:nvSpPr>
        <p:spPr>
          <a:xfrm>
            <a:off x="-4" y="12827000"/>
            <a:ext cx="24384008" cy="889000"/>
          </a:xfrm>
          <a:prstGeom prst="rect">
            <a:avLst/>
          </a:prstGeom>
          <a:solidFill>
            <a:srgbClr val="FFFFFF"/>
          </a:solidFill>
          <a:ln w="12700">
            <a:miter lim="400000"/>
          </a:ln>
        </p:spPr>
        <p:txBody>
          <a:bodyPr lIns="91437" tIns="91437" rIns="91437" bIns="91437" anchor="ctr"/>
          <a:lstStyle/>
          <a:p>
            <a:pPr algn="ctr" eaLnBrk="1" fontAlgn="auto">
              <a:spcBef>
                <a:spcPts val="0"/>
              </a:spcBef>
              <a:spcAft>
                <a:spcPts val="0"/>
              </a:spcAft>
              <a:defRPr>
                <a:solidFill>
                  <a:srgbClr val="FFFFFF"/>
                </a:solidFill>
                <a:latin typeface="+mn-lt"/>
                <a:ea typeface="+mn-ea"/>
                <a:cs typeface="+mn-cs"/>
                <a:sym typeface="Arial"/>
              </a:defRPr>
            </a:pPr>
            <a:endParaRPr sz="3600" kern="0">
              <a:solidFill>
                <a:srgbClr val="FFFFFF"/>
              </a:solidFill>
              <a:latin typeface="Arial"/>
              <a:ea typeface=""/>
              <a:cs typeface="Arial"/>
              <a:sym typeface="Arial"/>
            </a:endParaRPr>
          </a:p>
        </p:txBody>
      </p:sp>
      <p:pic>
        <p:nvPicPr>
          <p:cNvPr id="336" name="ibm_logo_dark blue-01.png" descr="ibm_logo_dark blue-01.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5400000">
            <a:off x="715295" y="12766642"/>
            <a:ext cx="381003" cy="1009722"/>
          </a:xfrm>
          <a:prstGeom prst="rect">
            <a:avLst/>
          </a:prstGeom>
          <a:ln w="12700">
            <a:miter lim="400000"/>
          </a:ln>
        </p:spPr>
      </p:pic>
      <p:sp>
        <p:nvSpPr>
          <p:cNvPr id="339" name="Slide title"/>
          <p:cNvSpPr txBox="1">
            <a:spLocks noGrp="1"/>
          </p:cNvSpPr>
          <p:nvPr>
            <p:ph type="body" sz="quarter" idx="13"/>
          </p:nvPr>
        </p:nvSpPr>
        <p:spPr>
          <a:xfrm>
            <a:off x="508002" y="508003"/>
            <a:ext cx="23622002" cy="1071418"/>
          </a:xfrm>
          <a:prstGeom prst="rect">
            <a:avLst/>
          </a:prstGeom>
        </p:spPr>
        <p:txBody>
          <a:bodyPr lIns="45718" tIns="45718" rIns="45718" bIns="45718"/>
          <a:lstStyle>
            <a:lvl1pPr defTabSz="1554511">
              <a:lnSpc>
                <a:spcPct val="90000"/>
              </a:lnSpc>
              <a:defRPr sz="5600" b="1">
                <a:solidFill>
                  <a:schemeClr val="accent4"/>
                </a:solidFill>
              </a:defRPr>
            </a:lvl1pPr>
          </a:lstStyle>
          <a:p>
            <a:r>
              <a:t>Slide title</a:t>
            </a:r>
          </a:p>
        </p:txBody>
      </p:sp>
      <p:sp>
        <p:nvSpPr>
          <p:cNvPr id="8" name="Rectangle 7"/>
          <p:cNvSpPr/>
          <p:nvPr userDrawn="1"/>
        </p:nvSpPr>
        <p:spPr>
          <a:xfrm>
            <a:off x="1473401" y="13113999"/>
            <a:ext cx="6831172" cy="341632"/>
          </a:xfrm>
          <a:prstGeom prst="rect">
            <a:avLst/>
          </a:prstGeom>
        </p:spPr>
        <p:txBody>
          <a:bodyPr wrap="square" anchor="ctr">
            <a:spAutoFit/>
          </a:bodyPr>
          <a:lstStyle/>
          <a:p>
            <a:pPr marL="0" marR="0" indent="0" algn="l" defTabSz="1828837" rtl="0" eaLnBrk="1" fontAlgn="base" latinLnBrk="0" hangingPunct="1">
              <a:lnSpc>
                <a:spcPct val="90000"/>
              </a:lnSpc>
              <a:spcBef>
                <a:spcPct val="0"/>
              </a:spcBef>
              <a:spcAft>
                <a:spcPct val="0"/>
              </a:spcAft>
              <a:buClrTx/>
              <a:buSzTx/>
              <a:buFontTx/>
              <a:buNone/>
              <a:tabLst/>
              <a:defRPr/>
            </a:pPr>
            <a:r>
              <a:rPr lang="en-US" altLang="en-US" sz="1800" b="0" i="0">
                <a:solidFill>
                  <a:schemeClr val="tx1"/>
                </a:solidFill>
                <a:latin typeface="IBM Plex Sans Regular" charset="0"/>
                <a:ea typeface="IBM Plex Sans Regular" charset="0"/>
                <a:cs typeface="IBM Plex Sans Regular" charset="0"/>
              </a:rPr>
              <a:t>© 2018</a:t>
            </a:r>
            <a:r>
              <a:rPr lang="en-US" altLang="en-US" sz="1800" b="0" i="0" baseline="0">
                <a:solidFill>
                  <a:schemeClr val="tx1"/>
                </a:solidFill>
                <a:latin typeface="IBM Plex Sans Regular" charset="0"/>
                <a:ea typeface="IBM Plex Sans Regular" charset="0"/>
                <a:cs typeface="IBM Plex Sans Regular" charset="0"/>
              </a:rPr>
              <a:t>  </a:t>
            </a:r>
            <a:r>
              <a:rPr lang="en-US" altLang="en-US" sz="1800" b="0" i="0">
                <a:solidFill>
                  <a:schemeClr val="tx1"/>
                </a:solidFill>
                <a:latin typeface="IBM Plex Sans Regular" charset="0"/>
                <a:ea typeface="IBM Plex Sans Regular" charset="0"/>
                <a:cs typeface="IBM Plex Sans Regular" charset="0"/>
              </a:rPr>
              <a:t>IBM Corporation</a:t>
            </a:r>
          </a:p>
        </p:txBody>
      </p:sp>
      <p:sp>
        <p:nvSpPr>
          <p:cNvPr id="9" name="Rectangle 6"/>
          <p:cNvSpPr>
            <a:spLocks noChangeArrowheads="1"/>
          </p:cNvSpPr>
          <p:nvPr userDrawn="1"/>
        </p:nvSpPr>
        <p:spPr bwMode="auto">
          <a:xfrm>
            <a:off x="23071017" y="12914668"/>
            <a:ext cx="1302820" cy="6035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77" tIns="91438" rIns="182877" bIns="91438" anchor="ctr"/>
          <a:lstStyle>
            <a:lvl1pPr eaLnBrk="0" hangingPunct="0">
              <a:defRPr baseline="-25000">
                <a:solidFill>
                  <a:schemeClr val="tx1"/>
                </a:solidFill>
                <a:latin typeface="Arial" panose="020B0604020202020204" pitchFamily="34" charset="0"/>
                <a:ea typeface="MS PGothic" panose="020B0600070205080204" pitchFamily="34" charset="-128"/>
              </a:defRPr>
            </a:lvl1pPr>
            <a:lvl2pPr marL="742950" indent="-285750" eaLnBrk="0" hangingPunct="0">
              <a:defRPr baseline="-25000">
                <a:solidFill>
                  <a:schemeClr val="tx1"/>
                </a:solidFill>
                <a:latin typeface="Arial" panose="020B0604020202020204" pitchFamily="34" charset="0"/>
                <a:ea typeface="MS PGothic" panose="020B0600070205080204" pitchFamily="34" charset="-128"/>
              </a:defRPr>
            </a:lvl2pPr>
            <a:lvl3pPr marL="1143000" indent="-228600" eaLnBrk="0" hangingPunct="0">
              <a:defRPr baseline="-25000">
                <a:solidFill>
                  <a:schemeClr val="tx1"/>
                </a:solidFill>
                <a:latin typeface="Arial" panose="020B0604020202020204" pitchFamily="34" charset="0"/>
                <a:ea typeface="MS PGothic" panose="020B0600070205080204" pitchFamily="34" charset="-128"/>
              </a:defRPr>
            </a:lvl3pPr>
            <a:lvl4pPr marL="1600200" indent="-228600" eaLnBrk="0" hangingPunct="0">
              <a:defRPr baseline="-25000">
                <a:solidFill>
                  <a:schemeClr val="tx1"/>
                </a:solidFill>
                <a:latin typeface="Arial" panose="020B0604020202020204" pitchFamily="34" charset="0"/>
                <a:ea typeface="MS PGothic" panose="020B0600070205080204" pitchFamily="34" charset="-128"/>
              </a:defRPr>
            </a:lvl4pPr>
            <a:lvl5pPr marL="2057400" indent="-228600" eaLnBrk="0" hangingPunct="0">
              <a:defRPr baseline="-25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9pPr>
          </a:lstStyle>
          <a:p>
            <a:pPr algn="ctr" eaLnBrk="1" hangingPunct="1">
              <a:defRPr/>
            </a:pPr>
            <a:fld id="{8995AC45-5A92-44C2-B9A7-BA7BB3D600ED}" type="slidenum">
              <a:rPr lang="en-US" altLang="en-US" sz="2000" b="0" i="0" baseline="0" smtClean="0">
                <a:solidFill>
                  <a:schemeClr val="tx1"/>
                </a:solidFill>
                <a:latin typeface="IBM Plex Sans Regular" charset="0"/>
                <a:ea typeface="IBM Plex Sans Regular" charset="0"/>
                <a:cs typeface="+mn-cs"/>
              </a:rPr>
              <a:pPr algn="ctr" eaLnBrk="1" hangingPunct="1">
                <a:defRPr/>
              </a:pPr>
              <a:t>‹Nº›</a:t>
            </a:fld>
            <a:endParaRPr lang="en-US" altLang="en-US" sz="2000" b="0" i="0" baseline="0">
              <a:solidFill>
                <a:schemeClr val="tx1"/>
              </a:solidFill>
              <a:latin typeface="IBM Plex Sans Regular" charset="0"/>
              <a:ea typeface="IBM Plex Sans Regular" charset="0"/>
              <a:cs typeface="+mn-cs"/>
            </a:endParaRPr>
          </a:p>
        </p:txBody>
      </p:sp>
    </p:spTree>
    <p:extLst>
      <p:ext uri="{BB962C8B-B14F-4D97-AF65-F5344CB8AC3E}">
        <p14:creationId xmlns:p14="http://schemas.microsoft.com/office/powerpoint/2010/main" val="1195581484"/>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x" preserve="1">
  <p:cSld name="1_Light_Blank">
    <p:bg>
      <p:bgPr>
        <a:solidFill>
          <a:schemeClr val="bg1">
            <a:lumMod val="95000"/>
          </a:schemeClr>
        </a:solidFill>
        <a:effectLst/>
      </p:bgPr>
    </p:bg>
    <p:spTree>
      <p:nvGrpSpPr>
        <p:cNvPr id="1" name=""/>
        <p:cNvGrpSpPr/>
        <p:nvPr/>
      </p:nvGrpSpPr>
      <p:grpSpPr>
        <a:xfrm>
          <a:off x="0" y="0"/>
          <a:ext cx="0" cy="0"/>
          <a:chOff x="0" y="0"/>
          <a:chExt cx="0" cy="0"/>
        </a:xfrm>
      </p:grpSpPr>
      <p:sp>
        <p:nvSpPr>
          <p:cNvPr id="335" name="Rectangle 14"/>
          <p:cNvSpPr/>
          <p:nvPr/>
        </p:nvSpPr>
        <p:spPr>
          <a:xfrm>
            <a:off x="-4" y="12827000"/>
            <a:ext cx="24384008" cy="889000"/>
          </a:xfrm>
          <a:prstGeom prst="rect">
            <a:avLst/>
          </a:prstGeom>
          <a:solidFill>
            <a:srgbClr val="FFFFFF"/>
          </a:solidFill>
          <a:ln w="12700">
            <a:miter lim="400000"/>
          </a:ln>
        </p:spPr>
        <p:txBody>
          <a:bodyPr lIns="91437" tIns="91437" rIns="91437" bIns="91437" anchor="ctr"/>
          <a:lstStyle/>
          <a:p>
            <a:pPr algn="ctr" eaLnBrk="1" fontAlgn="auto">
              <a:spcBef>
                <a:spcPts val="0"/>
              </a:spcBef>
              <a:spcAft>
                <a:spcPts val="0"/>
              </a:spcAft>
              <a:defRPr>
                <a:solidFill>
                  <a:srgbClr val="FFFFFF"/>
                </a:solidFill>
                <a:latin typeface="+mn-lt"/>
                <a:ea typeface="+mn-ea"/>
                <a:cs typeface="+mn-cs"/>
                <a:sym typeface="Arial"/>
              </a:defRPr>
            </a:pPr>
            <a:endParaRPr sz="3600" kern="0">
              <a:solidFill>
                <a:srgbClr val="FFFFFF"/>
              </a:solidFill>
              <a:latin typeface="Arial"/>
              <a:ea typeface=""/>
              <a:cs typeface="Arial"/>
              <a:sym typeface="Arial"/>
            </a:endParaRPr>
          </a:p>
        </p:txBody>
      </p:sp>
      <p:pic>
        <p:nvPicPr>
          <p:cNvPr id="336" name="ibm_logo_dark blue-01.png" descr="ibm_logo_dark blue-01.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5400000">
            <a:off x="715295" y="12766642"/>
            <a:ext cx="381003" cy="1009722"/>
          </a:xfrm>
          <a:prstGeom prst="rect">
            <a:avLst/>
          </a:prstGeom>
          <a:ln w="12700">
            <a:miter lim="400000"/>
          </a:ln>
        </p:spPr>
      </p:pic>
      <p:sp>
        <p:nvSpPr>
          <p:cNvPr id="337" name="Line"/>
          <p:cNvSpPr/>
          <p:nvPr/>
        </p:nvSpPr>
        <p:spPr>
          <a:xfrm>
            <a:off x="-2" y="12814300"/>
            <a:ext cx="24384007" cy="0"/>
          </a:xfrm>
          <a:prstGeom prst="line">
            <a:avLst/>
          </a:prstGeom>
          <a:ln w="25400">
            <a:solidFill>
              <a:schemeClr val="accent5"/>
            </a:solidFill>
            <a:miter/>
          </a:ln>
        </p:spPr>
        <p:txBody>
          <a:bodyPr lIns="91437" tIns="91437" rIns="91437" bIns="91437"/>
          <a:lstStyle/>
          <a:p>
            <a:pPr eaLnBrk="1" fontAlgn="auto">
              <a:spcBef>
                <a:spcPts val="0"/>
              </a:spcBef>
              <a:spcAft>
                <a:spcPts val="0"/>
              </a:spcAft>
              <a:defRPr/>
            </a:pPr>
            <a:endParaRPr sz="3600" kern="0">
              <a:solidFill>
                <a:srgbClr val="000000"/>
              </a:solidFill>
              <a:latin typeface="Calibri"/>
              <a:ea typeface=""/>
              <a:sym typeface="Calibri"/>
            </a:endParaRPr>
          </a:p>
        </p:txBody>
      </p:sp>
      <p:sp>
        <p:nvSpPr>
          <p:cNvPr id="339" name="Slide title"/>
          <p:cNvSpPr txBox="1">
            <a:spLocks noGrp="1"/>
          </p:cNvSpPr>
          <p:nvPr>
            <p:ph type="body" sz="quarter" idx="13"/>
          </p:nvPr>
        </p:nvSpPr>
        <p:spPr>
          <a:xfrm>
            <a:off x="508002" y="508003"/>
            <a:ext cx="23622002" cy="1071418"/>
          </a:xfrm>
          <a:prstGeom prst="rect">
            <a:avLst/>
          </a:prstGeom>
        </p:spPr>
        <p:txBody>
          <a:bodyPr lIns="45718" tIns="45718" rIns="45718" bIns="45718"/>
          <a:lstStyle>
            <a:lvl1pPr defTabSz="1554511">
              <a:lnSpc>
                <a:spcPct val="90000"/>
              </a:lnSpc>
              <a:defRPr sz="5600" b="1">
                <a:solidFill>
                  <a:schemeClr val="accent4"/>
                </a:solidFill>
              </a:defRPr>
            </a:lvl1pPr>
          </a:lstStyle>
          <a:p>
            <a:r>
              <a:t>Slide title</a:t>
            </a:r>
          </a:p>
        </p:txBody>
      </p:sp>
      <p:sp>
        <p:nvSpPr>
          <p:cNvPr id="8" name="Rectangle 7"/>
          <p:cNvSpPr/>
          <p:nvPr userDrawn="1"/>
        </p:nvSpPr>
        <p:spPr>
          <a:xfrm>
            <a:off x="1473401" y="13113999"/>
            <a:ext cx="6831172" cy="341632"/>
          </a:xfrm>
          <a:prstGeom prst="rect">
            <a:avLst/>
          </a:prstGeom>
        </p:spPr>
        <p:txBody>
          <a:bodyPr wrap="square" anchor="ctr">
            <a:spAutoFit/>
          </a:bodyPr>
          <a:lstStyle/>
          <a:p>
            <a:pPr marL="0" marR="0" indent="0" algn="l" defTabSz="1828837" rtl="0" eaLnBrk="1" fontAlgn="base" latinLnBrk="0" hangingPunct="1">
              <a:lnSpc>
                <a:spcPct val="90000"/>
              </a:lnSpc>
              <a:spcBef>
                <a:spcPct val="0"/>
              </a:spcBef>
              <a:spcAft>
                <a:spcPct val="0"/>
              </a:spcAft>
              <a:buClrTx/>
              <a:buSzTx/>
              <a:buFontTx/>
              <a:buNone/>
              <a:tabLst/>
              <a:defRPr/>
            </a:pPr>
            <a:r>
              <a:rPr lang="en-US" altLang="en-US" sz="1800" b="0" i="0">
                <a:solidFill>
                  <a:schemeClr val="tx1"/>
                </a:solidFill>
                <a:latin typeface="IBM Plex Sans Regular" charset="0"/>
                <a:ea typeface="IBM Plex Sans Regular" charset="0"/>
                <a:cs typeface="IBM Plex Sans Regular" charset="0"/>
              </a:rPr>
              <a:t>© 2018</a:t>
            </a:r>
            <a:r>
              <a:rPr lang="en-US" altLang="en-US" sz="1800" b="0" i="0" baseline="0">
                <a:solidFill>
                  <a:schemeClr val="tx1"/>
                </a:solidFill>
                <a:latin typeface="IBM Plex Sans Regular" charset="0"/>
                <a:ea typeface="IBM Plex Sans Regular" charset="0"/>
                <a:cs typeface="IBM Plex Sans Regular" charset="0"/>
              </a:rPr>
              <a:t>  </a:t>
            </a:r>
            <a:r>
              <a:rPr lang="en-US" altLang="en-US" sz="1800" b="0" i="0">
                <a:solidFill>
                  <a:schemeClr val="tx1"/>
                </a:solidFill>
                <a:latin typeface="IBM Plex Sans Regular" charset="0"/>
                <a:ea typeface="IBM Plex Sans Regular" charset="0"/>
                <a:cs typeface="IBM Plex Sans Regular" charset="0"/>
              </a:rPr>
              <a:t>IBM Corporation</a:t>
            </a:r>
          </a:p>
        </p:txBody>
      </p:sp>
      <p:sp>
        <p:nvSpPr>
          <p:cNvPr id="9" name="Rectangle 6"/>
          <p:cNvSpPr>
            <a:spLocks noChangeArrowheads="1"/>
          </p:cNvSpPr>
          <p:nvPr userDrawn="1"/>
        </p:nvSpPr>
        <p:spPr bwMode="auto">
          <a:xfrm>
            <a:off x="23071017" y="12914668"/>
            <a:ext cx="1302820" cy="6035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77" tIns="91438" rIns="182877" bIns="91438" anchor="ctr"/>
          <a:lstStyle>
            <a:lvl1pPr eaLnBrk="0" hangingPunct="0">
              <a:defRPr baseline="-25000">
                <a:solidFill>
                  <a:schemeClr val="tx1"/>
                </a:solidFill>
                <a:latin typeface="Arial" panose="020B0604020202020204" pitchFamily="34" charset="0"/>
                <a:ea typeface="MS PGothic" panose="020B0600070205080204" pitchFamily="34" charset="-128"/>
              </a:defRPr>
            </a:lvl1pPr>
            <a:lvl2pPr marL="742950" indent="-285750" eaLnBrk="0" hangingPunct="0">
              <a:defRPr baseline="-25000">
                <a:solidFill>
                  <a:schemeClr val="tx1"/>
                </a:solidFill>
                <a:latin typeface="Arial" panose="020B0604020202020204" pitchFamily="34" charset="0"/>
                <a:ea typeface="MS PGothic" panose="020B0600070205080204" pitchFamily="34" charset="-128"/>
              </a:defRPr>
            </a:lvl2pPr>
            <a:lvl3pPr marL="1143000" indent="-228600" eaLnBrk="0" hangingPunct="0">
              <a:defRPr baseline="-25000">
                <a:solidFill>
                  <a:schemeClr val="tx1"/>
                </a:solidFill>
                <a:latin typeface="Arial" panose="020B0604020202020204" pitchFamily="34" charset="0"/>
                <a:ea typeface="MS PGothic" panose="020B0600070205080204" pitchFamily="34" charset="-128"/>
              </a:defRPr>
            </a:lvl3pPr>
            <a:lvl4pPr marL="1600200" indent="-228600" eaLnBrk="0" hangingPunct="0">
              <a:defRPr baseline="-25000">
                <a:solidFill>
                  <a:schemeClr val="tx1"/>
                </a:solidFill>
                <a:latin typeface="Arial" panose="020B0604020202020204" pitchFamily="34" charset="0"/>
                <a:ea typeface="MS PGothic" panose="020B0600070205080204" pitchFamily="34" charset="-128"/>
              </a:defRPr>
            </a:lvl4pPr>
            <a:lvl5pPr marL="2057400" indent="-228600" eaLnBrk="0" hangingPunct="0">
              <a:defRPr baseline="-25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9pPr>
          </a:lstStyle>
          <a:p>
            <a:pPr algn="ctr" eaLnBrk="1" hangingPunct="1">
              <a:defRPr/>
            </a:pPr>
            <a:fld id="{8995AC45-5A92-44C2-B9A7-BA7BB3D600ED}" type="slidenum">
              <a:rPr lang="en-US" altLang="en-US" sz="2000" b="0" i="0" baseline="0" smtClean="0">
                <a:solidFill>
                  <a:schemeClr val="tx1"/>
                </a:solidFill>
                <a:latin typeface="IBM Plex Sans Regular" charset="0"/>
                <a:ea typeface="IBM Plex Sans Regular" charset="0"/>
                <a:cs typeface="+mn-cs"/>
              </a:rPr>
              <a:pPr algn="ctr" eaLnBrk="1" hangingPunct="1">
                <a:defRPr/>
              </a:pPr>
              <a:t>‹Nº›</a:t>
            </a:fld>
            <a:endParaRPr lang="en-US" altLang="en-US" sz="2000" b="0" i="0" baseline="0">
              <a:solidFill>
                <a:schemeClr val="tx1"/>
              </a:solidFill>
              <a:latin typeface="IBM Plex Sans Regular" charset="0"/>
              <a:ea typeface="IBM Plex Sans Regular" charset="0"/>
              <a:cs typeface="+mn-cs"/>
            </a:endParaRPr>
          </a:p>
        </p:txBody>
      </p:sp>
    </p:spTree>
    <p:extLst>
      <p:ext uri="{BB962C8B-B14F-4D97-AF65-F5344CB8AC3E}">
        <p14:creationId xmlns:p14="http://schemas.microsoft.com/office/powerpoint/2010/main" val="3843727724"/>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6" y="508000"/>
            <a:ext cx="23622002" cy="1778000"/>
          </a:xfrm>
        </p:spPr>
        <p:txBody>
          <a:bodyPr/>
          <a:lstStyle/>
          <a:p>
            <a:r>
              <a:rPr lang="en-US"/>
              <a:t>Click to edit Master title style</a:t>
            </a:r>
          </a:p>
        </p:txBody>
      </p:sp>
      <p:sp>
        <p:nvSpPr>
          <p:cNvPr id="3" name="Content Placeholder 2"/>
          <p:cNvSpPr>
            <a:spLocks noGrp="1"/>
          </p:cNvSpPr>
          <p:nvPr>
            <p:ph idx="1"/>
          </p:nvPr>
        </p:nvSpPr>
        <p:spPr>
          <a:xfrm>
            <a:off x="381006" y="2537520"/>
            <a:ext cx="23622002" cy="9815887"/>
          </a:xfrm>
          <a:prstGeom prst="rect">
            <a:avLst/>
          </a:prstGeom>
        </p:spPr>
        <p:txBody>
          <a:bodyPr lIns="66961" tIns="33477" rIns="66961" bIns="33477"/>
          <a:lstStyle>
            <a:lvl1pPr>
              <a:defRPr b="0" i="0">
                <a:latin typeface="HelveticaNeueLT Std Lt Cn" panose="020B0406020202030204" pitchFamily="34" charset="0"/>
                <a:ea typeface="HelveticaNeueLT Std Lt Cn" panose="020B0406020202030204" pitchFamily="34" charset="0"/>
                <a:cs typeface="HelveticaNeueLT Std Lt Cn" panose="020B0406020202030204" pitchFamily="34" charset="0"/>
              </a:defRPr>
            </a:lvl1pPr>
            <a:lvl2pPr>
              <a:defRPr b="0" i="0">
                <a:latin typeface="HelveticaNeueLT Std Lt Cn" panose="020B0406020202030204" pitchFamily="34" charset="0"/>
                <a:ea typeface="HelveticaNeueLT Std Lt Cn" panose="020B0406020202030204" pitchFamily="34" charset="0"/>
                <a:cs typeface="HelveticaNeueLT Std Lt Cn" panose="020B0406020202030204" pitchFamily="34" charset="0"/>
              </a:defRPr>
            </a:lvl2pPr>
            <a:lvl3pPr>
              <a:defRPr b="0" i="0">
                <a:latin typeface="HelveticaNeueLT Std Lt Cn" panose="020B0406020202030204" pitchFamily="34" charset="0"/>
                <a:ea typeface="HelveticaNeueLT Std Lt Cn" panose="020B0406020202030204" pitchFamily="34" charset="0"/>
                <a:cs typeface="HelveticaNeueLT Std Lt Cn" panose="020B0406020202030204" pitchFamily="34" charset="0"/>
              </a:defRPr>
            </a:lvl3pPr>
            <a:lvl4pPr>
              <a:defRPr b="0" i="0">
                <a:latin typeface="HelveticaNeueLT Std Lt Cn" panose="020B0406020202030204" pitchFamily="34" charset="0"/>
                <a:ea typeface="HelveticaNeueLT Std Lt Cn" panose="020B0406020202030204" pitchFamily="34" charset="0"/>
                <a:cs typeface="HelveticaNeueLT Std Lt Cn" panose="020B0406020202030204" pitchFamily="34" charset="0"/>
              </a:defRPr>
            </a:lvl4pPr>
            <a:lvl5pPr>
              <a:defRPr b="0" i="0">
                <a:latin typeface="HelveticaNeueLT Std Lt Cn" panose="020B0406020202030204" pitchFamily="34" charset="0"/>
                <a:ea typeface="HelveticaNeueLT Std Lt Cn" panose="020B0406020202030204" pitchFamily="34" charset="0"/>
                <a:cs typeface="HelveticaNeueLT Std Lt Cn" panose="020B0406020202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9017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91069" y="368303"/>
            <a:ext cx="22906568" cy="1000127"/>
          </a:xfrm>
        </p:spPr>
        <p:txBody>
          <a:bodyPr/>
          <a:lstStyle/>
          <a:p>
            <a:r>
              <a:rPr lang="en-US"/>
              <a:t>Click to edit Master title style</a:t>
            </a:r>
          </a:p>
        </p:txBody>
      </p:sp>
      <p:sp>
        <p:nvSpPr>
          <p:cNvPr id="3" name="Table Placeholder 2"/>
          <p:cNvSpPr>
            <a:spLocks noGrp="1"/>
          </p:cNvSpPr>
          <p:nvPr>
            <p:ph type="tbl" idx="1"/>
          </p:nvPr>
        </p:nvSpPr>
        <p:spPr>
          <a:xfrm>
            <a:off x="656168" y="1616077"/>
            <a:ext cx="22906567" cy="11249023"/>
          </a:xfrm>
        </p:spPr>
        <p:txBody>
          <a:bodyPr/>
          <a:lstStyle/>
          <a:p>
            <a:pPr lvl="0"/>
            <a:endParaRPr lang="en-US" noProof="0" dirty="0"/>
          </a:p>
        </p:txBody>
      </p:sp>
    </p:spTree>
    <p:extLst>
      <p:ext uri="{BB962C8B-B14F-4D97-AF65-F5344CB8AC3E}">
        <p14:creationId xmlns:p14="http://schemas.microsoft.com/office/powerpoint/2010/main" val="34473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8896" y="707135"/>
            <a:ext cx="23349612" cy="829057"/>
          </a:xfrm>
          <a:prstGeom prst="rect">
            <a:avLst/>
          </a:prstGeom>
        </p:spPr>
        <p:txBody>
          <a:bodyPr/>
          <a:lstStyle/>
          <a:p>
            <a:r>
              <a:rPr lang="en-US"/>
              <a:t>Click to edit Master title style</a:t>
            </a:r>
          </a:p>
        </p:txBody>
      </p:sp>
      <p:sp>
        <p:nvSpPr>
          <p:cNvPr id="5" name="Footer Placeholder 3"/>
          <p:cNvSpPr>
            <a:spLocks noGrp="1"/>
          </p:cNvSpPr>
          <p:nvPr>
            <p:ph type="ftr" sz="quarter" idx="3"/>
          </p:nvPr>
        </p:nvSpPr>
        <p:spPr>
          <a:xfrm>
            <a:off x="8077202" y="12712703"/>
            <a:ext cx="8229600" cy="732368"/>
          </a:xfrm>
          <a:prstGeom prst="rect">
            <a:avLst/>
          </a:prstGeom>
        </p:spPr>
        <p:txBody>
          <a:bodyPr vert="horz" lIns="91440" tIns="0" rIns="91440" bIns="0" rtlCol="0" anchor="b"/>
          <a:lstStyle>
            <a:lvl1pPr algn="ctr">
              <a:defRPr sz="1733">
                <a:solidFill>
                  <a:schemeClr val="tx1">
                    <a:tint val="75000"/>
                  </a:schemeClr>
                </a:solidFill>
              </a:defRPr>
            </a:lvl1pPr>
          </a:lstStyle>
          <a:p>
            <a:r>
              <a:rPr lang="en-US" dirty="0">
                <a:solidFill>
                  <a:srgbClr val="000000">
                    <a:tint val="75000"/>
                  </a:srgbClr>
                </a:solidFill>
              </a:rPr>
              <a:t>Confidential</a:t>
            </a:r>
          </a:p>
        </p:txBody>
      </p:sp>
    </p:spTree>
    <p:extLst>
      <p:ext uri="{BB962C8B-B14F-4D97-AF65-F5344CB8AC3E}">
        <p14:creationId xmlns:p14="http://schemas.microsoft.com/office/powerpoint/2010/main" val="36360604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15" name="Vertical Text Placeholder 14">
            <a:extLst>
              <a:ext uri="{FF2B5EF4-FFF2-40B4-BE49-F238E27FC236}">
                <a16:creationId xmlns:a16="http://schemas.microsoft.com/office/drawing/2014/main" id="{168D8E4A-879A-A44B-9F36-EB1C82D28994}"/>
              </a:ext>
            </a:extLst>
          </p:cNvPr>
          <p:cNvSpPr>
            <a:spLocks noGrp="1"/>
          </p:cNvSpPr>
          <p:nvPr>
            <p:ph type="body" orient="vert" sz="quarter" idx="16" hasCustomPrompt="1"/>
          </p:nvPr>
        </p:nvSpPr>
        <p:spPr>
          <a:xfrm rot="10800000">
            <a:off x="55420" y="-1"/>
            <a:ext cx="609600" cy="13715998"/>
          </a:xfrm>
          <a:prstGeom prst="rect">
            <a:avLst/>
          </a:prstGeom>
        </p:spPr>
        <p:txBody>
          <a:bodyPr vert="eaVert"/>
          <a:lstStyle>
            <a:lvl1pPr marL="0" indent="0" algn="ctr">
              <a:buNone/>
              <a:defRPr sz="2400" b="0" i="0">
                <a:solidFill>
                  <a:srgbClr val="E1305D"/>
                </a:solidFill>
                <a:latin typeface="IBM Plex Sans Light" panose="020B0403050000000000" pitchFamily="34" charset="77"/>
              </a:defRPr>
            </a:lvl1pPr>
          </a:lstStyle>
          <a:p>
            <a:pPr lvl="0"/>
            <a:r>
              <a:rPr lang="en-US"/>
              <a:t>Click to edit the master style</a:t>
            </a:r>
          </a:p>
        </p:txBody>
      </p:sp>
      <p:sp>
        <p:nvSpPr>
          <p:cNvPr id="5" name="Content Placeholder 4"/>
          <p:cNvSpPr>
            <a:spLocks noGrp="1"/>
          </p:cNvSpPr>
          <p:nvPr>
            <p:ph sz="quarter" idx="17"/>
          </p:nvPr>
        </p:nvSpPr>
        <p:spPr>
          <a:xfrm>
            <a:off x="873127" y="3575050"/>
            <a:ext cx="22637750" cy="90900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itle 5"/>
          <p:cNvSpPr>
            <a:spLocks noGrp="1"/>
          </p:cNvSpPr>
          <p:nvPr>
            <p:ph type="title" hasCustomPrompt="1"/>
          </p:nvPr>
        </p:nvSpPr>
        <p:spPr/>
        <p:txBody>
          <a:bodyPr/>
          <a:lstStyle/>
          <a:p>
            <a:r>
              <a:rPr lang="en-US"/>
              <a:t>CLICK TO EDIT MASTER TITLE STYLE</a:t>
            </a:r>
            <a:endParaRPr lang="en-GB"/>
          </a:p>
        </p:txBody>
      </p:sp>
      <p:sp>
        <p:nvSpPr>
          <p:cNvPr id="11" name="Text Placeholder 8">
            <a:extLst>
              <a:ext uri="{FF2B5EF4-FFF2-40B4-BE49-F238E27FC236}">
                <a16:creationId xmlns:a16="http://schemas.microsoft.com/office/drawing/2014/main" id="{132C30ED-5034-7A4B-B1C3-36C251222B04}"/>
              </a:ext>
            </a:extLst>
          </p:cNvPr>
          <p:cNvSpPr>
            <a:spLocks noGrp="1"/>
          </p:cNvSpPr>
          <p:nvPr>
            <p:ph type="body" sz="quarter" idx="13" hasCustomPrompt="1"/>
          </p:nvPr>
        </p:nvSpPr>
        <p:spPr>
          <a:xfrm>
            <a:off x="1171253" y="1094892"/>
            <a:ext cx="22029940" cy="1374862"/>
          </a:xfrm>
          <a:prstGeom prst="rect">
            <a:avLst/>
          </a:prstGeom>
        </p:spPr>
        <p:txBody>
          <a:bodyPr/>
          <a:lstStyle>
            <a:lvl1pPr marL="0" indent="0">
              <a:lnSpc>
                <a:spcPct val="100000"/>
              </a:lnSpc>
              <a:buNone/>
              <a:defRPr sz="2600" b="0" i="0">
                <a:solidFill>
                  <a:schemeClr val="tx1">
                    <a:lumMod val="85000"/>
                    <a:lumOff val="15000"/>
                  </a:schemeClr>
                </a:solidFill>
                <a:latin typeface="IBM Plex Sans Light" panose="020B0403050000000000" pitchFamily="34" charset="77"/>
              </a:defRPr>
            </a:lvl1pPr>
          </a:lstStyle>
          <a:p>
            <a:pPr lvl="0"/>
            <a:r>
              <a:rPr lang="en-US"/>
              <a:t>What are we trying to address</a:t>
            </a:r>
          </a:p>
        </p:txBody>
      </p:sp>
    </p:spTree>
    <p:extLst>
      <p:ext uri="{BB962C8B-B14F-4D97-AF65-F5344CB8AC3E}">
        <p14:creationId xmlns:p14="http://schemas.microsoft.com/office/powerpoint/2010/main" val="3310931554"/>
      </p:ext>
    </p:extLst>
  </p:cSld>
  <p:clrMapOvr>
    <a:masterClrMapping/>
  </p:clrMapOvr>
  <p:extLst>
    <p:ext uri="{DCECCB84-F9BA-43D5-87BE-67443E8EF086}">
      <p15:sldGuideLst xmlns:p15="http://schemas.microsoft.com/office/powerpoint/2012/main">
        <p15:guide id="1" orient="horz" pos="1642">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ontent 1">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781050" y="416812"/>
            <a:ext cx="22717127" cy="2067893"/>
          </a:xfrm>
        </p:spPr>
        <p:txBody>
          <a:bodyPr>
            <a:normAutofit/>
          </a:bodyPr>
          <a:lstStyle>
            <a:lvl1pPr>
              <a:defRPr sz="4800" b="1" baseline="0">
                <a:solidFill>
                  <a:schemeClr val="tx2"/>
                </a:solidFill>
              </a:defRPr>
            </a:lvl1pPr>
          </a:lstStyle>
          <a:p>
            <a:pPr lvl="0"/>
            <a:r>
              <a:rPr lang="en-US"/>
              <a:t>Title (Century Gothic 24, dark blue – bold)</a:t>
            </a:r>
            <a:endParaRPr lang="es-MX"/>
          </a:p>
        </p:txBody>
      </p:sp>
    </p:spTree>
    <p:extLst>
      <p:ext uri="{BB962C8B-B14F-4D97-AF65-F5344CB8AC3E}">
        <p14:creationId xmlns:p14="http://schemas.microsoft.com/office/powerpoint/2010/main" val="1689198488"/>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6FC3B0-19B4-4495-9A9F-C3D7764925A6}"/>
              </a:ext>
            </a:extLst>
          </p:cNvPr>
          <p:cNvPicPr>
            <a:picLocks noChangeAspect="1"/>
          </p:cNvPicPr>
          <p:nvPr userDrawn="1"/>
        </p:nvPicPr>
        <p:blipFill>
          <a:blip r:embed="rId2"/>
          <a:stretch>
            <a:fillRect/>
          </a:stretch>
        </p:blipFill>
        <p:spPr>
          <a:xfrm>
            <a:off x="0" y="12279756"/>
            <a:ext cx="24384000" cy="1455908"/>
          </a:xfrm>
          <a:prstGeom prst="rect">
            <a:avLst/>
          </a:prstGeom>
        </p:spPr>
      </p:pic>
      <p:pic>
        <p:nvPicPr>
          <p:cNvPr id="10" name="Picture 6">
            <a:extLst>
              <a:ext uri="{FF2B5EF4-FFF2-40B4-BE49-F238E27FC236}">
                <a16:creationId xmlns:a16="http://schemas.microsoft.com/office/drawing/2014/main" id="{8B5F72DF-785E-43BC-ADC1-D453676A4B5C}"/>
              </a:ext>
            </a:extLst>
          </p:cNvPr>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11949854" y="12603946"/>
            <a:ext cx="1521076" cy="610888"/>
          </a:xfrm>
          <a:prstGeom prst="rect">
            <a:avLst/>
          </a:prstGeom>
          <a:noFill/>
          <a:ln>
            <a:noFill/>
          </a:ln>
          <a:effectLst/>
          <a:extLst>
            <a:ext uri="{909E8E84-426E-40dd-AFC4-6F175D3DCCD1}">
              <a14:hiddenFill xmlns="" xmlns:a14="http://schemas.microsoft.com/office/drawing/2010/main">
                <a:blipFill dpi="0" rotWithShape="0">
                  <a:blip/>
                  <a:srcRect/>
                  <a:stretch>
                    <a:fillRect/>
                  </a:stretch>
                </a:blipFill>
              </a14:hiddenFill>
            </a:ext>
            <a:ext uri="{91240B29-F687-4f45-9708-019B960494DF}">
              <a14:hiddenLine xmlns="" xmlns:a14="http://schemas.microsoft.com/office/drawing/2010/main" w="21600">
                <a:solidFill>
                  <a:srgbClr val="808080"/>
                </a:solidFill>
                <a:round/>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sp>
        <p:nvSpPr>
          <p:cNvPr id="11" name="TextBox 10">
            <a:extLst>
              <a:ext uri="{FF2B5EF4-FFF2-40B4-BE49-F238E27FC236}">
                <a16:creationId xmlns:a16="http://schemas.microsoft.com/office/drawing/2014/main" id="{2D6C248D-E6B6-46C4-8D07-28F5EA22EBC6}"/>
              </a:ext>
            </a:extLst>
          </p:cNvPr>
          <p:cNvSpPr txBox="1"/>
          <p:nvPr userDrawn="1"/>
        </p:nvSpPr>
        <p:spPr>
          <a:xfrm>
            <a:off x="9174408" y="13201329"/>
            <a:ext cx="5200463" cy="461665"/>
          </a:xfrm>
          <a:prstGeom prst="rect">
            <a:avLst/>
          </a:prstGeom>
          <a:noFill/>
        </p:spPr>
        <p:txBody>
          <a:bodyPr wrap="none" rtlCol="0">
            <a:spAutoFit/>
          </a:bodyPr>
          <a:lstStyle/>
          <a:p>
            <a:r>
              <a:rPr lang="es-ES" sz="2400">
                <a:solidFill>
                  <a:schemeClr val="bg1"/>
                </a:solidFill>
              </a:rPr>
              <a:t>Santader España &amp; IBM confidencial</a:t>
            </a:r>
          </a:p>
        </p:txBody>
      </p:sp>
    </p:spTree>
    <p:extLst>
      <p:ext uri="{BB962C8B-B14F-4D97-AF65-F5344CB8AC3E}">
        <p14:creationId xmlns:p14="http://schemas.microsoft.com/office/powerpoint/2010/main" val="21500908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ontent 2">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781050" y="416812"/>
            <a:ext cx="22717127" cy="2067893"/>
          </a:xfrm>
        </p:spPr>
        <p:txBody>
          <a:bodyPr>
            <a:normAutofit/>
          </a:bodyPr>
          <a:lstStyle>
            <a:lvl1pPr>
              <a:defRPr sz="4800" b="1" baseline="0">
                <a:solidFill>
                  <a:schemeClr val="tx2"/>
                </a:solidFill>
              </a:defRPr>
            </a:lvl1pPr>
          </a:lstStyle>
          <a:p>
            <a:pPr lvl="0"/>
            <a:r>
              <a:rPr lang="en-US"/>
              <a:t>Title (Century Gothic 24, dark blue – bold)</a:t>
            </a:r>
            <a:endParaRPr lang="es-MX"/>
          </a:p>
        </p:txBody>
      </p:sp>
      <p:sp>
        <p:nvSpPr>
          <p:cNvPr id="3" name="Text Placeholder 2"/>
          <p:cNvSpPr>
            <a:spLocks noGrp="1"/>
          </p:cNvSpPr>
          <p:nvPr>
            <p:ph type="body" sz="quarter" idx="11" hasCustomPrompt="1"/>
          </p:nvPr>
        </p:nvSpPr>
        <p:spPr/>
        <p:txBody>
          <a:bodyPr/>
          <a:lstStyle>
            <a:lvl1pPr>
              <a:tabLst/>
              <a:defRPr>
                <a:solidFill>
                  <a:schemeClr val="tx1"/>
                </a:solidFill>
              </a:defRPr>
            </a:lvl1pPr>
            <a:lvl2pPr>
              <a:defRPr>
                <a:solidFill>
                  <a:schemeClr val="tx1"/>
                </a:solidFill>
              </a:defRPr>
            </a:lvl2pPr>
            <a:lvl3pPr>
              <a:spcBef>
                <a:spcPts val="600"/>
              </a:spcBef>
              <a:defRPr>
                <a:solidFill>
                  <a:schemeClr val="tx1"/>
                </a:solidFill>
              </a:defRPr>
            </a:lvl3pPr>
            <a:lvl4pPr>
              <a:defRPr>
                <a:solidFill>
                  <a:schemeClr val="tx1">
                    <a:lumMod val="65000"/>
                    <a:lumOff val="35000"/>
                  </a:schemeClr>
                </a:solidFill>
              </a:defRPr>
            </a:lvl4pPr>
          </a:lstStyle>
          <a:p>
            <a:r>
              <a:rPr lang="en-US" kern="0"/>
              <a:t>Main Text (</a:t>
            </a:r>
            <a:r>
              <a:rPr lang="en-US"/>
              <a:t>Century Gothic</a:t>
            </a:r>
            <a:r>
              <a:rPr lang="en-US" kern="0"/>
              <a:t> 14, black)</a:t>
            </a:r>
          </a:p>
          <a:p>
            <a:pPr lvl="1"/>
            <a:r>
              <a:rPr lang="en-US" kern="0"/>
              <a:t>Level 1 Bullet (</a:t>
            </a:r>
            <a:r>
              <a:rPr lang="en-US"/>
              <a:t>Century Gothic</a:t>
            </a:r>
            <a:r>
              <a:rPr lang="en-US" kern="0"/>
              <a:t> 14, black – mid blue bullet)</a:t>
            </a:r>
          </a:p>
          <a:p>
            <a:pPr lvl="2"/>
            <a:r>
              <a:rPr lang="en-US" kern="0"/>
              <a:t>Level 2 Bullet (</a:t>
            </a:r>
            <a:r>
              <a:rPr lang="en-US"/>
              <a:t>Century Gothic</a:t>
            </a:r>
            <a:r>
              <a:rPr lang="en-US" kern="0"/>
              <a:t> 14, black – mid blue double arrow)</a:t>
            </a:r>
          </a:p>
          <a:p>
            <a:pPr lvl="3"/>
            <a:r>
              <a:rPr lang="en-US" kern="0"/>
              <a:t>Level 3 Bullet (</a:t>
            </a:r>
            <a:r>
              <a:rPr lang="en-US"/>
              <a:t>Century Gothic</a:t>
            </a:r>
            <a:r>
              <a:rPr lang="en-US" kern="0"/>
              <a:t> 12, black – mid blue circle bullet)</a:t>
            </a:r>
          </a:p>
        </p:txBody>
      </p:sp>
    </p:spTree>
    <p:extLst>
      <p:ext uri="{BB962C8B-B14F-4D97-AF65-F5344CB8AC3E}">
        <p14:creationId xmlns:p14="http://schemas.microsoft.com/office/powerpoint/2010/main" val="4131843567"/>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Background_2">
    <p:spTree>
      <p:nvGrpSpPr>
        <p:cNvPr id="1" name=""/>
        <p:cNvGrpSpPr/>
        <p:nvPr/>
      </p:nvGrpSpPr>
      <p:grpSpPr>
        <a:xfrm>
          <a:off x="0" y="0"/>
          <a:ext cx="0" cy="0"/>
          <a:chOff x="0" y="0"/>
          <a:chExt cx="0" cy="0"/>
        </a:xfrm>
      </p:grpSpPr>
      <p:sp>
        <p:nvSpPr>
          <p:cNvPr id="2" name="Rectangle 5"/>
          <p:cNvSpPr/>
          <p:nvPr userDrawn="1"/>
        </p:nvSpPr>
        <p:spPr>
          <a:xfrm>
            <a:off x="0" y="0"/>
            <a:ext cx="8991600" cy="13716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243823" tIns="121912" rIns="243823" bIns="121912" anchor="ctr"/>
          <a:lstStyle/>
          <a:p>
            <a:pPr algn="ctr" defTabSz="1219106" fontAlgn="auto">
              <a:spcBef>
                <a:spcPts val="0"/>
              </a:spcBef>
              <a:spcAft>
                <a:spcPts val="0"/>
              </a:spcAft>
              <a:defRPr/>
            </a:pPr>
            <a:endParaRPr lang="en-US" sz="4800" dirty="0"/>
          </a:p>
        </p:txBody>
      </p:sp>
      <p:sp>
        <p:nvSpPr>
          <p:cNvPr id="3" name="TextBox 13"/>
          <p:cNvSpPr txBox="1"/>
          <p:nvPr userDrawn="1"/>
        </p:nvSpPr>
        <p:spPr>
          <a:xfrm>
            <a:off x="23355305" y="194735"/>
            <a:ext cx="821267" cy="902667"/>
          </a:xfrm>
          <a:prstGeom prst="rect">
            <a:avLst/>
          </a:prstGeom>
          <a:noFill/>
        </p:spPr>
        <p:txBody>
          <a:bodyPr lIns="243823" tIns="121912" rIns="243823" bIns="121912">
            <a:spAutoFit/>
          </a:bodyPr>
          <a:lstStyle/>
          <a:p>
            <a:pPr defTabSz="1219106" fontAlgn="auto">
              <a:spcBef>
                <a:spcPts val="0"/>
              </a:spcBef>
              <a:spcAft>
                <a:spcPts val="0"/>
              </a:spcAft>
              <a:defRPr/>
            </a:pPr>
            <a:fld id="{56A6B436-326E-49BA-8D5E-C57C06137468}" type="slidenum">
              <a:rPr lang="en-US" sz="2133">
                <a:solidFill>
                  <a:srgbClr val="2D2D2D"/>
                </a:solidFill>
                <a:latin typeface="+mn-lt"/>
                <a:cs typeface="+mn-cs"/>
              </a:rPr>
              <a:pPr defTabSz="1219106" fontAlgn="auto">
                <a:spcBef>
                  <a:spcPts val="0"/>
                </a:spcBef>
                <a:spcAft>
                  <a:spcPts val="0"/>
                </a:spcAft>
                <a:defRPr/>
              </a:pPr>
              <a:t>‹Nº›</a:t>
            </a:fld>
            <a:endParaRPr lang="en-US" sz="2133" dirty="0">
              <a:solidFill>
                <a:srgbClr val="2D2D2D"/>
              </a:solidFill>
              <a:latin typeface="+mn-lt"/>
              <a:cs typeface="+mn-cs"/>
            </a:endParaRPr>
          </a:p>
        </p:txBody>
      </p:sp>
      <p:pic>
        <p:nvPicPr>
          <p:cNvPr id="5" name="Picture 5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rot="10800000" flipH="1" flipV="1">
            <a:off x="23025102" y="12945536"/>
            <a:ext cx="1041400" cy="419102"/>
          </a:xfrm>
          <a:prstGeom prst="rect">
            <a:avLst/>
          </a:prstGeom>
          <a:noFill/>
          <a:ln w="9525">
            <a:noFill/>
            <a:miter lim="800000"/>
            <a:headEnd/>
            <a:tailEnd/>
          </a:ln>
        </p:spPr>
      </p:pic>
    </p:spTree>
    <p:extLst>
      <p:ext uri="{BB962C8B-B14F-4D97-AF65-F5344CB8AC3E}">
        <p14:creationId xmlns:p14="http://schemas.microsoft.com/office/powerpoint/2010/main" val="7786767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5"/>
          <p:cNvSpPr>
            <a:spLocks noGrp="1" noChangeArrowheads="1"/>
          </p:cNvSpPr>
          <p:nvPr>
            <p:ph type="sldNum" idx="10"/>
          </p:nvPr>
        </p:nvSpPr>
        <p:spPr>
          <a:xfrm>
            <a:off x="17475202" y="12941542"/>
            <a:ext cx="5676902" cy="757533"/>
          </a:xfrm>
          <a:prstGeom prst="rect">
            <a:avLst/>
          </a:prstGeom>
          <a:ln/>
        </p:spPr>
        <p:txBody>
          <a:bodyPr/>
          <a:lstStyle>
            <a:lvl1pPr>
              <a:defRPr/>
            </a:lvl1pPr>
          </a:lstStyle>
          <a:p>
            <a:pPr>
              <a:defRPr/>
            </a:pPr>
            <a:fld id="{4A5BC9E5-1105-4800-8FA7-6AB7317EFBDE}" type="slidenum">
              <a:rPr lang="en-US" altLang="en-US"/>
              <a:pPr>
                <a:defRPr/>
              </a:pPr>
              <a:t>‹Nº›</a:t>
            </a:fld>
            <a:endParaRPr lang="en-US" altLang="en-US" dirty="0"/>
          </a:p>
        </p:txBody>
      </p:sp>
      <p:sp>
        <p:nvSpPr>
          <p:cNvPr id="3" name="TextBox 19"/>
          <p:cNvSpPr txBox="1"/>
          <p:nvPr userDrawn="1"/>
        </p:nvSpPr>
        <p:spPr>
          <a:xfrm>
            <a:off x="23355305" y="194735"/>
            <a:ext cx="821267" cy="902667"/>
          </a:xfrm>
          <a:prstGeom prst="rect">
            <a:avLst/>
          </a:prstGeom>
          <a:noFill/>
        </p:spPr>
        <p:txBody>
          <a:bodyPr lIns="243823" tIns="121912" rIns="243823" bIns="121912">
            <a:spAutoFit/>
          </a:bodyPr>
          <a:lstStyle/>
          <a:p>
            <a:pPr defTabSz="1219106" fontAlgn="auto">
              <a:spcBef>
                <a:spcPts val="0"/>
              </a:spcBef>
              <a:spcAft>
                <a:spcPts val="0"/>
              </a:spcAft>
              <a:defRPr/>
            </a:pPr>
            <a:fld id="{E7FE6820-FC41-43BD-9E16-9B1D54CDA910}" type="slidenum">
              <a:rPr lang="en-US" sz="2133">
                <a:solidFill>
                  <a:srgbClr val="2D2D2D"/>
                </a:solidFill>
                <a:latin typeface="+mn-lt"/>
                <a:cs typeface="+mn-cs"/>
              </a:rPr>
              <a:pPr defTabSz="1219106" fontAlgn="auto">
                <a:spcBef>
                  <a:spcPts val="0"/>
                </a:spcBef>
                <a:spcAft>
                  <a:spcPts val="0"/>
                </a:spcAft>
                <a:defRPr/>
              </a:pPr>
              <a:t>‹Nº›</a:t>
            </a:fld>
            <a:endParaRPr lang="en-US" sz="2133" dirty="0">
              <a:solidFill>
                <a:srgbClr val="2D2D2D"/>
              </a:solidFill>
              <a:latin typeface="+mn-lt"/>
              <a:cs typeface="+mn-cs"/>
            </a:endParaRPr>
          </a:p>
        </p:txBody>
      </p:sp>
    </p:spTree>
    <p:extLst>
      <p:ext uri="{BB962C8B-B14F-4D97-AF65-F5344CB8AC3E}">
        <p14:creationId xmlns:p14="http://schemas.microsoft.com/office/powerpoint/2010/main" val="21678634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terior texto a una columna">
    <p:spTree>
      <p:nvGrpSpPr>
        <p:cNvPr id="1" name=""/>
        <p:cNvGrpSpPr/>
        <p:nvPr/>
      </p:nvGrpSpPr>
      <p:grpSpPr>
        <a:xfrm>
          <a:off x="0" y="0"/>
          <a:ext cx="0" cy="0"/>
          <a:chOff x="0" y="0"/>
          <a:chExt cx="0" cy="0"/>
        </a:xfrm>
      </p:grpSpPr>
      <p:sp>
        <p:nvSpPr>
          <p:cNvPr id="7" name="Marcador de texto 6"/>
          <p:cNvSpPr>
            <a:spLocks noGrp="1"/>
          </p:cNvSpPr>
          <p:nvPr>
            <p:ph type="body" sz="quarter" idx="15"/>
          </p:nvPr>
        </p:nvSpPr>
        <p:spPr>
          <a:xfrm>
            <a:off x="1260000" y="3024000"/>
            <a:ext cx="21960000" cy="7963200"/>
          </a:xfrm>
          <a:prstGeom prst="rect">
            <a:avLst/>
          </a:prstGeom>
        </p:spPr>
        <p:txBody>
          <a:bodyPr/>
          <a:lstStyle>
            <a:lvl1pPr>
              <a:buClr>
                <a:schemeClr val="accent1"/>
              </a:buClr>
              <a:defRPr sz="3200">
                <a:solidFill>
                  <a:schemeClr val="tx1">
                    <a:lumMod val="75000"/>
                    <a:lumOff val="25000"/>
                  </a:schemeClr>
                </a:solidFill>
                <a:latin typeface="Arial" panose="020B0604020202020204" pitchFamily="34" charset="0"/>
                <a:cs typeface="Arial" panose="020B0604020202020204" pitchFamily="34" charset="0"/>
              </a:defRPr>
            </a:lvl1pPr>
            <a:lvl2pPr>
              <a:buClr>
                <a:schemeClr val="accent1"/>
              </a:buClr>
              <a:defRPr sz="3200">
                <a:solidFill>
                  <a:schemeClr val="tx1">
                    <a:lumMod val="75000"/>
                    <a:lumOff val="25000"/>
                  </a:schemeClr>
                </a:solidFill>
                <a:latin typeface="Arial" panose="020B0604020202020204" pitchFamily="34" charset="0"/>
                <a:cs typeface="Arial" panose="020B0604020202020204" pitchFamily="34" charset="0"/>
              </a:defRPr>
            </a:lvl2pPr>
            <a:lvl3pPr>
              <a:buClr>
                <a:schemeClr val="accent1"/>
              </a:buClr>
              <a:defRPr sz="3200">
                <a:solidFill>
                  <a:schemeClr val="tx1">
                    <a:lumMod val="75000"/>
                    <a:lumOff val="25000"/>
                  </a:schemeClr>
                </a:solidFill>
                <a:latin typeface="Arial" panose="020B0604020202020204" pitchFamily="34" charset="0"/>
                <a:cs typeface="Arial" panose="020B0604020202020204" pitchFamily="34" charset="0"/>
              </a:defRPr>
            </a:lvl3pPr>
            <a:lvl4pPr>
              <a:buClr>
                <a:schemeClr val="accent1"/>
              </a:buClr>
              <a:defRPr sz="3200">
                <a:solidFill>
                  <a:schemeClr val="tx1">
                    <a:lumMod val="75000"/>
                    <a:lumOff val="25000"/>
                  </a:schemeClr>
                </a:solidFill>
                <a:latin typeface="Arial" panose="020B0604020202020204" pitchFamily="34" charset="0"/>
                <a:cs typeface="Arial" panose="020B0604020202020204" pitchFamily="34" charset="0"/>
              </a:defRPr>
            </a:lvl4pPr>
            <a:lvl5pPr>
              <a:buClr>
                <a:schemeClr val="accent1"/>
              </a:buClr>
              <a:defRPr sz="3200">
                <a:solidFill>
                  <a:schemeClr val="tx1">
                    <a:lumMod val="75000"/>
                    <a:lumOff val="25000"/>
                  </a:schemeClr>
                </a:solidFill>
                <a:latin typeface="Arial" panose="020B0604020202020204" pitchFamily="34" charset="0"/>
                <a:cs typeface="Arial" panose="020B0604020202020204" pitchFamily="34" charset="0"/>
              </a:defRPr>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3" name="Marcador de texto 2"/>
          <p:cNvSpPr>
            <a:spLocks noGrp="1"/>
          </p:cNvSpPr>
          <p:nvPr>
            <p:ph type="body" sz="quarter" idx="13" hasCustomPrompt="1"/>
          </p:nvPr>
        </p:nvSpPr>
        <p:spPr>
          <a:xfrm>
            <a:off x="1245600" y="568800"/>
            <a:ext cx="21960000" cy="1036800"/>
          </a:xfrm>
          <a:prstGeom prst="rect">
            <a:avLst/>
          </a:prstGeom>
        </p:spPr>
        <p:txBody>
          <a:bodyPr/>
          <a:lstStyle>
            <a:lvl1pPr marL="0" indent="0">
              <a:buFontTx/>
              <a:buNone/>
              <a:defRPr sz="6400">
                <a:solidFill>
                  <a:schemeClr val="accent1"/>
                </a:solidFill>
                <a:latin typeface="Arial" panose="020B0604020202020204" pitchFamily="34" charset="0"/>
                <a:cs typeface="Arial" panose="020B0604020202020204" pitchFamily="34" charset="0"/>
              </a:defRPr>
            </a:lvl1pPr>
          </a:lstStyle>
          <a:p>
            <a:pPr lvl="0"/>
            <a:r>
              <a:rPr lang="es-ES"/>
              <a:t>Haga clic para insertar el título</a:t>
            </a:r>
          </a:p>
        </p:txBody>
      </p:sp>
      <p:sp>
        <p:nvSpPr>
          <p:cNvPr id="5" name="Marcador de texto 4"/>
          <p:cNvSpPr>
            <a:spLocks noGrp="1"/>
          </p:cNvSpPr>
          <p:nvPr>
            <p:ph type="body" sz="quarter" idx="14" hasCustomPrompt="1"/>
          </p:nvPr>
        </p:nvSpPr>
        <p:spPr>
          <a:xfrm>
            <a:off x="1245600" y="1728000"/>
            <a:ext cx="21960000" cy="741600"/>
          </a:xfrm>
          <a:prstGeom prst="rect">
            <a:avLst/>
          </a:prstGeom>
        </p:spPr>
        <p:txBody>
          <a:bodyPr/>
          <a:lstStyle>
            <a:lvl1pPr marL="0" indent="0">
              <a:buFontTx/>
              <a:buNone/>
              <a:defRPr sz="3600" i="1">
                <a:solidFill>
                  <a:schemeClr val="tx1">
                    <a:lumMod val="75000"/>
                    <a:lumOff val="25000"/>
                  </a:schemeClr>
                </a:solidFill>
                <a:latin typeface="Arial" panose="020B0604020202020204" pitchFamily="34" charset="0"/>
                <a:cs typeface="Arial" panose="020B0604020202020204" pitchFamily="34" charset="0"/>
              </a:defRPr>
            </a:lvl1pPr>
            <a:lvl2pPr marL="914400" indent="0">
              <a:buFontTx/>
              <a:buNone/>
              <a:defRPr sz="3600" i="1">
                <a:latin typeface="Arial" panose="020B0604020202020204" pitchFamily="34" charset="0"/>
                <a:cs typeface="Arial" panose="020B0604020202020204" pitchFamily="34" charset="0"/>
              </a:defRPr>
            </a:lvl2pPr>
            <a:lvl3pPr marL="1828800" indent="0">
              <a:buFontTx/>
              <a:buNone/>
              <a:defRPr sz="3600" i="1">
                <a:latin typeface="Arial" panose="020B0604020202020204" pitchFamily="34" charset="0"/>
                <a:cs typeface="Arial" panose="020B0604020202020204" pitchFamily="34" charset="0"/>
              </a:defRPr>
            </a:lvl3pPr>
            <a:lvl4pPr marL="2743200" indent="0">
              <a:buFontTx/>
              <a:buNone/>
              <a:defRPr sz="3600" i="1">
                <a:latin typeface="Arial" panose="020B0604020202020204" pitchFamily="34" charset="0"/>
                <a:cs typeface="Arial" panose="020B0604020202020204" pitchFamily="34" charset="0"/>
              </a:defRPr>
            </a:lvl4pPr>
            <a:lvl5pPr marL="3657600" indent="0">
              <a:buFontTx/>
              <a:buNone/>
              <a:defRPr sz="3600" i="1">
                <a:latin typeface="Arial" panose="020B0604020202020204" pitchFamily="34" charset="0"/>
                <a:cs typeface="Arial" panose="020B0604020202020204" pitchFamily="34" charset="0"/>
              </a:defRPr>
            </a:lvl5pPr>
          </a:lstStyle>
          <a:p>
            <a:pPr lvl="0"/>
            <a:r>
              <a:rPr lang="es-ES"/>
              <a:t>Haga clic para modificar el subtítulo</a:t>
            </a:r>
          </a:p>
        </p:txBody>
      </p:sp>
    </p:spTree>
    <p:extLst>
      <p:ext uri="{BB962C8B-B14F-4D97-AF65-F5344CB8AC3E}">
        <p14:creationId xmlns:p14="http://schemas.microsoft.com/office/powerpoint/2010/main" val="4656220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noFill/>
              </a:defRPr>
            </a:lvl1pPr>
          </a:lstStyle>
          <a:p>
            <a:endParaRPr lang="en-US"/>
          </a:p>
        </p:txBody>
      </p:sp>
      <p:sp>
        <p:nvSpPr>
          <p:cNvPr id="3" name="Marcador de texto 2"/>
          <p:cNvSpPr>
            <a:spLocks noGrp="1"/>
          </p:cNvSpPr>
          <p:nvPr>
            <p:ph type="body" sz="quarter" idx="13" hasCustomPrompt="1"/>
          </p:nvPr>
        </p:nvSpPr>
        <p:spPr>
          <a:xfrm>
            <a:off x="1245596" y="568800"/>
            <a:ext cx="21974404" cy="1036800"/>
          </a:xfrm>
          <a:prstGeom prst="rect">
            <a:avLst/>
          </a:prstGeom>
        </p:spPr>
        <p:txBody>
          <a:bodyPr>
            <a:normAutofit/>
          </a:bodyPr>
          <a:lstStyle>
            <a:lvl1pPr marL="0" indent="0">
              <a:buFontTx/>
              <a:buNone/>
              <a:defRPr sz="5600">
                <a:solidFill>
                  <a:schemeClr val="accent1"/>
                </a:solidFill>
                <a:latin typeface="Arial" panose="020B0604020202020204" pitchFamily="34" charset="0"/>
                <a:cs typeface="Arial" panose="020B0604020202020204" pitchFamily="34" charset="0"/>
              </a:defRPr>
            </a:lvl1pPr>
          </a:lstStyle>
          <a:p>
            <a:pPr lvl="0"/>
            <a:r>
              <a:rPr lang="en-US" noProof="0"/>
              <a:t>Click to change the tittle of the pattern</a:t>
            </a:r>
          </a:p>
        </p:txBody>
      </p:sp>
      <p:sp>
        <p:nvSpPr>
          <p:cNvPr id="4" name="Marcador de texto 4"/>
          <p:cNvSpPr>
            <a:spLocks noGrp="1"/>
          </p:cNvSpPr>
          <p:nvPr>
            <p:ph type="body" sz="quarter" idx="14" hasCustomPrompt="1"/>
          </p:nvPr>
        </p:nvSpPr>
        <p:spPr>
          <a:xfrm>
            <a:off x="1245600" y="1728000"/>
            <a:ext cx="18936000" cy="741600"/>
          </a:xfrm>
          <a:prstGeom prst="rect">
            <a:avLst/>
          </a:prstGeom>
        </p:spPr>
        <p:txBody>
          <a:bodyPr/>
          <a:lstStyle>
            <a:lvl1pPr marL="0" indent="0">
              <a:buFontTx/>
              <a:buNone/>
              <a:defRPr sz="3600" i="1">
                <a:solidFill>
                  <a:schemeClr val="tx1">
                    <a:lumMod val="75000"/>
                    <a:lumOff val="25000"/>
                  </a:schemeClr>
                </a:solidFill>
                <a:latin typeface="Arial" panose="020B0604020202020204" pitchFamily="34" charset="0"/>
                <a:cs typeface="Arial" panose="020B0604020202020204" pitchFamily="34" charset="0"/>
              </a:defRPr>
            </a:lvl1pPr>
            <a:lvl2pPr marL="914400" indent="0">
              <a:buFontTx/>
              <a:buNone/>
              <a:defRPr sz="3600" i="1">
                <a:latin typeface="Arial" panose="020B0604020202020204" pitchFamily="34" charset="0"/>
                <a:cs typeface="Arial" panose="020B0604020202020204" pitchFamily="34" charset="0"/>
              </a:defRPr>
            </a:lvl2pPr>
            <a:lvl3pPr marL="1828800" indent="0">
              <a:buFontTx/>
              <a:buNone/>
              <a:defRPr sz="3600" i="1">
                <a:latin typeface="Arial" panose="020B0604020202020204" pitchFamily="34" charset="0"/>
                <a:cs typeface="Arial" panose="020B0604020202020204" pitchFamily="34" charset="0"/>
              </a:defRPr>
            </a:lvl3pPr>
            <a:lvl4pPr marL="2743200" indent="0">
              <a:buFontTx/>
              <a:buNone/>
              <a:defRPr sz="3600" i="1">
                <a:latin typeface="Arial" panose="020B0604020202020204" pitchFamily="34" charset="0"/>
                <a:cs typeface="Arial" panose="020B0604020202020204" pitchFamily="34" charset="0"/>
              </a:defRPr>
            </a:lvl4pPr>
            <a:lvl5pPr marL="3657600" indent="0">
              <a:buFontTx/>
              <a:buNone/>
              <a:defRPr sz="3600" i="1">
                <a:latin typeface="Arial" panose="020B0604020202020204" pitchFamily="34" charset="0"/>
                <a:cs typeface="Arial" panose="020B0604020202020204" pitchFamily="34" charset="0"/>
              </a:defRPr>
            </a:lvl5pPr>
          </a:lstStyle>
          <a:p>
            <a:pPr lvl="0"/>
            <a:r>
              <a:rPr lang="en-US" noProof="0"/>
              <a:t>Click to change the text of the pattern</a:t>
            </a:r>
          </a:p>
        </p:txBody>
      </p:sp>
    </p:spTree>
    <p:extLst>
      <p:ext uri="{BB962C8B-B14F-4D97-AF65-F5344CB8AC3E}">
        <p14:creationId xmlns:p14="http://schemas.microsoft.com/office/powerpoint/2010/main" val="10681030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pPr>
              <a:defRPr/>
            </a:pPr>
            <a:fld id="{121E71FC-2840-4428-98FE-B668BE0B7638}" type="slidenum">
              <a:rPr lang="en-US"/>
              <a:pPr>
                <a:defRPr/>
              </a:pPr>
              <a:t>‹Nº›</a:t>
            </a:fld>
            <a:endParaRPr lang="en-US" dirty="0"/>
          </a:p>
        </p:txBody>
      </p:sp>
      <p:sp>
        <p:nvSpPr>
          <p:cNvPr id="3" name="Footer Placeholder 2"/>
          <p:cNvSpPr>
            <a:spLocks noGrp="1"/>
          </p:cNvSpPr>
          <p:nvPr>
            <p:ph type="ftr" sz="quarter" idx="11"/>
          </p:nvPr>
        </p:nvSpPr>
        <p:spPr/>
        <p:txBody>
          <a:bodyPr/>
          <a:lstStyle>
            <a:lvl1pPr>
              <a:defRPr/>
            </a:lvl1pPr>
          </a:lstStyle>
          <a:p>
            <a:pPr>
              <a:defRPr/>
            </a:pPr>
            <a:r>
              <a:rPr lang="en-US" dirty="0"/>
              <a:t>IBM Confidential</a:t>
            </a:r>
          </a:p>
        </p:txBody>
      </p:sp>
      <p:sp>
        <p:nvSpPr>
          <p:cNvPr id="4" name="Date Placeholder 3"/>
          <p:cNvSpPr>
            <a:spLocks noGrp="1"/>
          </p:cNvSpPr>
          <p:nvPr>
            <p:ph type="dt" sz="half" idx="12"/>
          </p:nvPr>
        </p:nvSpPr>
        <p:spPr/>
        <p:txBody>
          <a:bodyPr/>
          <a:lstStyle>
            <a:lvl1pPr>
              <a:defRPr/>
            </a:lvl1pPr>
          </a:lstStyle>
          <a:p>
            <a:pPr>
              <a:defRPr/>
            </a:pPr>
            <a:fld id="{2EC20929-2A14-4C51-89E8-3785E9606BA3}" type="datetimeFigureOut">
              <a:rPr lang="en-US"/>
              <a:pPr>
                <a:defRPr/>
              </a:pPr>
              <a:t>7/14/2020</a:t>
            </a:fld>
            <a:endParaRPr lang="en-US" dirty="0"/>
          </a:p>
        </p:txBody>
      </p:sp>
    </p:spTree>
    <p:extLst>
      <p:ext uri="{BB962C8B-B14F-4D97-AF65-F5344CB8AC3E}">
        <p14:creationId xmlns:p14="http://schemas.microsoft.com/office/powerpoint/2010/main" val="24852824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x" preserve="1">
  <p:cSld name="Dark Blank">
    <p:spTree>
      <p:nvGrpSpPr>
        <p:cNvPr id="1" name=""/>
        <p:cNvGrpSpPr/>
        <p:nvPr/>
      </p:nvGrpSpPr>
      <p:grpSpPr>
        <a:xfrm>
          <a:off x="0" y="0"/>
          <a:ext cx="0" cy="0"/>
          <a:chOff x="0" y="0"/>
          <a:chExt cx="0" cy="0"/>
        </a:xfrm>
      </p:grpSpPr>
      <p:sp>
        <p:nvSpPr>
          <p:cNvPr id="335" name="Rectangle 14"/>
          <p:cNvSpPr/>
          <p:nvPr/>
        </p:nvSpPr>
        <p:spPr>
          <a:xfrm>
            <a:off x="-4" y="13067833"/>
            <a:ext cx="24384008" cy="648167"/>
          </a:xfrm>
          <a:prstGeom prst="rect">
            <a:avLst/>
          </a:prstGeom>
          <a:solidFill>
            <a:srgbClr val="FFFFFF"/>
          </a:solidFill>
          <a:ln w="12700">
            <a:miter lim="400000"/>
          </a:ln>
        </p:spPr>
        <p:txBody>
          <a:bodyPr lIns="91437" tIns="91437" rIns="91437" bIns="91437" anchor="ctr"/>
          <a:lstStyle/>
          <a:p>
            <a:pPr algn="ctr" eaLnBrk="1" fontAlgn="auto">
              <a:spcBef>
                <a:spcPts val="0"/>
              </a:spcBef>
              <a:spcAft>
                <a:spcPts val="0"/>
              </a:spcAft>
              <a:defRPr>
                <a:solidFill>
                  <a:srgbClr val="FFFFFF"/>
                </a:solidFill>
                <a:latin typeface="+mn-lt"/>
                <a:ea typeface="+mn-ea"/>
                <a:cs typeface="+mn-cs"/>
                <a:sym typeface="Arial"/>
              </a:defRPr>
            </a:pPr>
            <a:endParaRPr sz="3600" kern="0">
              <a:solidFill>
                <a:srgbClr val="FFFFFF"/>
              </a:solidFill>
              <a:latin typeface="Arial"/>
              <a:ea typeface=""/>
              <a:cs typeface="Arial"/>
              <a:sym typeface="Arial"/>
            </a:endParaRPr>
          </a:p>
        </p:txBody>
      </p:sp>
      <p:pic>
        <p:nvPicPr>
          <p:cNvPr id="336" name="ibm_logo_dark blue-01.png" descr="ibm_logo_dark blue-01.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5400000">
            <a:off x="715295" y="12898621"/>
            <a:ext cx="381003" cy="1009722"/>
          </a:xfrm>
          <a:prstGeom prst="rect">
            <a:avLst/>
          </a:prstGeom>
          <a:ln w="12700">
            <a:miter lim="400000"/>
          </a:ln>
        </p:spPr>
      </p:pic>
      <p:sp>
        <p:nvSpPr>
          <p:cNvPr id="339" name="Slide title"/>
          <p:cNvSpPr txBox="1">
            <a:spLocks noGrp="1"/>
          </p:cNvSpPr>
          <p:nvPr>
            <p:ph type="body" sz="quarter" idx="13"/>
          </p:nvPr>
        </p:nvSpPr>
        <p:spPr>
          <a:xfrm>
            <a:off x="508002" y="508003"/>
            <a:ext cx="23622002" cy="1071418"/>
          </a:xfrm>
          <a:prstGeom prst="rect">
            <a:avLst/>
          </a:prstGeom>
        </p:spPr>
        <p:txBody>
          <a:bodyPr lIns="45718" tIns="45718" rIns="45718" bIns="45718"/>
          <a:lstStyle>
            <a:lvl1pPr defTabSz="1554511">
              <a:lnSpc>
                <a:spcPct val="90000"/>
              </a:lnSpc>
              <a:defRPr sz="5600" b="0">
                <a:solidFill>
                  <a:srgbClr val="0F133E"/>
                </a:solidFill>
              </a:defRPr>
            </a:lvl1pPr>
          </a:lstStyle>
          <a:p>
            <a:r>
              <a:t>Slide title</a:t>
            </a:r>
          </a:p>
        </p:txBody>
      </p:sp>
      <p:sp>
        <p:nvSpPr>
          <p:cNvPr id="8" name="Rectangle 7"/>
          <p:cNvSpPr/>
          <p:nvPr userDrawn="1"/>
        </p:nvSpPr>
        <p:spPr>
          <a:xfrm>
            <a:off x="1473401" y="13245977"/>
            <a:ext cx="6831172" cy="341632"/>
          </a:xfrm>
          <a:prstGeom prst="rect">
            <a:avLst/>
          </a:prstGeom>
        </p:spPr>
        <p:txBody>
          <a:bodyPr wrap="square" anchor="ctr">
            <a:spAutoFit/>
          </a:bodyPr>
          <a:lstStyle/>
          <a:p>
            <a:pPr marL="0" marR="0" indent="0" algn="l" defTabSz="1828837" rtl="0" eaLnBrk="1" fontAlgn="base" latinLnBrk="0" hangingPunct="1">
              <a:lnSpc>
                <a:spcPct val="90000"/>
              </a:lnSpc>
              <a:spcBef>
                <a:spcPct val="0"/>
              </a:spcBef>
              <a:spcAft>
                <a:spcPct val="0"/>
              </a:spcAft>
              <a:buClrTx/>
              <a:buSzTx/>
              <a:buFontTx/>
              <a:buNone/>
              <a:tabLst/>
              <a:defRPr/>
            </a:pPr>
            <a:r>
              <a:rPr lang="en-US" altLang="en-US" sz="1800" b="0" i="0">
                <a:solidFill>
                  <a:schemeClr val="tx1"/>
                </a:solidFill>
                <a:latin typeface="IBM Plex Sans Regular" charset="0"/>
                <a:ea typeface="IBM Plex Sans Regular" charset="0"/>
                <a:cs typeface="IBM Plex Sans Regular" charset="0"/>
              </a:rPr>
              <a:t>© 2018</a:t>
            </a:r>
            <a:r>
              <a:rPr lang="en-US" altLang="en-US" sz="1800" b="0" i="0" baseline="0">
                <a:solidFill>
                  <a:schemeClr val="tx1"/>
                </a:solidFill>
                <a:latin typeface="IBM Plex Sans Regular" charset="0"/>
                <a:ea typeface="IBM Plex Sans Regular" charset="0"/>
                <a:cs typeface="IBM Plex Sans Regular" charset="0"/>
              </a:rPr>
              <a:t>  </a:t>
            </a:r>
            <a:r>
              <a:rPr lang="en-US" altLang="en-US" sz="1800" b="0" i="0">
                <a:solidFill>
                  <a:schemeClr val="tx1"/>
                </a:solidFill>
                <a:latin typeface="IBM Plex Sans Regular" charset="0"/>
                <a:ea typeface="IBM Plex Sans Regular" charset="0"/>
                <a:cs typeface="IBM Plex Sans Regular" charset="0"/>
              </a:rPr>
              <a:t>IBM Corporation – OneCloud</a:t>
            </a:r>
          </a:p>
        </p:txBody>
      </p:sp>
      <p:sp>
        <p:nvSpPr>
          <p:cNvPr id="9" name="Rectangle 6"/>
          <p:cNvSpPr>
            <a:spLocks noChangeArrowheads="1"/>
          </p:cNvSpPr>
          <p:nvPr userDrawn="1"/>
        </p:nvSpPr>
        <p:spPr bwMode="auto">
          <a:xfrm>
            <a:off x="23071017" y="13065502"/>
            <a:ext cx="1302820" cy="6035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77" tIns="91438" rIns="182877" bIns="91438" anchor="ctr"/>
          <a:lstStyle>
            <a:lvl1pPr eaLnBrk="0" hangingPunct="0">
              <a:defRPr baseline="-25000">
                <a:solidFill>
                  <a:schemeClr val="tx1"/>
                </a:solidFill>
                <a:latin typeface="Arial" panose="020B0604020202020204" pitchFamily="34" charset="0"/>
                <a:ea typeface="MS PGothic" panose="020B0600070205080204" pitchFamily="34" charset="-128"/>
              </a:defRPr>
            </a:lvl1pPr>
            <a:lvl2pPr marL="742950" indent="-285750" eaLnBrk="0" hangingPunct="0">
              <a:defRPr baseline="-25000">
                <a:solidFill>
                  <a:schemeClr val="tx1"/>
                </a:solidFill>
                <a:latin typeface="Arial" panose="020B0604020202020204" pitchFamily="34" charset="0"/>
                <a:ea typeface="MS PGothic" panose="020B0600070205080204" pitchFamily="34" charset="-128"/>
              </a:defRPr>
            </a:lvl2pPr>
            <a:lvl3pPr marL="1143000" indent="-228600" eaLnBrk="0" hangingPunct="0">
              <a:defRPr baseline="-25000">
                <a:solidFill>
                  <a:schemeClr val="tx1"/>
                </a:solidFill>
                <a:latin typeface="Arial" panose="020B0604020202020204" pitchFamily="34" charset="0"/>
                <a:ea typeface="MS PGothic" panose="020B0600070205080204" pitchFamily="34" charset="-128"/>
              </a:defRPr>
            </a:lvl3pPr>
            <a:lvl4pPr marL="1600200" indent="-228600" eaLnBrk="0" hangingPunct="0">
              <a:defRPr baseline="-25000">
                <a:solidFill>
                  <a:schemeClr val="tx1"/>
                </a:solidFill>
                <a:latin typeface="Arial" panose="020B0604020202020204" pitchFamily="34" charset="0"/>
                <a:ea typeface="MS PGothic" panose="020B0600070205080204" pitchFamily="34" charset="-128"/>
              </a:defRPr>
            </a:lvl4pPr>
            <a:lvl5pPr marL="2057400" indent="-228600" eaLnBrk="0" hangingPunct="0">
              <a:defRPr baseline="-25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9pPr>
          </a:lstStyle>
          <a:p>
            <a:pPr algn="ctr" eaLnBrk="1" hangingPunct="1">
              <a:defRPr/>
            </a:pPr>
            <a:fld id="{8995AC45-5A92-44C2-B9A7-BA7BB3D600ED}" type="slidenum">
              <a:rPr lang="en-US" altLang="en-US" sz="2000" b="0" i="0" baseline="0" smtClean="0">
                <a:solidFill>
                  <a:schemeClr val="tx1"/>
                </a:solidFill>
                <a:latin typeface="IBM Plex Sans Regular" charset="0"/>
                <a:ea typeface="IBM Plex Sans Regular" charset="0"/>
                <a:cs typeface="+mn-cs"/>
              </a:rPr>
              <a:pPr algn="ctr" eaLnBrk="1" hangingPunct="1">
                <a:defRPr/>
              </a:pPr>
              <a:t>‹Nº›</a:t>
            </a:fld>
            <a:endParaRPr lang="en-US" altLang="en-US" sz="2000" b="0" i="0" baseline="0">
              <a:solidFill>
                <a:schemeClr val="tx1"/>
              </a:solidFill>
              <a:latin typeface="IBM Plex Sans Regular" charset="0"/>
              <a:ea typeface="IBM Plex Sans Regular" charset="0"/>
              <a:cs typeface="+mn-cs"/>
            </a:endParaRPr>
          </a:p>
        </p:txBody>
      </p:sp>
    </p:spTree>
    <p:extLst>
      <p:ext uri="{BB962C8B-B14F-4D97-AF65-F5344CB8AC3E}">
        <p14:creationId xmlns:p14="http://schemas.microsoft.com/office/powerpoint/2010/main" val="4111123701"/>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x" preserve="1">
  <p:cSld name="2_Dark Blank">
    <p:spTree>
      <p:nvGrpSpPr>
        <p:cNvPr id="1" name=""/>
        <p:cNvGrpSpPr/>
        <p:nvPr/>
      </p:nvGrpSpPr>
      <p:grpSpPr>
        <a:xfrm>
          <a:off x="0" y="0"/>
          <a:ext cx="0" cy="0"/>
          <a:chOff x="0" y="0"/>
          <a:chExt cx="0" cy="0"/>
        </a:xfrm>
      </p:grpSpPr>
      <p:sp>
        <p:nvSpPr>
          <p:cNvPr id="335" name="Rectangle 14"/>
          <p:cNvSpPr/>
          <p:nvPr/>
        </p:nvSpPr>
        <p:spPr>
          <a:xfrm>
            <a:off x="-4" y="13067833"/>
            <a:ext cx="24384008" cy="648167"/>
          </a:xfrm>
          <a:prstGeom prst="rect">
            <a:avLst/>
          </a:prstGeom>
          <a:solidFill>
            <a:srgbClr val="FFFFFF"/>
          </a:solidFill>
          <a:ln w="12700">
            <a:miter lim="400000"/>
          </a:ln>
        </p:spPr>
        <p:txBody>
          <a:bodyPr lIns="91437" tIns="91437" rIns="91437" bIns="91437" anchor="ctr"/>
          <a:lstStyle/>
          <a:p>
            <a:pPr algn="ctr" eaLnBrk="1" fontAlgn="auto">
              <a:spcBef>
                <a:spcPts val="0"/>
              </a:spcBef>
              <a:spcAft>
                <a:spcPts val="0"/>
              </a:spcAft>
              <a:defRPr>
                <a:solidFill>
                  <a:srgbClr val="FFFFFF"/>
                </a:solidFill>
                <a:latin typeface="+mn-lt"/>
                <a:ea typeface="+mn-ea"/>
                <a:cs typeface="+mn-cs"/>
                <a:sym typeface="Arial"/>
              </a:defRPr>
            </a:pPr>
            <a:endParaRPr sz="3600" kern="0">
              <a:solidFill>
                <a:srgbClr val="FFFFFF"/>
              </a:solidFill>
              <a:latin typeface="Arial"/>
              <a:ea typeface=""/>
              <a:cs typeface="Arial"/>
              <a:sym typeface="Arial"/>
            </a:endParaRPr>
          </a:p>
        </p:txBody>
      </p:sp>
      <p:pic>
        <p:nvPicPr>
          <p:cNvPr id="336" name="ibm_logo_dark blue-01.png" descr="ibm_logo_dark blue-01.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5400000">
            <a:off x="715295" y="12898621"/>
            <a:ext cx="381003" cy="1009722"/>
          </a:xfrm>
          <a:prstGeom prst="rect">
            <a:avLst/>
          </a:prstGeom>
          <a:ln w="12700">
            <a:miter lim="400000"/>
          </a:ln>
        </p:spPr>
      </p:pic>
      <p:sp>
        <p:nvSpPr>
          <p:cNvPr id="337" name="Line"/>
          <p:cNvSpPr/>
          <p:nvPr/>
        </p:nvSpPr>
        <p:spPr>
          <a:xfrm>
            <a:off x="-2" y="13002840"/>
            <a:ext cx="24384007" cy="0"/>
          </a:xfrm>
          <a:prstGeom prst="line">
            <a:avLst/>
          </a:prstGeom>
          <a:ln w="25400">
            <a:solidFill>
              <a:schemeClr val="accent5"/>
            </a:solidFill>
            <a:miter/>
          </a:ln>
        </p:spPr>
        <p:txBody>
          <a:bodyPr lIns="91437" tIns="91437" rIns="91437" bIns="91437"/>
          <a:lstStyle/>
          <a:p>
            <a:pPr eaLnBrk="1" fontAlgn="auto">
              <a:spcBef>
                <a:spcPts val="0"/>
              </a:spcBef>
              <a:spcAft>
                <a:spcPts val="0"/>
              </a:spcAft>
              <a:defRPr/>
            </a:pPr>
            <a:endParaRPr sz="3600" kern="0">
              <a:solidFill>
                <a:srgbClr val="000000"/>
              </a:solidFill>
              <a:latin typeface="Calibri"/>
              <a:ea typeface=""/>
              <a:sym typeface="Calibri"/>
            </a:endParaRPr>
          </a:p>
        </p:txBody>
      </p:sp>
      <p:sp>
        <p:nvSpPr>
          <p:cNvPr id="339" name="Slide title"/>
          <p:cNvSpPr txBox="1">
            <a:spLocks noGrp="1"/>
          </p:cNvSpPr>
          <p:nvPr>
            <p:ph type="body" sz="quarter" idx="13"/>
          </p:nvPr>
        </p:nvSpPr>
        <p:spPr>
          <a:xfrm>
            <a:off x="773452" y="4767486"/>
            <a:ext cx="9326657" cy="1071418"/>
          </a:xfrm>
          <a:prstGeom prst="rect">
            <a:avLst/>
          </a:prstGeom>
        </p:spPr>
        <p:txBody>
          <a:bodyPr lIns="45718" tIns="45718" rIns="45718" bIns="45718"/>
          <a:lstStyle>
            <a:lvl1pPr defTabSz="1554511">
              <a:lnSpc>
                <a:spcPct val="90000"/>
              </a:lnSpc>
              <a:defRPr sz="5600" b="0">
                <a:solidFill>
                  <a:srgbClr val="0F133E"/>
                </a:solidFill>
              </a:defRPr>
            </a:lvl1pPr>
          </a:lstStyle>
          <a:p>
            <a:r>
              <a:t>Slide title</a:t>
            </a:r>
          </a:p>
        </p:txBody>
      </p:sp>
      <p:sp>
        <p:nvSpPr>
          <p:cNvPr id="8" name="Rectangle 7"/>
          <p:cNvSpPr/>
          <p:nvPr userDrawn="1"/>
        </p:nvSpPr>
        <p:spPr>
          <a:xfrm>
            <a:off x="1473401" y="13245977"/>
            <a:ext cx="6831172" cy="341632"/>
          </a:xfrm>
          <a:prstGeom prst="rect">
            <a:avLst/>
          </a:prstGeom>
        </p:spPr>
        <p:txBody>
          <a:bodyPr wrap="square" anchor="ctr">
            <a:spAutoFit/>
          </a:bodyPr>
          <a:lstStyle/>
          <a:p>
            <a:pPr marL="0" marR="0" indent="0" algn="l" defTabSz="1828837" rtl="0" eaLnBrk="1" fontAlgn="base" latinLnBrk="0" hangingPunct="1">
              <a:lnSpc>
                <a:spcPct val="90000"/>
              </a:lnSpc>
              <a:spcBef>
                <a:spcPct val="0"/>
              </a:spcBef>
              <a:spcAft>
                <a:spcPct val="0"/>
              </a:spcAft>
              <a:buClrTx/>
              <a:buSzTx/>
              <a:buFontTx/>
              <a:buNone/>
              <a:tabLst/>
              <a:defRPr/>
            </a:pPr>
            <a:r>
              <a:rPr lang="en-US" altLang="en-US" sz="1800" b="0" i="0">
                <a:solidFill>
                  <a:schemeClr val="tx1"/>
                </a:solidFill>
                <a:latin typeface="IBM Plex Sans Regular" charset="0"/>
                <a:ea typeface="IBM Plex Sans Regular" charset="0"/>
                <a:cs typeface="IBM Plex Sans Regular" charset="0"/>
              </a:rPr>
              <a:t>© 2018</a:t>
            </a:r>
            <a:r>
              <a:rPr lang="en-US" altLang="en-US" sz="1800" b="0" i="0" baseline="0">
                <a:solidFill>
                  <a:schemeClr val="tx1"/>
                </a:solidFill>
                <a:latin typeface="IBM Plex Sans Regular" charset="0"/>
                <a:ea typeface="IBM Plex Sans Regular" charset="0"/>
                <a:cs typeface="IBM Plex Sans Regular" charset="0"/>
              </a:rPr>
              <a:t>  </a:t>
            </a:r>
            <a:r>
              <a:rPr lang="en-US" altLang="en-US" sz="1800" b="0" i="0">
                <a:solidFill>
                  <a:schemeClr val="tx1"/>
                </a:solidFill>
                <a:latin typeface="IBM Plex Sans Regular" charset="0"/>
                <a:ea typeface="IBM Plex Sans Regular" charset="0"/>
                <a:cs typeface="IBM Plex Sans Regular" charset="0"/>
              </a:rPr>
              <a:t>IBM Corporation – OneCloud</a:t>
            </a:r>
          </a:p>
        </p:txBody>
      </p:sp>
      <p:sp>
        <p:nvSpPr>
          <p:cNvPr id="9" name="Rectangle 6"/>
          <p:cNvSpPr>
            <a:spLocks noChangeArrowheads="1"/>
          </p:cNvSpPr>
          <p:nvPr userDrawn="1"/>
        </p:nvSpPr>
        <p:spPr bwMode="auto">
          <a:xfrm>
            <a:off x="23071017" y="13065502"/>
            <a:ext cx="1302820" cy="6035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77" tIns="91438" rIns="182877" bIns="91438" anchor="ctr"/>
          <a:lstStyle>
            <a:lvl1pPr eaLnBrk="0" hangingPunct="0">
              <a:defRPr baseline="-25000">
                <a:solidFill>
                  <a:schemeClr val="tx1"/>
                </a:solidFill>
                <a:latin typeface="Arial" panose="020B0604020202020204" pitchFamily="34" charset="0"/>
                <a:ea typeface="MS PGothic" panose="020B0600070205080204" pitchFamily="34" charset="-128"/>
              </a:defRPr>
            </a:lvl1pPr>
            <a:lvl2pPr marL="742950" indent="-285750" eaLnBrk="0" hangingPunct="0">
              <a:defRPr baseline="-25000">
                <a:solidFill>
                  <a:schemeClr val="tx1"/>
                </a:solidFill>
                <a:latin typeface="Arial" panose="020B0604020202020204" pitchFamily="34" charset="0"/>
                <a:ea typeface="MS PGothic" panose="020B0600070205080204" pitchFamily="34" charset="-128"/>
              </a:defRPr>
            </a:lvl2pPr>
            <a:lvl3pPr marL="1143000" indent="-228600" eaLnBrk="0" hangingPunct="0">
              <a:defRPr baseline="-25000">
                <a:solidFill>
                  <a:schemeClr val="tx1"/>
                </a:solidFill>
                <a:latin typeface="Arial" panose="020B0604020202020204" pitchFamily="34" charset="0"/>
                <a:ea typeface="MS PGothic" panose="020B0600070205080204" pitchFamily="34" charset="-128"/>
              </a:defRPr>
            </a:lvl3pPr>
            <a:lvl4pPr marL="1600200" indent="-228600" eaLnBrk="0" hangingPunct="0">
              <a:defRPr baseline="-25000">
                <a:solidFill>
                  <a:schemeClr val="tx1"/>
                </a:solidFill>
                <a:latin typeface="Arial" panose="020B0604020202020204" pitchFamily="34" charset="0"/>
                <a:ea typeface="MS PGothic" panose="020B0600070205080204" pitchFamily="34" charset="-128"/>
              </a:defRPr>
            </a:lvl4pPr>
            <a:lvl5pPr marL="2057400" indent="-228600" eaLnBrk="0" hangingPunct="0">
              <a:defRPr baseline="-25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9pPr>
          </a:lstStyle>
          <a:p>
            <a:pPr algn="ctr" eaLnBrk="1" hangingPunct="1">
              <a:defRPr/>
            </a:pPr>
            <a:fld id="{8995AC45-5A92-44C2-B9A7-BA7BB3D600ED}" type="slidenum">
              <a:rPr lang="en-US" altLang="en-US" sz="2000" b="0" i="0" baseline="0" smtClean="0">
                <a:solidFill>
                  <a:schemeClr val="tx1"/>
                </a:solidFill>
                <a:latin typeface="IBM Plex Sans Regular" charset="0"/>
                <a:ea typeface="IBM Plex Sans Regular" charset="0"/>
                <a:cs typeface="+mn-cs"/>
              </a:rPr>
              <a:pPr algn="ctr" eaLnBrk="1" hangingPunct="1">
                <a:defRPr/>
              </a:pPr>
              <a:t>‹Nº›</a:t>
            </a:fld>
            <a:endParaRPr lang="en-US" altLang="en-US" sz="2000" b="0" i="0" baseline="0">
              <a:solidFill>
                <a:schemeClr val="tx1"/>
              </a:solidFill>
              <a:latin typeface="IBM Plex Sans Regular" charset="0"/>
              <a:ea typeface="IBM Plex Sans Regular" charset="0"/>
              <a:cs typeface="+mn-cs"/>
            </a:endParaRPr>
          </a:p>
        </p:txBody>
      </p:sp>
    </p:spTree>
    <p:extLst>
      <p:ext uri="{BB962C8B-B14F-4D97-AF65-F5344CB8AC3E}">
        <p14:creationId xmlns:p14="http://schemas.microsoft.com/office/powerpoint/2010/main" val="1051803290"/>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x" preserve="1">
  <p:cSld name="1_Dark Blank">
    <p:spTree>
      <p:nvGrpSpPr>
        <p:cNvPr id="1" name=""/>
        <p:cNvGrpSpPr/>
        <p:nvPr/>
      </p:nvGrpSpPr>
      <p:grpSpPr>
        <a:xfrm>
          <a:off x="0" y="0"/>
          <a:ext cx="0" cy="0"/>
          <a:chOff x="0" y="0"/>
          <a:chExt cx="0" cy="0"/>
        </a:xfrm>
      </p:grpSpPr>
      <p:sp>
        <p:nvSpPr>
          <p:cNvPr id="335" name="Rectangle 14"/>
          <p:cNvSpPr/>
          <p:nvPr/>
        </p:nvSpPr>
        <p:spPr>
          <a:xfrm>
            <a:off x="-4" y="12827000"/>
            <a:ext cx="24384008" cy="889000"/>
          </a:xfrm>
          <a:prstGeom prst="rect">
            <a:avLst/>
          </a:prstGeom>
          <a:solidFill>
            <a:srgbClr val="FFFFFF"/>
          </a:solidFill>
          <a:ln w="12700">
            <a:miter lim="400000"/>
          </a:ln>
        </p:spPr>
        <p:txBody>
          <a:bodyPr lIns="91437" tIns="91437" rIns="91437" bIns="91437" anchor="ctr"/>
          <a:lstStyle/>
          <a:p>
            <a:pPr algn="ctr" eaLnBrk="1" fontAlgn="auto">
              <a:spcBef>
                <a:spcPts val="0"/>
              </a:spcBef>
              <a:spcAft>
                <a:spcPts val="0"/>
              </a:spcAft>
              <a:defRPr>
                <a:solidFill>
                  <a:srgbClr val="FFFFFF"/>
                </a:solidFill>
                <a:latin typeface="+mn-lt"/>
                <a:ea typeface="+mn-ea"/>
                <a:cs typeface="+mn-cs"/>
                <a:sym typeface="Arial"/>
              </a:defRPr>
            </a:pPr>
            <a:endParaRPr sz="3600" kern="0">
              <a:solidFill>
                <a:srgbClr val="FFFFFF"/>
              </a:solidFill>
              <a:latin typeface="Arial"/>
              <a:ea typeface=""/>
              <a:cs typeface="Arial"/>
              <a:sym typeface="Arial"/>
            </a:endParaRPr>
          </a:p>
        </p:txBody>
      </p:sp>
      <p:pic>
        <p:nvPicPr>
          <p:cNvPr id="336" name="ibm_logo_dark blue-01.png" descr="ibm_logo_dark blue-01.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5400000">
            <a:off x="715295" y="12766642"/>
            <a:ext cx="381003" cy="1009722"/>
          </a:xfrm>
          <a:prstGeom prst="rect">
            <a:avLst/>
          </a:prstGeom>
          <a:ln w="12700">
            <a:miter lim="400000"/>
          </a:ln>
        </p:spPr>
      </p:pic>
      <p:sp>
        <p:nvSpPr>
          <p:cNvPr id="337" name="Line"/>
          <p:cNvSpPr/>
          <p:nvPr/>
        </p:nvSpPr>
        <p:spPr>
          <a:xfrm>
            <a:off x="-2" y="12814300"/>
            <a:ext cx="24384007" cy="0"/>
          </a:xfrm>
          <a:prstGeom prst="line">
            <a:avLst/>
          </a:prstGeom>
          <a:ln w="25400">
            <a:solidFill>
              <a:schemeClr val="accent5"/>
            </a:solidFill>
            <a:miter/>
          </a:ln>
        </p:spPr>
        <p:txBody>
          <a:bodyPr lIns="91437" tIns="91437" rIns="91437" bIns="91437"/>
          <a:lstStyle/>
          <a:p>
            <a:pPr eaLnBrk="1" fontAlgn="auto">
              <a:spcBef>
                <a:spcPts val="0"/>
              </a:spcBef>
              <a:spcAft>
                <a:spcPts val="0"/>
              </a:spcAft>
              <a:defRPr/>
            </a:pPr>
            <a:endParaRPr sz="3600" kern="0">
              <a:solidFill>
                <a:srgbClr val="000000"/>
              </a:solidFill>
              <a:latin typeface="Calibri"/>
              <a:ea typeface=""/>
              <a:sym typeface="Calibri"/>
            </a:endParaRPr>
          </a:p>
        </p:txBody>
      </p:sp>
      <p:sp>
        <p:nvSpPr>
          <p:cNvPr id="339" name="Slide title"/>
          <p:cNvSpPr txBox="1">
            <a:spLocks noGrp="1"/>
          </p:cNvSpPr>
          <p:nvPr>
            <p:ph type="body" sz="quarter" idx="13"/>
          </p:nvPr>
        </p:nvSpPr>
        <p:spPr>
          <a:xfrm>
            <a:off x="508002" y="5502034"/>
            <a:ext cx="23622002" cy="1071418"/>
          </a:xfrm>
          <a:prstGeom prst="rect">
            <a:avLst/>
          </a:prstGeom>
        </p:spPr>
        <p:txBody>
          <a:bodyPr lIns="45718" tIns="45718" rIns="45718" bIns="45718"/>
          <a:lstStyle>
            <a:lvl1pPr defTabSz="1554511">
              <a:lnSpc>
                <a:spcPct val="90000"/>
              </a:lnSpc>
              <a:defRPr sz="5600" b="0">
                <a:solidFill>
                  <a:srgbClr val="0F133E"/>
                </a:solidFill>
              </a:defRPr>
            </a:lvl1pPr>
          </a:lstStyle>
          <a:p>
            <a:r>
              <a:t>Slide title</a:t>
            </a:r>
          </a:p>
        </p:txBody>
      </p:sp>
      <p:sp>
        <p:nvSpPr>
          <p:cNvPr id="8" name="Rectangle 7"/>
          <p:cNvSpPr/>
          <p:nvPr userDrawn="1"/>
        </p:nvSpPr>
        <p:spPr>
          <a:xfrm>
            <a:off x="1473401" y="13113999"/>
            <a:ext cx="6831172" cy="341632"/>
          </a:xfrm>
          <a:prstGeom prst="rect">
            <a:avLst/>
          </a:prstGeom>
        </p:spPr>
        <p:txBody>
          <a:bodyPr wrap="square" anchor="ctr">
            <a:spAutoFit/>
          </a:bodyPr>
          <a:lstStyle/>
          <a:p>
            <a:pPr marL="0" marR="0" indent="0" algn="l" defTabSz="1828837" rtl="0" eaLnBrk="1" fontAlgn="base" latinLnBrk="0" hangingPunct="1">
              <a:lnSpc>
                <a:spcPct val="90000"/>
              </a:lnSpc>
              <a:spcBef>
                <a:spcPct val="0"/>
              </a:spcBef>
              <a:spcAft>
                <a:spcPct val="0"/>
              </a:spcAft>
              <a:buClrTx/>
              <a:buSzTx/>
              <a:buFontTx/>
              <a:buNone/>
              <a:tabLst/>
              <a:defRPr/>
            </a:pPr>
            <a:r>
              <a:rPr lang="en-US" altLang="en-US" sz="1800" b="0" i="0">
                <a:solidFill>
                  <a:schemeClr val="tx1"/>
                </a:solidFill>
                <a:latin typeface="IBM Plex Sans Regular" charset="0"/>
                <a:ea typeface="IBM Plex Sans Regular" charset="0"/>
                <a:cs typeface="IBM Plex Sans Regular" charset="0"/>
              </a:rPr>
              <a:t>© 2018</a:t>
            </a:r>
            <a:r>
              <a:rPr lang="en-US" altLang="en-US" sz="1800" b="0" i="0" baseline="0">
                <a:solidFill>
                  <a:schemeClr val="tx1"/>
                </a:solidFill>
                <a:latin typeface="IBM Plex Sans Regular" charset="0"/>
                <a:ea typeface="IBM Plex Sans Regular" charset="0"/>
                <a:cs typeface="IBM Plex Sans Regular" charset="0"/>
              </a:rPr>
              <a:t>  </a:t>
            </a:r>
            <a:r>
              <a:rPr lang="en-US" altLang="en-US" sz="1800" b="0" i="0">
                <a:solidFill>
                  <a:schemeClr val="tx1"/>
                </a:solidFill>
                <a:latin typeface="IBM Plex Sans Regular" charset="0"/>
                <a:ea typeface="IBM Plex Sans Regular" charset="0"/>
                <a:cs typeface="IBM Plex Sans Regular" charset="0"/>
              </a:rPr>
              <a:t>IBM Corporation</a:t>
            </a:r>
          </a:p>
        </p:txBody>
      </p:sp>
      <p:sp>
        <p:nvSpPr>
          <p:cNvPr id="9" name="Rectangle 6"/>
          <p:cNvSpPr>
            <a:spLocks noChangeArrowheads="1"/>
          </p:cNvSpPr>
          <p:nvPr userDrawn="1"/>
        </p:nvSpPr>
        <p:spPr bwMode="auto">
          <a:xfrm>
            <a:off x="23071017" y="12914668"/>
            <a:ext cx="1302820" cy="6035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77" tIns="91438" rIns="182877" bIns="91438" anchor="ctr"/>
          <a:lstStyle>
            <a:lvl1pPr eaLnBrk="0" hangingPunct="0">
              <a:defRPr baseline="-25000">
                <a:solidFill>
                  <a:schemeClr val="tx1"/>
                </a:solidFill>
                <a:latin typeface="Arial" panose="020B0604020202020204" pitchFamily="34" charset="0"/>
                <a:ea typeface="MS PGothic" panose="020B0600070205080204" pitchFamily="34" charset="-128"/>
              </a:defRPr>
            </a:lvl1pPr>
            <a:lvl2pPr marL="742950" indent="-285750" eaLnBrk="0" hangingPunct="0">
              <a:defRPr baseline="-25000">
                <a:solidFill>
                  <a:schemeClr val="tx1"/>
                </a:solidFill>
                <a:latin typeface="Arial" panose="020B0604020202020204" pitchFamily="34" charset="0"/>
                <a:ea typeface="MS PGothic" panose="020B0600070205080204" pitchFamily="34" charset="-128"/>
              </a:defRPr>
            </a:lvl2pPr>
            <a:lvl3pPr marL="1143000" indent="-228600" eaLnBrk="0" hangingPunct="0">
              <a:defRPr baseline="-25000">
                <a:solidFill>
                  <a:schemeClr val="tx1"/>
                </a:solidFill>
                <a:latin typeface="Arial" panose="020B0604020202020204" pitchFamily="34" charset="0"/>
                <a:ea typeface="MS PGothic" panose="020B0600070205080204" pitchFamily="34" charset="-128"/>
              </a:defRPr>
            </a:lvl3pPr>
            <a:lvl4pPr marL="1600200" indent="-228600" eaLnBrk="0" hangingPunct="0">
              <a:defRPr baseline="-25000">
                <a:solidFill>
                  <a:schemeClr val="tx1"/>
                </a:solidFill>
                <a:latin typeface="Arial" panose="020B0604020202020204" pitchFamily="34" charset="0"/>
                <a:ea typeface="MS PGothic" panose="020B0600070205080204" pitchFamily="34" charset="-128"/>
              </a:defRPr>
            </a:lvl4pPr>
            <a:lvl5pPr marL="2057400" indent="-228600" eaLnBrk="0" hangingPunct="0">
              <a:defRPr baseline="-25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9pPr>
          </a:lstStyle>
          <a:p>
            <a:pPr algn="ctr" eaLnBrk="1" hangingPunct="1">
              <a:defRPr/>
            </a:pPr>
            <a:fld id="{8995AC45-5A92-44C2-B9A7-BA7BB3D600ED}" type="slidenum">
              <a:rPr lang="en-US" altLang="en-US" sz="2000" b="0" i="0" baseline="0" smtClean="0">
                <a:solidFill>
                  <a:schemeClr val="tx1"/>
                </a:solidFill>
                <a:latin typeface="IBM Plex Sans Regular" charset="0"/>
                <a:ea typeface="IBM Plex Sans Regular" charset="0"/>
                <a:cs typeface="+mn-cs"/>
              </a:rPr>
              <a:pPr algn="ctr" eaLnBrk="1" hangingPunct="1">
                <a:defRPr/>
              </a:pPr>
              <a:t>‹Nº›</a:t>
            </a:fld>
            <a:endParaRPr lang="en-US" altLang="en-US" sz="2000" b="0" i="0" baseline="0">
              <a:solidFill>
                <a:schemeClr val="tx1"/>
              </a:solidFill>
              <a:latin typeface="IBM Plex Sans Regular" charset="0"/>
              <a:ea typeface="IBM Plex Sans Regular" charset="0"/>
              <a:cs typeface="+mn-cs"/>
            </a:endParaRPr>
          </a:p>
        </p:txBody>
      </p:sp>
    </p:spTree>
    <p:extLst>
      <p:ext uri="{BB962C8B-B14F-4D97-AF65-F5344CB8AC3E}">
        <p14:creationId xmlns:p14="http://schemas.microsoft.com/office/powerpoint/2010/main" val="3374634637"/>
      </p:ext>
    </p:extLst>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theme" Target="../theme/theme2.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image" Target="../media/image5.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2" Type="http://schemas.openxmlformats.org/officeDocument/2006/relationships/slideLayout" Target="../slideLayouts/slideLayout20.xml"/><Relationship Id="rId16" Type="http://schemas.openxmlformats.org/officeDocument/2006/relationships/image" Target="../media/image5.png"/><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theme" Target="../theme/theme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A508141E-100E-4635-9FC3-353399DFCC84}"/>
              </a:ext>
            </a:extLst>
          </p:cNvPr>
          <p:cNvSpPr>
            <a:spLocks noGrp="1"/>
          </p:cNvSpPr>
          <p:nvPr>
            <p:ph type="title"/>
          </p:nvPr>
        </p:nvSpPr>
        <p:spPr>
          <a:xfrm>
            <a:off x="1676400" y="730251"/>
            <a:ext cx="21031200" cy="2651126"/>
          </a:xfrm>
          <a:prstGeom prst="rect">
            <a:avLst/>
          </a:prstGeom>
        </p:spPr>
        <p:txBody>
          <a:bodyPr vert="horz" lIns="91440" tIns="45720" rIns="91440" bIns="45720" rtlCol="0" anchor="ctr">
            <a:normAutofit/>
          </a:bodyPr>
          <a:lstStyle/>
          <a:p>
            <a:r>
              <a:rPr lang="es-ES"/>
              <a:t>Haga clic para modificar el estilo de título del patrón</a:t>
            </a:r>
          </a:p>
        </p:txBody>
      </p:sp>
      <p:sp>
        <p:nvSpPr>
          <p:cNvPr id="3" name="Marcador de texto 2">
            <a:extLst>
              <a:ext uri="{FF2B5EF4-FFF2-40B4-BE49-F238E27FC236}">
                <a16:creationId xmlns:a16="http://schemas.microsoft.com/office/drawing/2014/main" id="{70BD3726-4CCC-4808-AF74-D4FC34B77CC4}"/>
              </a:ext>
            </a:extLst>
          </p:cNvPr>
          <p:cNvSpPr>
            <a:spLocks noGrp="1"/>
          </p:cNvSpPr>
          <p:nvPr>
            <p:ph type="body" idx="1"/>
          </p:nvPr>
        </p:nvSpPr>
        <p:spPr>
          <a:xfrm>
            <a:off x="1676400" y="3651250"/>
            <a:ext cx="21031200" cy="8702676"/>
          </a:xfrm>
          <a:prstGeom prst="rect">
            <a:avLst/>
          </a:prstGeom>
        </p:spPr>
        <p:txBody>
          <a:bodyPr vert="horz" lIns="91440" tIns="45720" rIns="91440" bIns="45720" rtlCol="0">
            <a:normAutofit/>
          </a:bodyPr>
          <a:lstStyle/>
          <a:p>
            <a:pPr lvl="0"/>
            <a:r>
              <a:rPr lang="es-ES"/>
              <a:t>Edit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289DA10A-F167-488F-8E2B-A0FE5650228E}"/>
              </a:ext>
            </a:extLst>
          </p:cNvPr>
          <p:cNvSpPr>
            <a:spLocks noGrp="1"/>
          </p:cNvSpPr>
          <p:nvPr>
            <p:ph type="dt" sz="half" idx="2"/>
          </p:nvPr>
        </p:nvSpPr>
        <p:spPr>
          <a:xfrm>
            <a:off x="1676400" y="12712701"/>
            <a:ext cx="5486400" cy="730250"/>
          </a:xfrm>
          <a:prstGeom prst="rect">
            <a:avLst/>
          </a:prstGeom>
        </p:spPr>
        <p:txBody>
          <a:bodyPr vert="horz" lIns="91440" tIns="45720" rIns="91440" bIns="45720" rtlCol="0" anchor="ctr"/>
          <a:lstStyle>
            <a:lvl1pPr algn="l">
              <a:defRPr sz="2400">
                <a:solidFill>
                  <a:schemeClr val="tx1">
                    <a:tint val="75000"/>
                  </a:schemeClr>
                </a:solidFill>
              </a:defRPr>
            </a:lvl1pPr>
          </a:lstStyle>
          <a:p>
            <a:pPr defTabSz="1828800" hangingPunct="1"/>
            <a:endParaRPr lang="es-ES" kern="1200" dirty="0">
              <a:solidFill>
                <a:prstClr val="black">
                  <a:tint val="75000"/>
                </a:prstClr>
              </a:solidFill>
            </a:endParaRPr>
          </a:p>
        </p:txBody>
      </p:sp>
      <p:sp>
        <p:nvSpPr>
          <p:cNvPr id="5" name="Marcador de pie de página 4">
            <a:extLst>
              <a:ext uri="{FF2B5EF4-FFF2-40B4-BE49-F238E27FC236}">
                <a16:creationId xmlns:a16="http://schemas.microsoft.com/office/drawing/2014/main" id="{0C937220-A8C8-4E71-8BA2-4260C5636D0D}"/>
              </a:ext>
            </a:extLst>
          </p:cNvPr>
          <p:cNvSpPr>
            <a:spLocks noGrp="1"/>
          </p:cNvSpPr>
          <p:nvPr>
            <p:ph type="ftr" sz="quarter" idx="3"/>
          </p:nvPr>
        </p:nvSpPr>
        <p:spPr>
          <a:xfrm>
            <a:off x="8077200" y="12712701"/>
            <a:ext cx="8229600" cy="730250"/>
          </a:xfrm>
          <a:prstGeom prst="rect">
            <a:avLst/>
          </a:prstGeom>
        </p:spPr>
        <p:txBody>
          <a:bodyPr vert="horz" lIns="91440" tIns="45720" rIns="91440" bIns="45720" rtlCol="0" anchor="ctr"/>
          <a:lstStyle>
            <a:lvl1pPr algn="ctr">
              <a:defRPr sz="2400">
                <a:solidFill>
                  <a:schemeClr val="tx1">
                    <a:tint val="75000"/>
                  </a:schemeClr>
                </a:solidFill>
              </a:defRPr>
            </a:lvl1pPr>
          </a:lstStyle>
          <a:p>
            <a:pPr defTabSz="1828800" hangingPunct="1"/>
            <a:endParaRPr lang="es-ES" kern="1200" dirty="0">
              <a:solidFill>
                <a:prstClr val="black">
                  <a:tint val="75000"/>
                </a:prstClr>
              </a:solidFill>
            </a:endParaRPr>
          </a:p>
        </p:txBody>
      </p:sp>
      <p:sp>
        <p:nvSpPr>
          <p:cNvPr id="6" name="Marcador de número de diapositiva 5">
            <a:extLst>
              <a:ext uri="{FF2B5EF4-FFF2-40B4-BE49-F238E27FC236}">
                <a16:creationId xmlns:a16="http://schemas.microsoft.com/office/drawing/2014/main" id="{2D5E98D6-3F4E-4F5E-9BFB-DDFD9AC1E7AC}"/>
              </a:ext>
            </a:extLst>
          </p:cNvPr>
          <p:cNvSpPr>
            <a:spLocks noGrp="1"/>
          </p:cNvSpPr>
          <p:nvPr>
            <p:ph type="sldNum" sz="quarter" idx="4"/>
          </p:nvPr>
        </p:nvSpPr>
        <p:spPr>
          <a:xfrm>
            <a:off x="17221200" y="12712701"/>
            <a:ext cx="5486400" cy="730250"/>
          </a:xfrm>
          <a:prstGeom prst="rect">
            <a:avLst/>
          </a:prstGeom>
        </p:spPr>
        <p:txBody>
          <a:bodyPr vert="horz" lIns="91440" tIns="45720" rIns="91440" bIns="45720" rtlCol="0" anchor="ctr"/>
          <a:lstStyle>
            <a:lvl1pPr algn="r">
              <a:defRPr sz="2400">
                <a:solidFill>
                  <a:schemeClr val="tx1">
                    <a:tint val="75000"/>
                  </a:schemeClr>
                </a:solidFill>
              </a:defRPr>
            </a:lvl1pPr>
          </a:lstStyle>
          <a:p>
            <a:pPr defTabSz="1828800" hangingPunct="1"/>
            <a:fld id="{BC0D97B6-E32F-4D7D-B839-7C3B51F2640F}" type="slidenum">
              <a:rPr lang="es-ES" kern="1200" smtClean="0">
                <a:solidFill>
                  <a:prstClr val="black">
                    <a:tint val="75000"/>
                  </a:prstClr>
                </a:solidFill>
              </a:rPr>
              <a:pPr defTabSz="1828800" hangingPunct="1"/>
              <a:t>‹Nº›</a:t>
            </a:fld>
            <a:endParaRPr lang="es-ES" kern="1200" dirty="0">
              <a:solidFill>
                <a:prstClr val="black">
                  <a:tint val="75000"/>
                </a:prstClr>
              </a:solidFill>
            </a:endParaRPr>
          </a:p>
        </p:txBody>
      </p:sp>
      <p:sp>
        <p:nvSpPr>
          <p:cNvPr id="7" name="Marcador de número de diapositiva 5">
            <a:extLst>
              <a:ext uri="{FF2B5EF4-FFF2-40B4-BE49-F238E27FC236}">
                <a16:creationId xmlns:a16="http://schemas.microsoft.com/office/drawing/2014/main" id="{6D78FA3F-FB8F-8843-B205-BE4F4312BA98}"/>
              </a:ext>
            </a:extLst>
          </p:cNvPr>
          <p:cNvSpPr txBox="1">
            <a:spLocks/>
          </p:cNvSpPr>
          <p:nvPr userDrawn="1"/>
        </p:nvSpPr>
        <p:spPr>
          <a:xfrm>
            <a:off x="22033688" y="12712701"/>
            <a:ext cx="2063442" cy="73025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chemeClr val="accent1"/>
                </a:solidFill>
                <a:effectLst/>
                <a:uFillTx/>
                <a:latin typeface="+mj-lt"/>
                <a:ea typeface="+mj-ea"/>
                <a:cs typeface="+mj-cs"/>
                <a:sym typeface="Helvetica"/>
              </a:defRPr>
            </a:lvl1pPr>
            <a:lvl2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2pPr>
            <a:lvl3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3pPr>
            <a:lvl4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4pPr>
            <a:lvl5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5pPr>
            <a:lvl6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6pPr>
            <a:lvl7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7pPr>
            <a:lvl8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8pPr>
            <a:lvl9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9pPr>
          </a:lstStyle>
          <a:p>
            <a:fld id="{BC0D97B6-E32F-4D7D-B839-7C3B51F2640F}" type="slidenum">
              <a:rPr lang="es-ES" sz="2000" smtClean="0">
                <a:solidFill>
                  <a:schemeClr val="tx1"/>
                </a:solidFill>
              </a:rPr>
              <a:pPr/>
              <a:t>‹Nº›</a:t>
            </a:fld>
            <a:endParaRPr lang="es-ES" dirty="0">
              <a:solidFill>
                <a:schemeClr val="tx1"/>
              </a:solidFill>
            </a:endParaRPr>
          </a:p>
        </p:txBody>
      </p:sp>
      <p:pic>
        <p:nvPicPr>
          <p:cNvPr id="8" name="Imagen 6">
            <a:extLst>
              <a:ext uri="{FF2B5EF4-FFF2-40B4-BE49-F238E27FC236}">
                <a16:creationId xmlns:a16="http://schemas.microsoft.com/office/drawing/2014/main" id="{2CE62953-BF5E-F64F-8D25-4CC31B1ACCF5}"/>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547295" y="12749835"/>
            <a:ext cx="3835400" cy="762000"/>
          </a:xfrm>
          <a:prstGeom prst="rect">
            <a:avLst/>
          </a:prstGeom>
        </p:spPr>
      </p:pic>
      <p:pic>
        <p:nvPicPr>
          <p:cNvPr id="10" name="Imagen 10">
            <a:extLst>
              <a:ext uri="{FF2B5EF4-FFF2-40B4-BE49-F238E27FC236}">
                <a16:creationId xmlns:a16="http://schemas.microsoft.com/office/drawing/2014/main" id="{1735D4DC-A343-434F-8E19-9BEC83FD8610}"/>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918042" y="12850389"/>
            <a:ext cx="602316" cy="454874"/>
          </a:xfrm>
          <a:prstGeom prst="rect">
            <a:avLst/>
          </a:prstGeom>
        </p:spPr>
      </p:pic>
    </p:spTree>
    <p:extLst>
      <p:ext uri="{BB962C8B-B14F-4D97-AF65-F5344CB8AC3E}">
        <p14:creationId xmlns:p14="http://schemas.microsoft.com/office/powerpoint/2010/main" val="835805161"/>
      </p:ext>
    </p:extLst>
  </p:cSld>
  <p:clrMap bg1="lt1" tx1="dk1" bg2="lt2" tx2="dk2" accent1="accent1" accent2="accent2" accent3="accent3" accent4="accent4" accent5="accent5" accent6="accent6" hlink="hlink" folHlink="folHlink"/>
  <p:sldLayoutIdLst>
    <p:sldLayoutId id="2147483710" r:id="rId1"/>
    <p:sldLayoutId id="2147483720" r:id="rId2"/>
    <p:sldLayoutId id="2147483734" r:id="rId3"/>
    <p:sldLayoutId id="2147483764" r:id="rId4"/>
    <p:sldLayoutId id="2147483766" r:id="rId5"/>
    <p:sldLayoutId id="2147483773" r:id="rId6"/>
  </p:sldLayoutIdLst>
  <p:hf hdr="0" ftr="0" dt="0"/>
  <p:txStyles>
    <p:titleStyle>
      <a:lvl1pPr algn="l" defTabSz="1828800" rtl="0" eaLnBrk="1" latinLnBrk="0" hangingPunct="1">
        <a:lnSpc>
          <a:spcPct val="90000"/>
        </a:lnSpc>
        <a:spcBef>
          <a:spcPct val="0"/>
        </a:spcBef>
        <a:buNone/>
        <a:defRPr sz="8800" kern="1200">
          <a:solidFill>
            <a:schemeClr val="tx1"/>
          </a:solidFill>
          <a:latin typeface="+mj-lt"/>
          <a:ea typeface="+mj-ea"/>
          <a:cs typeface="+mj-cs"/>
        </a:defRPr>
      </a:lvl1pPr>
    </p:titleStyle>
    <p:bodyStyle>
      <a:lvl1pPr marL="457200" indent="-457200" algn="l" defTabSz="1828800"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s-E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Rectangle 14"/>
          <p:cNvSpPr/>
          <p:nvPr/>
        </p:nvSpPr>
        <p:spPr>
          <a:xfrm>
            <a:off x="-4" y="12827000"/>
            <a:ext cx="24384008" cy="889000"/>
          </a:xfrm>
          <a:prstGeom prst="rect">
            <a:avLst/>
          </a:prstGeom>
          <a:solidFill>
            <a:srgbClr val="FFFFFF"/>
          </a:solidFill>
          <a:ln w="12700">
            <a:miter lim="400000"/>
          </a:ln>
        </p:spPr>
        <p:txBody>
          <a:bodyPr lIns="91437" tIns="91437" rIns="91437" bIns="91437" anchor="ctr"/>
          <a:lstStyle/>
          <a:p>
            <a:pPr algn="ctr" eaLnBrk="1" fontAlgn="auto">
              <a:spcBef>
                <a:spcPts val="0"/>
              </a:spcBef>
              <a:spcAft>
                <a:spcPts val="0"/>
              </a:spcAft>
              <a:defRPr>
                <a:solidFill>
                  <a:srgbClr val="FFFFFF"/>
                </a:solidFill>
                <a:latin typeface="+mn-lt"/>
                <a:ea typeface="+mn-ea"/>
                <a:cs typeface="+mn-cs"/>
                <a:sym typeface="Arial"/>
              </a:defRPr>
            </a:pPr>
            <a:endParaRPr sz="3600" kern="0">
              <a:solidFill>
                <a:srgbClr val="FFFFFF"/>
              </a:solidFill>
              <a:latin typeface="Arial"/>
              <a:ea typeface=""/>
              <a:cs typeface="Arial"/>
              <a:sym typeface="Arial"/>
            </a:endParaRPr>
          </a:p>
        </p:txBody>
      </p:sp>
      <p:pic>
        <p:nvPicPr>
          <p:cNvPr id="3" name="ibm_logo_dark blue-01.png" descr="ibm_logo_dark blue-01.png"/>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rot="5400000">
            <a:off x="23434639" y="12766642"/>
            <a:ext cx="381003" cy="1009722"/>
          </a:xfrm>
          <a:prstGeom prst="rect">
            <a:avLst/>
          </a:prstGeom>
          <a:ln w="12700">
            <a:miter lim="400000"/>
          </a:ln>
        </p:spPr>
      </p:pic>
      <p:sp>
        <p:nvSpPr>
          <p:cNvPr id="5" name="Subtitle 2"/>
          <p:cNvSpPr txBox="1"/>
          <p:nvPr/>
        </p:nvSpPr>
        <p:spPr>
          <a:xfrm>
            <a:off x="15537816" y="13024828"/>
            <a:ext cx="7287952" cy="517059"/>
          </a:xfrm>
          <a:prstGeom prst="rect">
            <a:avLst/>
          </a:prstGeom>
          <a:ln w="12700">
            <a:miter lim="400000"/>
          </a:ln>
          <a:extLst>
            <a:ext uri="{C572A759-6A51-4108-AA02-DFA0A04FC94B}">
              <ma14:wrappingTextBoxFlag xmlns="" xmlns:ma14="http://schemas.microsoft.com/office/mac/drawingml/2011/main" val="1"/>
            </a:ext>
          </a:extLst>
        </p:spPr>
        <p:txBody>
          <a:bodyPr lIns="91437" tIns="91437" rIns="91437" bIns="91437">
            <a:spAutoFit/>
          </a:bodyPr>
          <a:lstStyle>
            <a:lvl1pPr algn="r">
              <a:lnSpc>
                <a:spcPct val="90000"/>
              </a:lnSpc>
              <a:defRPr sz="1200">
                <a:solidFill>
                  <a:srgbClr val="CACACA"/>
                </a:solidFill>
                <a:latin typeface="+mn-lt"/>
                <a:ea typeface="+mn-ea"/>
                <a:cs typeface="+mn-cs"/>
                <a:sym typeface="Arial"/>
              </a:defRPr>
            </a:lvl1pPr>
          </a:lstStyle>
          <a:p>
            <a:pPr eaLnBrk="1" fontAlgn="auto">
              <a:spcBef>
                <a:spcPts val="0"/>
              </a:spcBef>
              <a:spcAft>
                <a:spcPts val="0"/>
              </a:spcAft>
              <a:defRPr/>
            </a:pPr>
            <a:r>
              <a:rPr lang="en-US" sz="2400" kern="0">
                <a:latin typeface="Arial"/>
                <a:cs typeface="Arial"/>
              </a:rPr>
              <a:t>Client Confidential</a:t>
            </a:r>
            <a:endParaRPr sz="2400" kern="0">
              <a:latin typeface="Arial"/>
              <a:cs typeface="Arial"/>
            </a:endParaRPr>
          </a:p>
        </p:txBody>
      </p:sp>
      <p:sp>
        <p:nvSpPr>
          <p:cNvPr id="10" name="Line"/>
          <p:cNvSpPr/>
          <p:nvPr userDrawn="1"/>
        </p:nvSpPr>
        <p:spPr>
          <a:xfrm>
            <a:off x="-2" y="12788900"/>
            <a:ext cx="24384007" cy="0"/>
          </a:xfrm>
          <a:prstGeom prst="line">
            <a:avLst/>
          </a:prstGeom>
          <a:ln w="25400">
            <a:solidFill>
              <a:schemeClr val="accent5"/>
            </a:solidFill>
            <a:miter/>
          </a:ln>
        </p:spPr>
        <p:txBody>
          <a:bodyPr lIns="91437" tIns="91437" rIns="91437" bIns="91437"/>
          <a:lstStyle/>
          <a:p>
            <a:pPr eaLnBrk="1" fontAlgn="auto">
              <a:spcBef>
                <a:spcPts val="0"/>
              </a:spcBef>
              <a:spcAft>
                <a:spcPts val="0"/>
              </a:spcAft>
              <a:defRPr/>
            </a:pPr>
            <a:endParaRPr sz="3600" kern="0">
              <a:solidFill>
                <a:srgbClr val="000000"/>
              </a:solidFill>
              <a:latin typeface="Calibri"/>
              <a:ea typeface=""/>
              <a:sym typeface="Calibri"/>
            </a:endParaRPr>
          </a:p>
        </p:txBody>
      </p:sp>
      <p:pic>
        <p:nvPicPr>
          <p:cNvPr id="7" name="ibm_logo_dark blue-01.png" descr="ibm_logo_dark blue-01.png">
            <a:extLst>
              <a:ext uri="{FF2B5EF4-FFF2-40B4-BE49-F238E27FC236}">
                <a16:creationId xmlns:a16="http://schemas.microsoft.com/office/drawing/2014/main" id="{E3EE3E1D-DF2C-4A25-AD77-0BF0531BAC39}"/>
              </a:ext>
            </a:extLst>
          </p:cNvPr>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rot="5400000">
            <a:off x="715295" y="12766642"/>
            <a:ext cx="381003" cy="1009722"/>
          </a:xfrm>
          <a:prstGeom prst="rect">
            <a:avLst/>
          </a:prstGeom>
          <a:ln w="12700">
            <a:miter lim="400000"/>
          </a:ln>
        </p:spPr>
      </p:pic>
      <p:sp>
        <p:nvSpPr>
          <p:cNvPr id="8" name="Rectangle 7">
            <a:extLst>
              <a:ext uri="{FF2B5EF4-FFF2-40B4-BE49-F238E27FC236}">
                <a16:creationId xmlns:a16="http://schemas.microsoft.com/office/drawing/2014/main" id="{3F3E2190-8A67-45F8-9CC4-A31E4B331C36}"/>
              </a:ext>
            </a:extLst>
          </p:cNvPr>
          <p:cNvSpPr/>
          <p:nvPr userDrawn="1"/>
        </p:nvSpPr>
        <p:spPr>
          <a:xfrm>
            <a:off x="1473401" y="13113999"/>
            <a:ext cx="6831172" cy="341632"/>
          </a:xfrm>
          <a:prstGeom prst="rect">
            <a:avLst/>
          </a:prstGeom>
        </p:spPr>
        <p:txBody>
          <a:bodyPr wrap="square" anchor="ctr">
            <a:spAutoFit/>
          </a:bodyPr>
          <a:lstStyle/>
          <a:p>
            <a:pPr marL="0" marR="0" indent="0" algn="l" defTabSz="1828837" rtl="0" eaLnBrk="1" fontAlgn="base" latinLnBrk="0" hangingPunct="1">
              <a:lnSpc>
                <a:spcPct val="90000"/>
              </a:lnSpc>
              <a:spcBef>
                <a:spcPct val="0"/>
              </a:spcBef>
              <a:spcAft>
                <a:spcPct val="0"/>
              </a:spcAft>
              <a:buClrTx/>
              <a:buSzTx/>
              <a:buFontTx/>
              <a:buNone/>
              <a:tabLst/>
              <a:defRPr/>
            </a:pPr>
            <a:r>
              <a:rPr lang="en-US" altLang="en-US" sz="1800" b="0" i="0">
                <a:solidFill>
                  <a:schemeClr val="tx1"/>
                </a:solidFill>
                <a:latin typeface="IBM Plex Sans Regular" charset="0"/>
                <a:ea typeface="IBM Plex Sans Regular" charset="0"/>
                <a:cs typeface="IBM Plex Sans Regular" charset="0"/>
              </a:rPr>
              <a:t>© 2018</a:t>
            </a:r>
            <a:r>
              <a:rPr lang="en-US" altLang="en-US" sz="1800" b="0" i="0" baseline="0">
                <a:solidFill>
                  <a:schemeClr val="tx1"/>
                </a:solidFill>
                <a:latin typeface="IBM Plex Sans Regular" charset="0"/>
                <a:ea typeface="IBM Plex Sans Regular" charset="0"/>
                <a:cs typeface="IBM Plex Sans Regular" charset="0"/>
              </a:rPr>
              <a:t>  </a:t>
            </a:r>
            <a:r>
              <a:rPr lang="en-US" altLang="en-US" sz="1800" b="0" i="0">
                <a:solidFill>
                  <a:schemeClr val="tx1"/>
                </a:solidFill>
                <a:latin typeface="IBM Plex Sans Regular" charset="0"/>
                <a:ea typeface="IBM Plex Sans Regular" charset="0"/>
                <a:cs typeface="IBM Plex Sans Regular" charset="0"/>
              </a:rPr>
              <a:t>IBM Corporation</a:t>
            </a:r>
          </a:p>
        </p:txBody>
      </p:sp>
    </p:spTree>
    <p:extLst>
      <p:ext uri="{BB962C8B-B14F-4D97-AF65-F5344CB8AC3E}">
        <p14:creationId xmlns:p14="http://schemas.microsoft.com/office/powerpoint/2010/main" val="1161059677"/>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Lst>
  <p:transition spd="med"/>
  <p:hf hdr="0" ftr="0" dt="0"/>
  <p:txStyles>
    <p:titleStyle>
      <a:lvl1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1pPr>
      <a:lvl2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2pPr>
      <a:lvl3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3pPr>
      <a:lvl4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4pPr>
      <a:lvl5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5pPr>
      <a:lvl6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6pPr>
      <a:lvl7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7pPr>
      <a:lvl8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8pPr>
      <a:lvl9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9pPr>
    </p:titleStyle>
    <p:bodyStyle>
      <a:lvl1pPr marL="0" marR="0" indent="0" algn="l" defTabSz="825517" rtl="0" latinLnBrk="0">
        <a:lnSpc>
          <a:spcPct val="100000"/>
        </a:lnSpc>
        <a:spcBef>
          <a:spcPts val="0"/>
        </a:spcBef>
        <a:spcAft>
          <a:spcPts val="0"/>
        </a:spcAft>
        <a:buClrTx/>
        <a:buSzTx/>
        <a:buFontTx/>
        <a:buNone/>
        <a:tabLst/>
        <a:defRPr sz="3200" b="0" i="0" u="none" strike="noStrike" cap="none" spc="0" baseline="0">
          <a:ln>
            <a:noFill/>
          </a:ln>
          <a:solidFill>
            <a:srgbClr val="1C3549"/>
          </a:solidFill>
          <a:uFillTx/>
          <a:latin typeface="+mn-lt"/>
          <a:ea typeface="+mn-ea"/>
          <a:cs typeface="+mn-cs"/>
          <a:sym typeface="Arial"/>
        </a:defRPr>
      </a:lvl1pPr>
      <a:lvl2pPr marL="0" marR="0" indent="1270025" algn="l" defTabSz="825517" rtl="0" latinLnBrk="0">
        <a:lnSpc>
          <a:spcPct val="100000"/>
        </a:lnSpc>
        <a:spcBef>
          <a:spcPts val="0"/>
        </a:spcBef>
        <a:spcAft>
          <a:spcPts val="0"/>
        </a:spcAft>
        <a:buClrTx/>
        <a:buSzTx/>
        <a:buFontTx/>
        <a:buNone/>
        <a:tabLst/>
        <a:defRPr sz="3200" b="0" i="0" u="none" strike="noStrike" cap="none" spc="0" baseline="0">
          <a:ln>
            <a:noFill/>
          </a:ln>
          <a:solidFill>
            <a:srgbClr val="1C3549"/>
          </a:solidFill>
          <a:uFillTx/>
          <a:latin typeface="+mn-lt"/>
          <a:ea typeface="+mn-ea"/>
          <a:cs typeface="+mn-cs"/>
          <a:sym typeface="Arial"/>
        </a:defRPr>
      </a:lvl2pPr>
      <a:lvl3pPr marL="0" marR="0" indent="2540051" algn="l" defTabSz="825517" rtl="0" latinLnBrk="0">
        <a:lnSpc>
          <a:spcPct val="100000"/>
        </a:lnSpc>
        <a:spcBef>
          <a:spcPts val="0"/>
        </a:spcBef>
        <a:spcAft>
          <a:spcPts val="0"/>
        </a:spcAft>
        <a:buClrTx/>
        <a:buSzTx/>
        <a:buFontTx/>
        <a:buNone/>
        <a:tabLst/>
        <a:defRPr sz="3200" b="0" i="0" u="none" strike="noStrike" cap="none" spc="0" baseline="0">
          <a:ln>
            <a:noFill/>
          </a:ln>
          <a:solidFill>
            <a:srgbClr val="1C3549"/>
          </a:solidFill>
          <a:uFillTx/>
          <a:latin typeface="+mn-lt"/>
          <a:ea typeface="+mn-ea"/>
          <a:cs typeface="+mn-cs"/>
          <a:sym typeface="Arial"/>
        </a:defRPr>
      </a:lvl3pPr>
      <a:lvl4pPr marL="0" marR="0" indent="3810076" algn="l" defTabSz="825517" rtl="0" latinLnBrk="0">
        <a:lnSpc>
          <a:spcPct val="100000"/>
        </a:lnSpc>
        <a:spcBef>
          <a:spcPts val="0"/>
        </a:spcBef>
        <a:spcAft>
          <a:spcPts val="0"/>
        </a:spcAft>
        <a:buClrTx/>
        <a:buSzTx/>
        <a:buFontTx/>
        <a:buNone/>
        <a:tabLst/>
        <a:defRPr sz="3200" b="0" i="0" u="none" strike="noStrike" cap="none" spc="0" baseline="0">
          <a:ln>
            <a:noFill/>
          </a:ln>
          <a:solidFill>
            <a:srgbClr val="1C3549"/>
          </a:solidFill>
          <a:uFillTx/>
          <a:latin typeface="+mn-lt"/>
          <a:ea typeface="+mn-ea"/>
          <a:cs typeface="+mn-cs"/>
          <a:sym typeface="Arial"/>
        </a:defRPr>
      </a:lvl4pPr>
      <a:lvl5pPr marL="0" marR="0" indent="5080102" algn="l" defTabSz="825517" rtl="0" latinLnBrk="0">
        <a:lnSpc>
          <a:spcPct val="100000"/>
        </a:lnSpc>
        <a:spcBef>
          <a:spcPts val="0"/>
        </a:spcBef>
        <a:spcAft>
          <a:spcPts val="0"/>
        </a:spcAft>
        <a:buClrTx/>
        <a:buSzTx/>
        <a:buFontTx/>
        <a:buNone/>
        <a:tabLst/>
        <a:defRPr sz="3200" b="0" i="0" u="none" strike="noStrike" cap="none" spc="0" baseline="0">
          <a:ln>
            <a:noFill/>
          </a:ln>
          <a:solidFill>
            <a:srgbClr val="1C3549"/>
          </a:solidFill>
          <a:uFillTx/>
          <a:latin typeface="+mn-lt"/>
          <a:ea typeface="+mn-ea"/>
          <a:cs typeface="+mn-cs"/>
          <a:sym typeface="Arial"/>
        </a:defRPr>
      </a:lvl5pPr>
      <a:lvl6pPr marL="6740901" marR="0" indent="-390776" algn="l" defTabSz="825517" rtl="0" latinLnBrk="0">
        <a:lnSpc>
          <a:spcPct val="100000"/>
        </a:lnSpc>
        <a:spcBef>
          <a:spcPts val="0"/>
        </a:spcBef>
        <a:spcAft>
          <a:spcPts val="0"/>
        </a:spcAft>
        <a:buClrTx/>
        <a:buSzPct val="75000"/>
        <a:buFontTx/>
        <a:buChar char="•"/>
        <a:tabLst/>
        <a:defRPr sz="3200" b="0" i="0" u="none" strike="noStrike" cap="none" spc="0" baseline="0">
          <a:ln>
            <a:noFill/>
          </a:ln>
          <a:solidFill>
            <a:srgbClr val="1C3549"/>
          </a:solidFill>
          <a:uFillTx/>
          <a:latin typeface="+mn-lt"/>
          <a:ea typeface="+mn-ea"/>
          <a:cs typeface="+mn-cs"/>
          <a:sym typeface="Arial"/>
        </a:defRPr>
      </a:lvl6pPr>
      <a:lvl7pPr marL="8010927" marR="0" indent="-390774" algn="l" defTabSz="825517" rtl="0" latinLnBrk="0">
        <a:lnSpc>
          <a:spcPct val="100000"/>
        </a:lnSpc>
        <a:spcBef>
          <a:spcPts val="0"/>
        </a:spcBef>
        <a:spcAft>
          <a:spcPts val="0"/>
        </a:spcAft>
        <a:buClrTx/>
        <a:buSzPct val="75000"/>
        <a:buFontTx/>
        <a:buChar char="•"/>
        <a:tabLst/>
        <a:defRPr sz="3200" b="0" i="0" u="none" strike="noStrike" cap="none" spc="0" baseline="0">
          <a:ln>
            <a:noFill/>
          </a:ln>
          <a:solidFill>
            <a:srgbClr val="1C3549"/>
          </a:solidFill>
          <a:uFillTx/>
          <a:latin typeface="+mn-lt"/>
          <a:ea typeface="+mn-ea"/>
          <a:cs typeface="+mn-cs"/>
          <a:sym typeface="Arial"/>
        </a:defRPr>
      </a:lvl7pPr>
      <a:lvl8pPr marL="9280952" marR="0" indent="-390774" algn="l" defTabSz="825517" rtl="0" latinLnBrk="0">
        <a:lnSpc>
          <a:spcPct val="100000"/>
        </a:lnSpc>
        <a:spcBef>
          <a:spcPts val="0"/>
        </a:spcBef>
        <a:spcAft>
          <a:spcPts val="0"/>
        </a:spcAft>
        <a:buClrTx/>
        <a:buSzPct val="75000"/>
        <a:buFontTx/>
        <a:buChar char="•"/>
        <a:tabLst/>
        <a:defRPr sz="3200" b="0" i="0" u="none" strike="noStrike" cap="none" spc="0" baseline="0">
          <a:ln>
            <a:noFill/>
          </a:ln>
          <a:solidFill>
            <a:srgbClr val="1C3549"/>
          </a:solidFill>
          <a:uFillTx/>
          <a:latin typeface="+mn-lt"/>
          <a:ea typeface="+mn-ea"/>
          <a:cs typeface="+mn-cs"/>
          <a:sym typeface="Arial"/>
        </a:defRPr>
      </a:lvl8pPr>
      <a:lvl9pPr marL="10550978" marR="0" indent="-390774" algn="l" defTabSz="825517" rtl="0" latinLnBrk="0">
        <a:lnSpc>
          <a:spcPct val="100000"/>
        </a:lnSpc>
        <a:spcBef>
          <a:spcPts val="0"/>
        </a:spcBef>
        <a:spcAft>
          <a:spcPts val="0"/>
        </a:spcAft>
        <a:buClrTx/>
        <a:buSzPct val="75000"/>
        <a:buFontTx/>
        <a:buChar char="•"/>
        <a:tabLst/>
        <a:defRPr sz="3200" b="0" i="0" u="none" strike="noStrike" cap="none" spc="0" baseline="0">
          <a:ln>
            <a:noFill/>
          </a:ln>
          <a:solidFill>
            <a:srgbClr val="1C3549"/>
          </a:solidFill>
          <a:uFillTx/>
          <a:latin typeface="+mn-lt"/>
          <a:ea typeface="+mn-ea"/>
          <a:cs typeface="+mn-cs"/>
          <a:sym typeface="Arial"/>
        </a:defRPr>
      </a:lvl9pPr>
    </p:bodyStyle>
    <p:otherStyle>
      <a:lvl1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1pPr>
      <a:lvl2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2pPr>
      <a:lvl3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3pPr>
      <a:lvl4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4pPr>
      <a:lvl5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5pPr>
      <a:lvl6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6pPr>
      <a:lvl7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7pPr>
      <a:lvl8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8pPr>
      <a:lvl9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Rectangle 14"/>
          <p:cNvSpPr/>
          <p:nvPr/>
        </p:nvSpPr>
        <p:spPr>
          <a:xfrm>
            <a:off x="-4" y="12827000"/>
            <a:ext cx="24384008" cy="889000"/>
          </a:xfrm>
          <a:prstGeom prst="rect">
            <a:avLst/>
          </a:prstGeom>
          <a:solidFill>
            <a:srgbClr val="FFFFFF"/>
          </a:solidFill>
          <a:ln w="12700">
            <a:miter lim="400000"/>
          </a:ln>
        </p:spPr>
        <p:txBody>
          <a:bodyPr lIns="91437" tIns="91437" rIns="91437" bIns="91437" anchor="ctr"/>
          <a:lstStyle/>
          <a:p>
            <a:pPr algn="ctr" eaLnBrk="1" fontAlgn="auto">
              <a:spcBef>
                <a:spcPts val="0"/>
              </a:spcBef>
              <a:spcAft>
                <a:spcPts val="0"/>
              </a:spcAft>
              <a:defRPr>
                <a:solidFill>
                  <a:srgbClr val="FFFFFF"/>
                </a:solidFill>
                <a:latin typeface="+mn-lt"/>
                <a:ea typeface="+mn-ea"/>
                <a:cs typeface="+mn-cs"/>
                <a:sym typeface="Arial"/>
              </a:defRPr>
            </a:pPr>
            <a:endParaRPr sz="3600" kern="0">
              <a:solidFill>
                <a:srgbClr val="FFFFFF"/>
              </a:solidFill>
              <a:latin typeface="Arial"/>
              <a:ea typeface=""/>
              <a:cs typeface="Arial"/>
              <a:sym typeface="Arial"/>
            </a:endParaRPr>
          </a:p>
        </p:txBody>
      </p:sp>
      <p:pic>
        <p:nvPicPr>
          <p:cNvPr id="3" name="ibm_logo_dark blue-01.png" descr="ibm_logo_dark blue-01.png"/>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rot="5400000">
            <a:off x="23434639" y="12766642"/>
            <a:ext cx="381003" cy="1009722"/>
          </a:xfrm>
          <a:prstGeom prst="rect">
            <a:avLst/>
          </a:prstGeom>
          <a:ln w="12700">
            <a:miter lim="400000"/>
          </a:ln>
        </p:spPr>
      </p:pic>
      <p:sp>
        <p:nvSpPr>
          <p:cNvPr id="5" name="Subtitle 2"/>
          <p:cNvSpPr txBox="1"/>
          <p:nvPr/>
        </p:nvSpPr>
        <p:spPr>
          <a:xfrm>
            <a:off x="15537816" y="13024828"/>
            <a:ext cx="7287952" cy="517059"/>
          </a:xfrm>
          <a:prstGeom prst="rect">
            <a:avLst/>
          </a:prstGeom>
          <a:ln w="12700">
            <a:miter lim="400000"/>
          </a:ln>
          <a:extLst>
            <a:ext uri="{C572A759-6A51-4108-AA02-DFA0A04FC94B}">
              <ma14:wrappingTextBoxFlag xmlns="" xmlns:ma14="http://schemas.microsoft.com/office/mac/drawingml/2011/main" val="1"/>
            </a:ext>
          </a:extLst>
        </p:spPr>
        <p:txBody>
          <a:bodyPr lIns="91437" tIns="91437" rIns="91437" bIns="91437">
            <a:spAutoFit/>
          </a:bodyPr>
          <a:lstStyle>
            <a:lvl1pPr algn="r">
              <a:lnSpc>
                <a:spcPct val="90000"/>
              </a:lnSpc>
              <a:defRPr sz="1200">
                <a:solidFill>
                  <a:srgbClr val="CACACA"/>
                </a:solidFill>
                <a:latin typeface="+mn-lt"/>
                <a:ea typeface="+mn-ea"/>
                <a:cs typeface="+mn-cs"/>
                <a:sym typeface="Arial"/>
              </a:defRPr>
            </a:lvl1pPr>
          </a:lstStyle>
          <a:p>
            <a:pPr eaLnBrk="1" fontAlgn="auto">
              <a:spcBef>
                <a:spcPts val="0"/>
              </a:spcBef>
              <a:spcAft>
                <a:spcPts val="0"/>
              </a:spcAft>
              <a:defRPr/>
            </a:pPr>
            <a:r>
              <a:rPr lang="en-US" sz="2400" kern="0">
                <a:latin typeface="Arial"/>
                <a:cs typeface="Arial"/>
              </a:rPr>
              <a:t>Client Confidential</a:t>
            </a:r>
            <a:endParaRPr sz="2400" kern="0">
              <a:latin typeface="Arial"/>
              <a:cs typeface="Arial"/>
            </a:endParaRPr>
          </a:p>
        </p:txBody>
      </p:sp>
      <p:sp>
        <p:nvSpPr>
          <p:cNvPr id="10" name="Line"/>
          <p:cNvSpPr/>
          <p:nvPr userDrawn="1"/>
        </p:nvSpPr>
        <p:spPr>
          <a:xfrm>
            <a:off x="-2" y="12788900"/>
            <a:ext cx="24384007" cy="0"/>
          </a:xfrm>
          <a:prstGeom prst="line">
            <a:avLst/>
          </a:prstGeom>
          <a:ln w="25400">
            <a:solidFill>
              <a:schemeClr val="accent5"/>
            </a:solidFill>
            <a:miter/>
          </a:ln>
        </p:spPr>
        <p:txBody>
          <a:bodyPr lIns="91437" tIns="91437" rIns="91437" bIns="91437"/>
          <a:lstStyle/>
          <a:p>
            <a:pPr eaLnBrk="1" fontAlgn="auto">
              <a:spcBef>
                <a:spcPts val="0"/>
              </a:spcBef>
              <a:spcAft>
                <a:spcPts val="0"/>
              </a:spcAft>
              <a:defRPr/>
            </a:pPr>
            <a:endParaRPr sz="3600" kern="0">
              <a:solidFill>
                <a:srgbClr val="000000"/>
              </a:solidFill>
              <a:latin typeface="Calibri"/>
              <a:ea typeface=""/>
              <a:sym typeface="Calibri"/>
            </a:endParaRPr>
          </a:p>
        </p:txBody>
      </p:sp>
      <p:pic>
        <p:nvPicPr>
          <p:cNvPr id="7" name="ibm_logo_dark blue-01.png" descr="ibm_logo_dark blue-01.png">
            <a:extLst>
              <a:ext uri="{FF2B5EF4-FFF2-40B4-BE49-F238E27FC236}">
                <a16:creationId xmlns:a16="http://schemas.microsoft.com/office/drawing/2014/main" id="{E3EE3E1D-DF2C-4A25-AD77-0BF0531BAC39}"/>
              </a:ext>
            </a:extLst>
          </p:cNvPr>
          <p:cNvPicPr>
            <a:picLocks noChangeAspect="1"/>
          </p:cNvPicPr>
          <p:nvPr userDrawn="1"/>
        </p:nvPicPr>
        <p:blipFill>
          <a:blip r:embed="rId16" cstate="email">
            <a:extLst>
              <a:ext uri="{28A0092B-C50C-407E-A947-70E740481C1C}">
                <a14:useLocalDpi xmlns:a14="http://schemas.microsoft.com/office/drawing/2010/main"/>
              </a:ext>
            </a:extLst>
          </a:blip>
          <a:stretch>
            <a:fillRect/>
          </a:stretch>
        </p:blipFill>
        <p:spPr>
          <a:xfrm rot="5400000">
            <a:off x="715295" y="12766642"/>
            <a:ext cx="381003" cy="1009722"/>
          </a:xfrm>
          <a:prstGeom prst="rect">
            <a:avLst/>
          </a:prstGeom>
          <a:ln w="12700">
            <a:miter lim="400000"/>
          </a:ln>
        </p:spPr>
      </p:pic>
      <p:sp>
        <p:nvSpPr>
          <p:cNvPr id="8" name="Rectangle 7">
            <a:extLst>
              <a:ext uri="{FF2B5EF4-FFF2-40B4-BE49-F238E27FC236}">
                <a16:creationId xmlns:a16="http://schemas.microsoft.com/office/drawing/2014/main" id="{3F3E2190-8A67-45F8-9CC4-A31E4B331C36}"/>
              </a:ext>
            </a:extLst>
          </p:cNvPr>
          <p:cNvSpPr/>
          <p:nvPr userDrawn="1"/>
        </p:nvSpPr>
        <p:spPr>
          <a:xfrm>
            <a:off x="1473401" y="13113999"/>
            <a:ext cx="6831172" cy="341632"/>
          </a:xfrm>
          <a:prstGeom prst="rect">
            <a:avLst/>
          </a:prstGeom>
        </p:spPr>
        <p:txBody>
          <a:bodyPr wrap="square" anchor="ctr">
            <a:spAutoFit/>
          </a:bodyPr>
          <a:lstStyle/>
          <a:p>
            <a:pPr marL="0" marR="0" indent="0" algn="l" defTabSz="1828837" rtl="0" eaLnBrk="1" fontAlgn="base" latinLnBrk="0" hangingPunct="1">
              <a:lnSpc>
                <a:spcPct val="90000"/>
              </a:lnSpc>
              <a:spcBef>
                <a:spcPct val="0"/>
              </a:spcBef>
              <a:spcAft>
                <a:spcPct val="0"/>
              </a:spcAft>
              <a:buClrTx/>
              <a:buSzTx/>
              <a:buFontTx/>
              <a:buNone/>
              <a:tabLst/>
              <a:defRPr/>
            </a:pPr>
            <a:r>
              <a:rPr lang="en-US" altLang="en-US" sz="1800" b="0" i="0">
                <a:solidFill>
                  <a:schemeClr val="tx1"/>
                </a:solidFill>
                <a:latin typeface="IBM Plex Sans Regular" charset="0"/>
                <a:ea typeface="IBM Plex Sans Regular" charset="0"/>
                <a:cs typeface="IBM Plex Sans Regular" charset="0"/>
              </a:rPr>
              <a:t>© 2018</a:t>
            </a:r>
            <a:r>
              <a:rPr lang="en-US" altLang="en-US" sz="1800" b="0" i="0" baseline="0">
                <a:solidFill>
                  <a:schemeClr val="tx1"/>
                </a:solidFill>
                <a:latin typeface="IBM Plex Sans Regular" charset="0"/>
                <a:ea typeface="IBM Plex Sans Regular" charset="0"/>
                <a:cs typeface="IBM Plex Sans Regular" charset="0"/>
              </a:rPr>
              <a:t>  </a:t>
            </a:r>
            <a:r>
              <a:rPr lang="en-US" altLang="en-US" sz="1800" b="0" i="0">
                <a:solidFill>
                  <a:schemeClr val="tx1"/>
                </a:solidFill>
                <a:latin typeface="IBM Plex Sans Regular" charset="0"/>
                <a:ea typeface="IBM Plex Sans Regular" charset="0"/>
                <a:cs typeface="IBM Plex Sans Regular" charset="0"/>
              </a:rPr>
              <a:t>IBM Corporation</a:t>
            </a:r>
          </a:p>
        </p:txBody>
      </p:sp>
    </p:spTree>
    <p:extLst>
      <p:ext uri="{BB962C8B-B14F-4D97-AF65-F5344CB8AC3E}">
        <p14:creationId xmlns:p14="http://schemas.microsoft.com/office/powerpoint/2010/main" val="3896969423"/>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Lst>
  <p:transition spd="med"/>
  <p:hf hdr="0" ftr="0" dt="0"/>
  <p:txStyles>
    <p:titleStyle>
      <a:lvl1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1pPr>
      <a:lvl2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2pPr>
      <a:lvl3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3pPr>
      <a:lvl4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4pPr>
      <a:lvl5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5pPr>
      <a:lvl6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6pPr>
      <a:lvl7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7pPr>
      <a:lvl8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8pPr>
      <a:lvl9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9pPr>
    </p:titleStyle>
    <p:bodyStyle>
      <a:lvl1pPr marL="0" marR="0" indent="0" algn="l" defTabSz="825517" rtl="0" latinLnBrk="0">
        <a:lnSpc>
          <a:spcPct val="100000"/>
        </a:lnSpc>
        <a:spcBef>
          <a:spcPts val="0"/>
        </a:spcBef>
        <a:spcAft>
          <a:spcPts val="0"/>
        </a:spcAft>
        <a:buClrTx/>
        <a:buSzTx/>
        <a:buFontTx/>
        <a:buNone/>
        <a:tabLst/>
        <a:defRPr sz="3200" b="0" i="0" u="none" strike="noStrike" cap="none" spc="0" baseline="0">
          <a:ln>
            <a:noFill/>
          </a:ln>
          <a:solidFill>
            <a:srgbClr val="1C3549"/>
          </a:solidFill>
          <a:uFillTx/>
          <a:latin typeface="+mn-lt"/>
          <a:ea typeface="+mn-ea"/>
          <a:cs typeface="+mn-cs"/>
          <a:sym typeface="Arial"/>
        </a:defRPr>
      </a:lvl1pPr>
      <a:lvl2pPr marL="0" marR="0" indent="1270025" algn="l" defTabSz="825517" rtl="0" latinLnBrk="0">
        <a:lnSpc>
          <a:spcPct val="100000"/>
        </a:lnSpc>
        <a:spcBef>
          <a:spcPts val="0"/>
        </a:spcBef>
        <a:spcAft>
          <a:spcPts val="0"/>
        </a:spcAft>
        <a:buClrTx/>
        <a:buSzTx/>
        <a:buFontTx/>
        <a:buNone/>
        <a:tabLst/>
        <a:defRPr sz="3200" b="0" i="0" u="none" strike="noStrike" cap="none" spc="0" baseline="0">
          <a:ln>
            <a:noFill/>
          </a:ln>
          <a:solidFill>
            <a:srgbClr val="1C3549"/>
          </a:solidFill>
          <a:uFillTx/>
          <a:latin typeface="+mn-lt"/>
          <a:ea typeface="+mn-ea"/>
          <a:cs typeface="+mn-cs"/>
          <a:sym typeface="Arial"/>
        </a:defRPr>
      </a:lvl2pPr>
      <a:lvl3pPr marL="0" marR="0" indent="2540051" algn="l" defTabSz="825517" rtl="0" latinLnBrk="0">
        <a:lnSpc>
          <a:spcPct val="100000"/>
        </a:lnSpc>
        <a:spcBef>
          <a:spcPts val="0"/>
        </a:spcBef>
        <a:spcAft>
          <a:spcPts val="0"/>
        </a:spcAft>
        <a:buClrTx/>
        <a:buSzTx/>
        <a:buFontTx/>
        <a:buNone/>
        <a:tabLst/>
        <a:defRPr sz="3200" b="0" i="0" u="none" strike="noStrike" cap="none" spc="0" baseline="0">
          <a:ln>
            <a:noFill/>
          </a:ln>
          <a:solidFill>
            <a:srgbClr val="1C3549"/>
          </a:solidFill>
          <a:uFillTx/>
          <a:latin typeface="+mn-lt"/>
          <a:ea typeface="+mn-ea"/>
          <a:cs typeface="+mn-cs"/>
          <a:sym typeface="Arial"/>
        </a:defRPr>
      </a:lvl3pPr>
      <a:lvl4pPr marL="0" marR="0" indent="3810076" algn="l" defTabSz="825517" rtl="0" latinLnBrk="0">
        <a:lnSpc>
          <a:spcPct val="100000"/>
        </a:lnSpc>
        <a:spcBef>
          <a:spcPts val="0"/>
        </a:spcBef>
        <a:spcAft>
          <a:spcPts val="0"/>
        </a:spcAft>
        <a:buClrTx/>
        <a:buSzTx/>
        <a:buFontTx/>
        <a:buNone/>
        <a:tabLst/>
        <a:defRPr sz="3200" b="0" i="0" u="none" strike="noStrike" cap="none" spc="0" baseline="0">
          <a:ln>
            <a:noFill/>
          </a:ln>
          <a:solidFill>
            <a:srgbClr val="1C3549"/>
          </a:solidFill>
          <a:uFillTx/>
          <a:latin typeface="+mn-lt"/>
          <a:ea typeface="+mn-ea"/>
          <a:cs typeface="+mn-cs"/>
          <a:sym typeface="Arial"/>
        </a:defRPr>
      </a:lvl4pPr>
      <a:lvl5pPr marL="0" marR="0" indent="5080102" algn="l" defTabSz="825517" rtl="0" latinLnBrk="0">
        <a:lnSpc>
          <a:spcPct val="100000"/>
        </a:lnSpc>
        <a:spcBef>
          <a:spcPts val="0"/>
        </a:spcBef>
        <a:spcAft>
          <a:spcPts val="0"/>
        </a:spcAft>
        <a:buClrTx/>
        <a:buSzTx/>
        <a:buFontTx/>
        <a:buNone/>
        <a:tabLst/>
        <a:defRPr sz="3200" b="0" i="0" u="none" strike="noStrike" cap="none" spc="0" baseline="0">
          <a:ln>
            <a:noFill/>
          </a:ln>
          <a:solidFill>
            <a:srgbClr val="1C3549"/>
          </a:solidFill>
          <a:uFillTx/>
          <a:latin typeface="+mn-lt"/>
          <a:ea typeface="+mn-ea"/>
          <a:cs typeface="+mn-cs"/>
          <a:sym typeface="Arial"/>
        </a:defRPr>
      </a:lvl5pPr>
      <a:lvl6pPr marL="6740901" marR="0" indent="-390776" algn="l" defTabSz="825517" rtl="0" latinLnBrk="0">
        <a:lnSpc>
          <a:spcPct val="100000"/>
        </a:lnSpc>
        <a:spcBef>
          <a:spcPts val="0"/>
        </a:spcBef>
        <a:spcAft>
          <a:spcPts val="0"/>
        </a:spcAft>
        <a:buClrTx/>
        <a:buSzPct val="75000"/>
        <a:buFontTx/>
        <a:buChar char="•"/>
        <a:tabLst/>
        <a:defRPr sz="3200" b="0" i="0" u="none" strike="noStrike" cap="none" spc="0" baseline="0">
          <a:ln>
            <a:noFill/>
          </a:ln>
          <a:solidFill>
            <a:srgbClr val="1C3549"/>
          </a:solidFill>
          <a:uFillTx/>
          <a:latin typeface="+mn-lt"/>
          <a:ea typeface="+mn-ea"/>
          <a:cs typeface="+mn-cs"/>
          <a:sym typeface="Arial"/>
        </a:defRPr>
      </a:lvl6pPr>
      <a:lvl7pPr marL="8010927" marR="0" indent="-390774" algn="l" defTabSz="825517" rtl="0" latinLnBrk="0">
        <a:lnSpc>
          <a:spcPct val="100000"/>
        </a:lnSpc>
        <a:spcBef>
          <a:spcPts val="0"/>
        </a:spcBef>
        <a:spcAft>
          <a:spcPts val="0"/>
        </a:spcAft>
        <a:buClrTx/>
        <a:buSzPct val="75000"/>
        <a:buFontTx/>
        <a:buChar char="•"/>
        <a:tabLst/>
        <a:defRPr sz="3200" b="0" i="0" u="none" strike="noStrike" cap="none" spc="0" baseline="0">
          <a:ln>
            <a:noFill/>
          </a:ln>
          <a:solidFill>
            <a:srgbClr val="1C3549"/>
          </a:solidFill>
          <a:uFillTx/>
          <a:latin typeface="+mn-lt"/>
          <a:ea typeface="+mn-ea"/>
          <a:cs typeface="+mn-cs"/>
          <a:sym typeface="Arial"/>
        </a:defRPr>
      </a:lvl7pPr>
      <a:lvl8pPr marL="9280952" marR="0" indent="-390774" algn="l" defTabSz="825517" rtl="0" latinLnBrk="0">
        <a:lnSpc>
          <a:spcPct val="100000"/>
        </a:lnSpc>
        <a:spcBef>
          <a:spcPts val="0"/>
        </a:spcBef>
        <a:spcAft>
          <a:spcPts val="0"/>
        </a:spcAft>
        <a:buClrTx/>
        <a:buSzPct val="75000"/>
        <a:buFontTx/>
        <a:buChar char="•"/>
        <a:tabLst/>
        <a:defRPr sz="3200" b="0" i="0" u="none" strike="noStrike" cap="none" spc="0" baseline="0">
          <a:ln>
            <a:noFill/>
          </a:ln>
          <a:solidFill>
            <a:srgbClr val="1C3549"/>
          </a:solidFill>
          <a:uFillTx/>
          <a:latin typeface="+mn-lt"/>
          <a:ea typeface="+mn-ea"/>
          <a:cs typeface="+mn-cs"/>
          <a:sym typeface="Arial"/>
        </a:defRPr>
      </a:lvl8pPr>
      <a:lvl9pPr marL="10550978" marR="0" indent="-390774" algn="l" defTabSz="825517" rtl="0" latinLnBrk="0">
        <a:lnSpc>
          <a:spcPct val="100000"/>
        </a:lnSpc>
        <a:spcBef>
          <a:spcPts val="0"/>
        </a:spcBef>
        <a:spcAft>
          <a:spcPts val="0"/>
        </a:spcAft>
        <a:buClrTx/>
        <a:buSzPct val="75000"/>
        <a:buFontTx/>
        <a:buChar char="•"/>
        <a:tabLst/>
        <a:defRPr sz="3200" b="0" i="0" u="none" strike="noStrike" cap="none" spc="0" baseline="0">
          <a:ln>
            <a:noFill/>
          </a:ln>
          <a:solidFill>
            <a:srgbClr val="1C3549"/>
          </a:solidFill>
          <a:uFillTx/>
          <a:latin typeface="+mn-lt"/>
          <a:ea typeface="+mn-ea"/>
          <a:cs typeface="+mn-cs"/>
          <a:sym typeface="Arial"/>
        </a:defRPr>
      </a:lvl9pPr>
    </p:bodyStyle>
    <p:otherStyle>
      <a:lvl1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1pPr>
      <a:lvl2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2pPr>
      <a:lvl3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3pPr>
      <a:lvl4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4pPr>
      <a:lvl5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5pPr>
      <a:lvl6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6pPr>
      <a:lvl7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7pPr>
      <a:lvl8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8pPr>
      <a:lvl9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tiff"/><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4.svg"/><Relationship Id="rId13" Type="http://schemas.openxmlformats.org/officeDocument/2006/relationships/image" Target="../media/image39.svg"/><Relationship Id="rId3" Type="http://schemas.openxmlformats.org/officeDocument/2006/relationships/image" Target="../media/image29.png"/><Relationship Id="rId7" Type="http://schemas.openxmlformats.org/officeDocument/2006/relationships/image" Target="../media/image33.png"/><Relationship Id="rId12" Type="http://schemas.openxmlformats.org/officeDocument/2006/relationships/image" Target="../media/image38.png"/><Relationship Id="rId2" Type="http://schemas.openxmlformats.org/officeDocument/2006/relationships/notesSlide" Target="../notesSlides/notesSlide8.xml"/><Relationship Id="rId16" Type="http://schemas.openxmlformats.org/officeDocument/2006/relationships/image" Target="../media/image42.png"/><Relationship Id="rId1" Type="http://schemas.openxmlformats.org/officeDocument/2006/relationships/slideLayout" Target="../slideLayouts/slideLayout1.xml"/><Relationship Id="rId6" Type="http://schemas.openxmlformats.org/officeDocument/2006/relationships/image" Target="../media/image32.svg"/><Relationship Id="rId11" Type="http://schemas.openxmlformats.org/officeDocument/2006/relationships/image" Target="../media/image37.png"/><Relationship Id="rId5" Type="http://schemas.openxmlformats.org/officeDocument/2006/relationships/image" Target="../media/image31.png"/><Relationship Id="rId15" Type="http://schemas.openxmlformats.org/officeDocument/2006/relationships/image" Target="../media/image41.svg"/><Relationship Id="rId10" Type="http://schemas.openxmlformats.org/officeDocument/2006/relationships/image" Target="../media/image36.svg"/><Relationship Id="rId4" Type="http://schemas.openxmlformats.org/officeDocument/2006/relationships/image" Target="../media/image30.svg"/><Relationship Id="rId9" Type="http://schemas.openxmlformats.org/officeDocument/2006/relationships/image" Target="../media/image35.png"/><Relationship Id="rId14" Type="http://schemas.openxmlformats.org/officeDocument/2006/relationships/image" Target="../media/image40.png"/></Relationships>
</file>

<file path=ppt/slides/_rels/slide11.xml.rels><?xml version="1.0" encoding="UTF-8" standalone="yes"?>
<Relationships xmlns="http://schemas.openxmlformats.org/package/2006/relationships"><Relationship Id="rId8" Type="http://schemas.openxmlformats.org/officeDocument/2006/relationships/image" Target="../media/image20.svg"/><Relationship Id="rId13" Type="http://schemas.openxmlformats.org/officeDocument/2006/relationships/image" Target="../media/image16.svg"/><Relationship Id="rId3" Type="http://schemas.openxmlformats.org/officeDocument/2006/relationships/image" Target="../media/image11.png"/><Relationship Id="rId7" Type="http://schemas.openxmlformats.org/officeDocument/2006/relationships/image" Target="../media/image19.png"/><Relationship Id="rId12"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image" Target="../media/image14.svg"/><Relationship Id="rId11" Type="http://schemas.openxmlformats.org/officeDocument/2006/relationships/slide" Target="slide23.xml"/><Relationship Id="rId5" Type="http://schemas.openxmlformats.org/officeDocument/2006/relationships/image" Target="../media/image13.png"/><Relationship Id="rId10" Type="http://schemas.openxmlformats.org/officeDocument/2006/relationships/image" Target="../media/image18.svg"/><Relationship Id="rId4" Type="http://schemas.openxmlformats.org/officeDocument/2006/relationships/image" Target="../media/image12.svg"/><Relationship Id="rId9" Type="http://schemas.openxmlformats.org/officeDocument/2006/relationships/image" Target="../media/image17.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44.svg"/><Relationship Id="rId3" Type="http://schemas.openxmlformats.org/officeDocument/2006/relationships/image" Target="../media/image11.png"/><Relationship Id="rId7" Type="http://schemas.openxmlformats.org/officeDocument/2006/relationships/slide" Target="slide23.xml"/><Relationship Id="rId12" Type="http://schemas.openxmlformats.org/officeDocument/2006/relationships/image" Target="../media/image43.png"/><Relationship Id="rId17" Type="http://schemas.openxmlformats.org/officeDocument/2006/relationships/image" Target="../media/image46.svg"/><Relationship Id="rId2" Type="http://schemas.openxmlformats.org/officeDocument/2006/relationships/notesSlide" Target="../notesSlides/notesSlide12.xml"/><Relationship Id="rId16" Type="http://schemas.openxmlformats.org/officeDocument/2006/relationships/image" Target="../media/image45.png"/><Relationship Id="rId1" Type="http://schemas.openxmlformats.org/officeDocument/2006/relationships/slideLayout" Target="../slideLayouts/slideLayout1.xml"/><Relationship Id="rId6" Type="http://schemas.openxmlformats.org/officeDocument/2006/relationships/image" Target="../media/image14.svg"/><Relationship Id="rId11" Type="http://schemas.openxmlformats.org/officeDocument/2006/relationships/image" Target="../media/image18.svg"/><Relationship Id="rId5" Type="http://schemas.openxmlformats.org/officeDocument/2006/relationships/image" Target="../media/image13.png"/><Relationship Id="rId15" Type="http://schemas.openxmlformats.org/officeDocument/2006/relationships/image" Target="../media/image41.svg"/><Relationship Id="rId10" Type="http://schemas.openxmlformats.org/officeDocument/2006/relationships/image" Target="../media/image17.png"/><Relationship Id="rId4" Type="http://schemas.openxmlformats.org/officeDocument/2006/relationships/image" Target="../media/image12.svg"/><Relationship Id="rId9" Type="http://schemas.openxmlformats.org/officeDocument/2006/relationships/image" Target="../media/image16.svg"/><Relationship Id="rId14" Type="http://schemas.openxmlformats.org/officeDocument/2006/relationships/image" Target="../media/image40.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png"/><Relationship Id="rId7" Type="http://schemas.openxmlformats.org/officeDocument/2006/relationships/image" Target="../media/image51.svg"/><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image" Target="../media/image50.png"/><Relationship Id="rId11" Type="http://schemas.openxmlformats.org/officeDocument/2006/relationships/image" Target="../media/image55.svg"/><Relationship Id="rId5" Type="http://schemas.openxmlformats.org/officeDocument/2006/relationships/image" Target="../media/image49.svg"/><Relationship Id="rId10" Type="http://schemas.openxmlformats.org/officeDocument/2006/relationships/image" Target="../media/image54.png"/><Relationship Id="rId4" Type="http://schemas.openxmlformats.org/officeDocument/2006/relationships/image" Target="../media/image48.png"/><Relationship Id="rId9" Type="http://schemas.openxmlformats.org/officeDocument/2006/relationships/image" Target="../media/image53.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svg"/><Relationship Id="rId3" Type="http://schemas.openxmlformats.org/officeDocument/2006/relationships/image" Target="../media/image11.png"/><Relationship Id="rId7" Type="http://schemas.openxmlformats.org/officeDocument/2006/relationships/slide" Target="slide23.xml"/><Relationship Id="rId12" Type="http://schemas.openxmlformats.org/officeDocument/2006/relationships/image" Target="../media/image19.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4.svg"/><Relationship Id="rId11" Type="http://schemas.openxmlformats.org/officeDocument/2006/relationships/image" Target="../media/image18.svg"/><Relationship Id="rId5" Type="http://schemas.openxmlformats.org/officeDocument/2006/relationships/image" Target="../media/image13.png"/><Relationship Id="rId10" Type="http://schemas.openxmlformats.org/officeDocument/2006/relationships/image" Target="../media/image17.png"/><Relationship Id="rId4" Type="http://schemas.openxmlformats.org/officeDocument/2006/relationships/image" Target="../media/image12.svg"/><Relationship Id="rId9" Type="http://schemas.openxmlformats.org/officeDocument/2006/relationships/image" Target="../media/image16.svg"/></Relationships>
</file>

<file path=ppt/slides/_rels/slide20.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image" Target="../media/image22.png"/><Relationship Id="rId7" Type="http://schemas.openxmlformats.org/officeDocument/2006/relationships/image" Target="../media/image25.png"/><Relationship Id="rId2" Type="http://schemas.openxmlformats.org/officeDocument/2006/relationships/notesSlide" Target="../notesSlides/notesSlide16.xml"/><Relationship Id="rId1" Type="http://schemas.openxmlformats.org/officeDocument/2006/relationships/slideLayout" Target="../slideLayouts/slideLayout1.xml"/><Relationship Id="rId6" Type="http://schemas.openxmlformats.org/officeDocument/2006/relationships/image" Target="../media/image24.svg"/><Relationship Id="rId11" Type="http://schemas.openxmlformats.org/officeDocument/2006/relationships/image" Target="../media/image57.png"/><Relationship Id="rId5" Type="http://schemas.openxmlformats.org/officeDocument/2006/relationships/image" Target="../media/image23.png"/><Relationship Id="rId10" Type="http://schemas.openxmlformats.org/officeDocument/2006/relationships/image" Target="../media/image28.svg"/><Relationship Id="rId4" Type="http://schemas.microsoft.com/office/2007/relationships/hdphoto" Target="../media/hdphoto1.wdp"/><Relationship Id="rId9" Type="http://schemas.openxmlformats.org/officeDocument/2006/relationships/image" Target="../media/image27.png"/></Relationships>
</file>

<file path=ppt/slides/_rels/slide21.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17.xml"/><Relationship Id="rId1" Type="http://schemas.openxmlformats.org/officeDocument/2006/relationships/slideLayout" Target="../slideLayouts/slideLayout1.xml"/><Relationship Id="rId6" Type="http://schemas.openxmlformats.org/officeDocument/2006/relationships/image" Target="../media/image26.svg"/><Relationship Id="rId11" Type="http://schemas.openxmlformats.org/officeDocument/2006/relationships/image" Target="../media/image56.png"/><Relationship Id="rId5" Type="http://schemas.openxmlformats.org/officeDocument/2006/relationships/image" Target="../media/image25.png"/><Relationship Id="rId10" Type="http://schemas.microsoft.com/office/2007/relationships/hdphoto" Target="../media/hdphoto1.wdp"/><Relationship Id="rId4" Type="http://schemas.openxmlformats.org/officeDocument/2006/relationships/image" Target="../media/image24.svg"/><Relationship Id="rId9" Type="http://schemas.openxmlformats.org/officeDocument/2006/relationships/image" Target="../media/image22.png"/></Relationships>
</file>

<file path=ppt/slides/_rels/slide22.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18.xml"/><Relationship Id="rId1" Type="http://schemas.openxmlformats.org/officeDocument/2006/relationships/slideLayout" Target="../slideLayouts/slideLayout1.xml"/><Relationship Id="rId6" Type="http://schemas.openxmlformats.org/officeDocument/2006/relationships/image" Target="../media/image26.svg"/><Relationship Id="rId11" Type="http://schemas.openxmlformats.org/officeDocument/2006/relationships/image" Target="../media/image56.png"/><Relationship Id="rId5" Type="http://schemas.openxmlformats.org/officeDocument/2006/relationships/image" Target="../media/image25.png"/><Relationship Id="rId10" Type="http://schemas.microsoft.com/office/2007/relationships/hdphoto" Target="../media/hdphoto1.wdp"/><Relationship Id="rId4" Type="http://schemas.openxmlformats.org/officeDocument/2006/relationships/image" Target="../media/image24.svg"/><Relationship Id="rId9" Type="http://schemas.openxmlformats.org/officeDocument/2006/relationships/image" Target="../media/image22.png"/></Relationships>
</file>

<file path=ppt/slides/_rels/slide23.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png"/><Relationship Id="rId7" Type="http://schemas.openxmlformats.org/officeDocument/2006/relationships/image" Target="../media/image51.svg"/><Relationship Id="rId2" Type="http://schemas.openxmlformats.org/officeDocument/2006/relationships/notesSlide" Target="../notesSlides/notesSlide19.xml"/><Relationship Id="rId1" Type="http://schemas.openxmlformats.org/officeDocument/2006/relationships/slideLayout" Target="../slideLayouts/slideLayout1.xml"/><Relationship Id="rId6" Type="http://schemas.openxmlformats.org/officeDocument/2006/relationships/image" Target="../media/image50.png"/><Relationship Id="rId11" Type="http://schemas.openxmlformats.org/officeDocument/2006/relationships/image" Target="../media/image55.svg"/><Relationship Id="rId5" Type="http://schemas.openxmlformats.org/officeDocument/2006/relationships/image" Target="../media/image49.svg"/><Relationship Id="rId10" Type="http://schemas.openxmlformats.org/officeDocument/2006/relationships/image" Target="../media/image54.png"/><Relationship Id="rId4" Type="http://schemas.openxmlformats.org/officeDocument/2006/relationships/image" Target="../media/image48.png"/><Relationship Id="rId9" Type="http://schemas.openxmlformats.org/officeDocument/2006/relationships/image" Target="../media/image53.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22.xml"/><Relationship Id="rId1" Type="http://schemas.openxmlformats.org/officeDocument/2006/relationships/slideLayout" Target="../slideLayouts/slideLayout1.xml"/><Relationship Id="rId6" Type="http://schemas.openxmlformats.org/officeDocument/2006/relationships/image" Target="../media/image26.svg"/><Relationship Id="rId11" Type="http://schemas.openxmlformats.org/officeDocument/2006/relationships/image" Target="../media/image58.png"/><Relationship Id="rId5" Type="http://schemas.openxmlformats.org/officeDocument/2006/relationships/image" Target="../media/image25.png"/><Relationship Id="rId10" Type="http://schemas.microsoft.com/office/2007/relationships/hdphoto" Target="../media/hdphoto1.wdp"/><Relationship Id="rId4" Type="http://schemas.openxmlformats.org/officeDocument/2006/relationships/image" Target="../media/image24.svg"/><Relationship Id="rId9" Type="http://schemas.openxmlformats.org/officeDocument/2006/relationships/image" Target="../media/image22.png"/></Relationships>
</file>

<file path=ppt/slides/_rels/slide27.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23.xml"/><Relationship Id="rId1" Type="http://schemas.openxmlformats.org/officeDocument/2006/relationships/slideLayout" Target="../slideLayouts/slideLayout1.xml"/><Relationship Id="rId6" Type="http://schemas.openxmlformats.org/officeDocument/2006/relationships/image" Target="../media/image26.svg"/><Relationship Id="rId11" Type="http://schemas.openxmlformats.org/officeDocument/2006/relationships/image" Target="../media/image58.png"/><Relationship Id="rId5" Type="http://schemas.openxmlformats.org/officeDocument/2006/relationships/image" Target="../media/image25.png"/><Relationship Id="rId10" Type="http://schemas.microsoft.com/office/2007/relationships/hdphoto" Target="../media/hdphoto1.wdp"/><Relationship Id="rId4" Type="http://schemas.openxmlformats.org/officeDocument/2006/relationships/image" Target="../media/image24.svg"/><Relationship Id="rId9" Type="http://schemas.openxmlformats.org/officeDocument/2006/relationships/image" Target="../media/image22.png"/></Relationships>
</file>

<file path=ppt/slides/_rels/slide28.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24.xml"/><Relationship Id="rId1" Type="http://schemas.openxmlformats.org/officeDocument/2006/relationships/slideLayout" Target="../slideLayouts/slideLayout1.xml"/><Relationship Id="rId6" Type="http://schemas.openxmlformats.org/officeDocument/2006/relationships/image" Target="../media/image26.svg"/><Relationship Id="rId11" Type="http://schemas.openxmlformats.org/officeDocument/2006/relationships/image" Target="../media/image58.png"/><Relationship Id="rId5" Type="http://schemas.openxmlformats.org/officeDocument/2006/relationships/image" Target="../media/image25.png"/><Relationship Id="rId10" Type="http://schemas.microsoft.com/office/2007/relationships/hdphoto" Target="../media/hdphoto1.wdp"/><Relationship Id="rId4" Type="http://schemas.openxmlformats.org/officeDocument/2006/relationships/image" Target="../media/image24.svg"/><Relationship Id="rId9" Type="http://schemas.openxmlformats.org/officeDocument/2006/relationships/image" Target="../media/image22.png"/></Relationships>
</file>

<file path=ppt/slides/_rels/slide29.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image" Target="../media/image22.png"/><Relationship Id="rId7" Type="http://schemas.openxmlformats.org/officeDocument/2006/relationships/image" Target="../media/image25.png"/><Relationship Id="rId2" Type="http://schemas.openxmlformats.org/officeDocument/2006/relationships/notesSlide" Target="../notesSlides/notesSlide25.xml"/><Relationship Id="rId1" Type="http://schemas.openxmlformats.org/officeDocument/2006/relationships/slideLayout" Target="../slideLayouts/slideLayout1.xml"/><Relationship Id="rId6" Type="http://schemas.openxmlformats.org/officeDocument/2006/relationships/image" Target="../media/image24.svg"/><Relationship Id="rId11" Type="http://schemas.openxmlformats.org/officeDocument/2006/relationships/image" Target="../media/image58.png"/><Relationship Id="rId5" Type="http://schemas.openxmlformats.org/officeDocument/2006/relationships/image" Target="../media/image23.png"/><Relationship Id="rId10" Type="http://schemas.openxmlformats.org/officeDocument/2006/relationships/image" Target="../media/image28.svg"/><Relationship Id="rId4" Type="http://schemas.microsoft.com/office/2007/relationships/hdphoto" Target="../media/hdphoto1.wdp"/><Relationship Id="rId9" Type="http://schemas.openxmlformats.org/officeDocument/2006/relationships/image" Target="../media/image27.png"/></Relationships>
</file>

<file path=ppt/slides/_rels/slide3.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21" Type="http://schemas.openxmlformats.org/officeDocument/2006/relationships/tags" Target="../tags/tag21.xml"/><Relationship Id="rId63" Type="http://schemas.openxmlformats.org/officeDocument/2006/relationships/tags" Target="../tags/tag63.xml"/><Relationship Id="rId159" Type="http://schemas.openxmlformats.org/officeDocument/2006/relationships/tags" Target="../tags/tag159.xml"/><Relationship Id="rId324" Type="http://schemas.openxmlformats.org/officeDocument/2006/relationships/tags" Target="../tags/tag324.xml"/><Relationship Id="rId366" Type="http://schemas.openxmlformats.org/officeDocument/2006/relationships/tags" Target="../tags/tag366.xml"/><Relationship Id="rId170" Type="http://schemas.openxmlformats.org/officeDocument/2006/relationships/tags" Target="../tags/tag170.xml"/><Relationship Id="rId226" Type="http://schemas.openxmlformats.org/officeDocument/2006/relationships/tags" Target="../tags/tag226.xml"/><Relationship Id="rId268" Type="http://schemas.openxmlformats.org/officeDocument/2006/relationships/tags" Target="../tags/tag268.xml"/><Relationship Id="rId32" Type="http://schemas.openxmlformats.org/officeDocument/2006/relationships/tags" Target="../tags/tag32.xml"/><Relationship Id="rId74" Type="http://schemas.openxmlformats.org/officeDocument/2006/relationships/tags" Target="../tags/tag74.xml"/><Relationship Id="rId128" Type="http://schemas.openxmlformats.org/officeDocument/2006/relationships/tags" Target="../tags/tag128.xml"/><Relationship Id="rId335" Type="http://schemas.openxmlformats.org/officeDocument/2006/relationships/tags" Target="../tags/tag335.xml"/><Relationship Id="rId377" Type="http://schemas.openxmlformats.org/officeDocument/2006/relationships/tags" Target="../tags/tag377.xml"/><Relationship Id="rId5" Type="http://schemas.openxmlformats.org/officeDocument/2006/relationships/tags" Target="../tags/tag5.xml"/><Relationship Id="rId181" Type="http://schemas.openxmlformats.org/officeDocument/2006/relationships/tags" Target="../tags/tag181.xml"/><Relationship Id="rId237" Type="http://schemas.openxmlformats.org/officeDocument/2006/relationships/tags" Target="../tags/tag237.xml"/><Relationship Id="rId279" Type="http://schemas.openxmlformats.org/officeDocument/2006/relationships/tags" Target="../tags/tag279.xml"/><Relationship Id="rId43" Type="http://schemas.openxmlformats.org/officeDocument/2006/relationships/tags" Target="../tags/tag43.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46" Type="http://schemas.openxmlformats.org/officeDocument/2006/relationships/tags" Target="../tags/tag346.xml"/><Relationship Id="rId85" Type="http://schemas.openxmlformats.org/officeDocument/2006/relationships/tags" Target="../tags/tag85.xml"/><Relationship Id="rId150" Type="http://schemas.openxmlformats.org/officeDocument/2006/relationships/tags" Target="../tags/tag150.xml"/><Relationship Id="rId192" Type="http://schemas.openxmlformats.org/officeDocument/2006/relationships/tags" Target="../tags/tag192.xml"/><Relationship Id="rId206" Type="http://schemas.openxmlformats.org/officeDocument/2006/relationships/tags" Target="../tags/tag206.xml"/><Relationship Id="rId248" Type="http://schemas.openxmlformats.org/officeDocument/2006/relationships/tags" Target="../tags/tag248.xml"/><Relationship Id="rId12" Type="http://schemas.openxmlformats.org/officeDocument/2006/relationships/tags" Target="../tags/tag12.xml"/><Relationship Id="rId108" Type="http://schemas.openxmlformats.org/officeDocument/2006/relationships/tags" Target="../tags/tag108.xml"/><Relationship Id="rId315" Type="http://schemas.openxmlformats.org/officeDocument/2006/relationships/tags" Target="../tags/tag315.xml"/><Relationship Id="rId357" Type="http://schemas.openxmlformats.org/officeDocument/2006/relationships/tags" Target="../tags/tag357.xml"/><Relationship Id="rId54" Type="http://schemas.openxmlformats.org/officeDocument/2006/relationships/tags" Target="../tags/tag54.xml"/><Relationship Id="rId96" Type="http://schemas.openxmlformats.org/officeDocument/2006/relationships/tags" Target="../tags/tag96.xml"/><Relationship Id="rId161" Type="http://schemas.openxmlformats.org/officeDocument/2006/relationships/tags" Target="../tags/tag161.xml"/><Relationship Id="rId217" Type="http://schemas.openxmlformats.org/officeDocument/2006/relationships/tags" Target="../tags/tag217.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326" Type="http://schemas.openxmlformats.org/officeDocument/2006/relationships/tags" Target="../tags/tag326.xml"/><Relationship Id="rId65" Type="http://schemas.openxmlformats.org/officeDocument/2006/relationships/tags" Target="../tags/tag65.xml"/><Relationship Id="rId130" Type="http://schemas.openxmlformats.org/officeDocument/2006/relationships/tags" Target="../tags/tag130.xml"/><Relationship Id="rId368" Type="http://schemas.openxmlformats.org/officeDocument/2006/relationships/tags" Target="../tags/tag368.xml"/><Relationship Id="rId172" Type="http://schemas.openxmlformats.org/officeDocument/2006/relationships/tags" Target="../tags/tag172.xml"/><Relationship Id="rId228" Type="http://schemas.openxmlformats.org/officeDocument/2006/relationships/tags" Target="../tags/tag228.xml"/><Relationship Id="rId281" Type="http://schemas.openxmlformats.org/officeDocument/2006/relationships/tags" Target="../tags/tag281.xml"/><Relationship Id="rId337" Type="http://schemas.openxmlformats.org/officeDocument/2006/relationships/tags" Target="../tags/tag337.xml"/><Relationship Id="rId34" Type="http://schemas.openxmlformats.org/officeDocument/2006/relationships/tags" Target="../tags/tag34.xml"/><Relationship Id="rId76" Type="http://schemas.openxmlformats.org/officeDocument/2006/relationships/tags" Target="../tags/tag76.xml"/><Relationship Id="rId141" Type="http://schemas.openxmlformats.org/officeDocument/2006/relationships/tags" Target="../tags/tag141.xml"/><Relationship Id="rId379" Type="http://schemas.openxmlformats.org/officeDocument/2006/relationships/tags" Target="../tags/tag379.xml"/><Relationship Id="rId7" Type="http://schemas.openxmlformats.org/officeDocument/2006/relationships/tags" Target="../tags/tag7.xml"/><Relationship Id="rId183" Type="http://schemas.openxmlformats.org/officeDocument/2006/relationships/tags" Target="../tags/tag183.xml"/><Relationship Id="rId239" Type="http://schemas.openxmlformats.org/officeDocument/2006/relationships/tags" Target="../tags/tag239.xml"/><Relationship Id="rId250" Type="http://schemas.openxmlformats.org/officeDocument/2006/relationships/tags" Target="../tags/tag250.xml"/><Relationship Id="rId292" Type="http://schemas.openxmlformats.org/officeDocument/2006/relationships/tags" Target="../tags/tag292.xml"/><Relationship Id="rId306" Type="http://schemas.openxmlformats.org/officeDocument/2006/relationships/tags" Target="../tags/tag306.xml"/><Relationship Id="rId45" Type="http://schemas.openxmlformats.org/officeDocument/2006/relationships/tags" Target="../tags/tag45.xml"/><Relationship Id="rId87" Type="http://schemas.openxmlformats.org/officeDocument/2006/relationships/tags" Target="../tags/tag87.xml"/><Relationship Id="rId110" Type="http://schemas.openxmlformats.org/officeDocument/2006/relationships/tags" Target="../tags/tag110.xml"/><Relationship Id="rId348" Type="http://schemas.openxmlformats.org/officeDocument/2006/relationships/tags" Target="../tags/tag348.xml"/><Relationship Id="rId152" Type="http://schemas.openxmlformats.org/officeDocument/2006/relationships/tags" Target="../tags/tag152.xml"/><Relationship Id="rId194" Type="http://schemas.openxmlformats.org/officeDocument/2006/relationships/tags" Target="../tags/tag194.xml"/><Relationship Id="rId208" Type="http://schemas.openxmlformats.org/officeDocument/2006/relationships/tags" Target="../tags/tag208.xml"/><Relationship Id="rId261" Type="http://schemas.openxmlformats.org/officeDocument/2006/relationships/tags" Target="../tags/tag261.xml"/><Relationship Id="rId14" Type="http://schemas.openxmlformats.org/officeDocument/2006/relationships/tags" Target="../tags/tag14.xml"/><Relationship Id="rId56" Type="http://schemas.openxmlformats.org/officeDocument/2006/relationships/tags" Target="../tags/tag56.xml"/><Relationship Id="rId317" Type="http://schemas.openxmlformats.org/officeDocument/2006/relationships/tags" Target="../tags/tag317.xml"/><Relationship Id="rId359" Type="http://schemas.openxmlformats.org/officeDocument/2006/relationships/tags" Target="../tags/tag359.xml"/><Relationship Id="rId98" Type="http://schemas.openxmlformats.org/officeDocument/2006/relationships/tags" Target="../tags/tag98.xml"/><Relationship Id="rId121" Type="http://schemas.openxmlformats.org/officeDocument/2006/relationships/tags" Target="../tags/tag121.xml"/><Relationship Id="rId163" Type="http://schemas.openxmlformats.org/officeDocument/2006/relationships/tags" Target="../tags/tag163.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 Type="http://schemas.openxmlformats.org/officeDocument/2006/relationships/tags" Target="../tags/tag25.xml"/><Relationship Id="rId67" Type="http://schemas.openxmlformats.org/officeDocument/2006/relationships/tags" Target="../tags/tag67.xml"/><Relationship Id="rId272" Type="http://schemas.openxmlformats.org/officeDocument/2006/relationships/tags" Target="../tags/tag272.xml"/><Relationship Id="rId328" Type="http://schemas.openxmlformats.org/officeDocument/2006/relationships/tags" Target="../tags/tag328.xml"/><Relationship Id="rId132" Type="http://schemas.openxmlformats.org/officeDocument/2006/relationships/tags" Target="../tags/tag132.xml"/><Relationship Id="rId174" Type="http://schemas.openxmlformats.org/officeDocument/2006/relationships/tags" Target="../tags/tag174.xml"/><Relationship Id="rId381" Type="http://schemas.openxmlformats.org/officeDocument/2006/relationships/slideLayout" Target="../slideLayouts/slideLayout4.xml"/><Relationship Id="rId241" Type="http://schemas.openxmlformats.org/officeDocument/2006/relationships/tags" Target="../tags/tag241.xml"/><Relationship Id="rId36" Type="http://schemas.openxmlformats.org/officeDocument/2006/relationships/tags" Target="../tags/tag36.xml"/><Relationship Id="rId283" Type="http://schemas.openxmlformats.org/officeDocument/2006/relationships/tags" Target="../tags/tag283.xml"/><Relationship Id="rId339" Type="http://schemas.openxmlformats.org/officeDocument/2006/relationships/tags" Target="../tags/tag339.xml"/><Relationship Id="rId78" Type="http://schemas.openxmlformats.org/officeDocument/2006/relationships/tags" Target="../tags/tag78.xml"/><Relationship Id="rId101" Type="http://schemas.openxmlformats.org/officeDocument/2006/relationships/tags" Target="../tags/tag101.xml"/><Relationship Id="rId143" Type="http://schemas.openxmlformats.org/officeDocument/2006/relationships/tags" Target="../tags/tag143.xml"/><Relationship Id="rId185" Type="http://schemas.openxmlformats.org/officeDocument/2006/relationships/tags" Target="../tags/tag185.xml"/><Relationship Id="rId350" Type="http://schemas.openxmlformats.org/officeDocument/2006/relationships/tags" Target="../tags/tag350.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notesSlide" Target="../notesSlides/notesSlide2.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 Id="rId303" Type="http://schemas.openxmlformats.org/officeDocument/2006/relationships/tags" Target="../tags/tag303.xml"/><Relationship Id="rId42" Type="http://schemas.openxmlformats.org/officeDocument/2006/relationships/tags" Target="../tags/tag42.xml"/><Relationship Id="rId84" Type="http://schemas.openxmlformats.org/officeDocument/2006/relationships/tags" Target="../tags/tag84.xml"/><Relationship Id="rId138" Type="http://schemas.openxmlformats.org/officeDocument/2006/relationships/tags" Target="../tags/tag138.xml"/><Relationship Id="rId345" Type="http://schemas.openxmlformats.org/officeDocument/2006/relationships/tags" Target="../tags/tag345.xml"/><Relationship Id="rId191" Type="http://schemas.openxmlformats.org/officeDocument/2006/relationships/tags" Target="../tags/tag191.xml"/><Relationship Id="rId205" Type="http://schemas.openxmlformats.org/officeDocument/2006/relationships/tags" Target="../tags/tag205.xml"/><Relationship Id="rId247" Type="http://schemas.openxmlformats.org/officeDocument/2006/relationships/tags" Target="../tags/tag247.xml"/><Relationship Id="rId107" Type="http://schemas.openxmlformats.org/officeDocument/2006/relationships/tags" Target="../tags/tag107.xml"/><Relationship Id="rId289" Type="http://schemas.openxmlformats.org/officeDocument/2006/relationships/tags" Target="../tags/tag289.xml"/><Relationship Id="rId11" Type="http://schemas.openxmlformats.org/officeDocument/2006/relationships/tags" Target="../tags/tag11.xml"/><Relationship Id="rId53" Type="http://schemas.openxmlformats.org/officeDocument/2006/relationships/tags" Target="../tags/tag53.xml"/><Relationship Id="rId149" Type="http://schemas.openxmlformats.org/officeDocument/2006/relationships/tags" Target="../tags/tag149.xml"/><Relationship Id="rId314" Type="http://schemas.openxmlformats.org/officeDocument/2006/relationships/tags" Target="../tags/tag314.xml"/><Relationship Id="rId356" Type="http://schemas.openxmlformats.org/officeDocument/2006/relationships/tags" Target="../tags/tag356.xml"/><Relationship Id="rId95" Type="http://schemas.openxmlformats.org/officeDocument/2006/relationships/tags" Target="../tags/tag95.xml"/><Relationship Id="rId160" Type="http://schemas.openxmlformats.org/officeDocument/2006/relationships/tags" Target="../tags/tag160.xml"/><Relationship Id="rId216" Type="http://schemas.openxmlformats.org/officeDocument/2006/relationships/tags" Target="../tags/tag216.xml"/><Relationship Id="rId258" Type="http://schemas.openxmlformats.org/officeDocument/2006/relationships/tags" Target="../tags/tag258.xml"/><Relationship Id="rId22" Type="http://schemas.openxmlformats.org/officeDocument/2006/relationships/tags" Target="../tags/tag22.xml"/><Relationship Id="rId64" Type="http://schemas.openxmlformats.org/officeDocument/2006/relationships/tags" Target="../tags/tag64.xml"/><Relationship Id="rId118" Type="http://schemas.openxmlformats.org/officeDocument/2006/relationships/tags" Target="../tags/tag118.xml"/><Relationship Id="rId325" Type="http://schemas.openxmlformats.org/officeDocument/2006/relationships/tags" Target="../tags/tag325.xml"/><Relationship Id="rId367" Type="http://schemas.openxmlformats.org/officeDocument/2006/relationships/tags" Target="../tags/tag367.xml"/><Relationship Id="rId171" Type="http://schemas.openxmlformats.org/officeDocument/2006/relationships/tags" Target="../tags/tag171.xml"/><Relationship Id="rId227" Type="http://schemas.openxmlformats.org/officeDocument/2006/relationships/tags" Target="../tags/tag227.xml"/><Relationship Id="rId269" Type="http://schemas.openxmlformats.org/officeDocument/2006/relationships/tags" Target="../tags/tag269.xml"/><Relationship Id="rId33" Type="http://schemas.openxmlformats.org/officeDocument/2006/relationships/tags" Target="../tags/tag33.xml"/><Relationship Id="rId129" Type="http://schemas.openxmlformats.org/officeDocument/2006/relationships/tags" Target="../tags/tag129.xml"/><Relationship Id="rId280" Type="http://schemas.openxmlformats.org/officeDocument/2006/relationships/tags" Target="../tags/tag280.xml"/><Relationship Id="rId336" Type="http://schemas.openxmlformats.org/officeDocument/2006/relationships/tags" Target="../tags/tag336.xml"/><Relationship Id="rId75" Type="http://schemas.openxmlformats.org/officeDocument/2006/relationships/tags" Target="../tags/tag75.xml"/><Relationship Id="rId140" Type="http://schemas.openxmlformats.org/officeDocument/2006/relationships/tags" Target="../tags/tag140.xml"/><Relationship Id="rId182" Type="http://schemas.openxmlformats.org/officeDocument/2006/relationships/tags" Target="../tags/tag182.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91" Type="http://schemas.openxmlformats.org/officeDocument/2006/relationships/tags" Target="../tags/tag291.xml"/><Relationship Id="rId305" Type="http://schemas.openxmlformats.org/officeDocument/2006/relationships/tags" Target="../tags/tag305.xml"/><Relationship Id="rId347" Type="http://schemas.openxmlformats.org/officeDocument/2006/relationships/tags" Target="../tags/tag347.xml"/><Relationship Id="rId44" Type="http://schemas.openxmlformats.org/officeDocument/2006/relationships/tags" Target="../tags/tag44.xml"/><Relationship Id="rId86" Type="http://schemas.openxmlformats.org/officeDocument/2006/relationships/tags" Target="../tags/tag86.xml"/><Relationship Id="rId151" Type="http://schemas.openxmlformats.org/officeDocument/2006/relationships/tags" Target="../tags/tag151.xml"/><Relationship Id="rId193" Type="http://schemas.openxmlformats.org/officeDocument/2006/relationships/tags" Target="../tags/tag193.xml"/><Relationship Id="rId207" Type="http://schemas.openxmlformats.org/officeDocument/2006/relationships/tags" Target="../tags/tag207.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316" Type="http://schemas.openxmlformats.org/officeDocument/2006/relationships/tags" Target="../tags/tag316.xml"/><Relationship Id="rId55" Type="http://schemas.openxmlformats.org/officeDocument/2006/relationships/tags" Target="../tags/tag55.xml"/><Relationship Id="rId97" Type="http://schemas.openxmlformats.org/officeDocument/2006/relationships/tags" Target="../tags/tag97.xml"/><Relationship Id="rId120" Type="http://schemas.openxmlformats.org/officeDocument/2006/relationships/tags" Target="../tags/tag120.xml"/><Relationship Id="rId358" Type="http://schemas.openxmlformats.org/officeDocument/2006/relationships/tags" Target="../tags/tag358.xml"/><Relationship Id="rId162" Type="http://schemas.openxmlformats.org/officeDocument/2006/relationships/tags" Target="../tags/tag162.xml"/><Relationship Id="rId218" Type="http://schemas.openxmlformats.org/officeDocument/2006/relationships/tags" Target="../tags/tag218.xml"/><Relationship Id="rId271" Type="http://schemas.openxmlformats.org/officeDocument/2006/relationships/tags" Target="../tags/tag271.xml"/><Relationship Id="rId24" Type="http://schemas.openxmlformats.org/officeDocument/2006/relationships/tags" Target="../tags/tag24.xml"/><Relationship Id="rId66" Type="http://schemas.openxmlformats.org/officeDocument/2006/relationships/tags" Target="../tags/tag66.xml"/><Relationship Id="rId131" Type="http://schemas.openxmlformats.org/officeDocument/2006/relationships/tags" Target="../tags/tag131.xml"/><Relationship Id="rId327" Type="http://schemas.openxmlformats.org/officeDocument/2006/relationships/tags" Target="../tags/tag327.xml"/><Relationship Id="rId369" Type="http://schemas.openxmlformats.org/officeDocument/2006/relationships/tags" Target="../tags/tag369.xml"/><Relationship Id="rId173" Type="http://schemas.openxmlformats.org/officeDocument/2006/relationships/tags" Target="../tags/tag173.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35" Type="http://schemas.openxmlformats.org/officeDocument/2006/relationships/tags" Target="../tags/tag35.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38" Type="http://schemas.openxmlformats.org/officeDocument/2006/relationships/tags" Target="../tags/tag338.xml"/><Relationship Id="rId8" Type="http://schemas.openxmlformats.org/officeDocument/2006/relationships/tags" Target="../tags/tag8.xml"/><Relationship Id="rId142" Type="http://schemas.openxmlformats.org/officeDocument/2006/relationships/tags" Target="../tags/tag142.xml"/><Relationship Id="rId184" Type="http://schemas.openxmlformats.org/officeDocument/2006/relationships/tags" Target="../tags/tag184.xml"/><Relationship Id="rId251" Type="http://schemas.openxmlformats.org/officeDocument/2006/relationships/tags" Target="../tags/tag251.xml"/><Relationship Id="rId46" Type="http://schemas.openxmlformats.org/officeDocument/2006/relationships/tags" Target="../tags/tag46.xml"/><Relationship Id="rId293" Type="http://schemas.openxmlformats.org/officeDocument/2006/relationships/tags" Target="../tags/tag293.xml"/><Relationship Id="rId307" Type="http://schemas.openxmlformats.org/officeDocument/2006/relationships/tags" Target="../tags/tag307.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53" Type="http://schemas.openxmlformats.org/officeDocument/2006/relationships/tags" Target="../tags/tag153.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220" Type="http://schemas.openxmlformats.org/officeDocument/2006/relationships/tags" Target="../tags/tag220.xml"/><Relationship Id="rId15" Type="http://schemas.openxmlformats.org/officeDocument/2006/relationships/tags" Target="../tags/tag15.xml"/><Relationship Id="rId57" Type="http://schemas.openxmlformats.org/officeDocument/2006/relationships/tags" Target="../tags/tag57.xml"/><Relationship Id="rId262" Type="http://schemas.openxmlformats.org/officeDocument/2006/relationships/tags" Target="../tags/tag262.xml"/><Relationship Id="rId318" Type="http://schemas.openxmlformats.org/officeDocument/2006/relationships/tags" Target="../tags/tag318.xml"/><Relationship Id="rId99" Type="http://schemas.openxmlformats.org/officeDocument/2006/relationships/tags" Target="../tags/tag99.xml"/><Relationship Id="rId122" Type="http://schemas.openxmlformats.org/officeDocument/2006/relationships/tags" Target="../tags/tag122.xml"/><Relationship Id="rId164" Type="http://schemas.openxmlformats.org/officeDocument/2006/relationships/tags" Target="../tags/tag164.xml"/><Relationship Id="rId371" Type="http://schemas.openxmlformats.org/officeDocument/2006/relationships/tags" Target="../tags/tag371.xml"/></Relationships>
</file>

<file path=ppt/slides/_rels/slide30.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png"/><Relationship Id="rId7" Type="http://schemas.openxmlformats.org/officeDocument/2006/relationships/image" Target="../media/image51.svg"/><Relationship Id="rId2" Type="http://schemas.openxmlformats.org/officeDocument/2006/relationships/notesSlide" Target="../notesSlides/notesSlide26.xml"/><Relationship Id="rId1" Type="http://schemas.openxmlformats.org/officeDocument/2006/relationships/slideLayout" Target="../slideLayouts/slideLayout1.xml"/><Relationship Id="rId6" Type="http://schemas.openxmlformats.org/officeDocument/2006/relationships/image" Target="../media/image50.png"/><Relationship Id="rId11" Type="http://schemas.openxmlformats.org/officeDocument/2006/relationships/image" Target="../media/image55.svg"/><Relationship Id="rId5" Type="http://schemas.openxmlformats.org/officeDocument/2006/relationships/image" Target="../media/image49.svg"/><Relationship Id="rId10" Type="http://schemas.openxmlformats.org/officeDocument/2006/relationships/image" Target="../media/image54.png"/><Relationship Id="rId4" Type="http://schemas.openxmlformats.org/officeDocument/2006/relationships/image" Target="../media/image48.png"/><Relationship Id="rId9" Type="http://schemas.openxmlformats.org/officeDocument/2006/relationships/image" Target="../media/image53.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29.xml"/><Relationship Id="rId1" Type="http://schemas.openxmlformats.org/officeDocument/2006/relationships/slideLayout" Target="../slideLayouts/slideLayout1.xml"/><Relationship Id="rId6" Type="http://schemas.openxmlformats.org/officeDocument/2006/relationships/image" Target="../media/image26.svg"/><Relationship Id="rId11" Type="http://schemas.openxmlformats.org/officeDocument/2006/relationships/image" Target="../media/image59.png"/><Relationship Id="rId5" Type="http://schemas.openxmlformats.org/officeDocument/2006/relationships/image" Target="../media/image25.png"/><Relationship Id="rId10" Type="http://schemas.microsoft.com/office/2007/relationships/hdphoto" Target="../media/hdphoto1.wdp"/><Relationship Id="rId4" Type="http://schemas.openxmlformats.org/officeDocument/2006/relationships/image" Target="../media/image24.svg"/><Relationship Id="rId9" Type="http://schemas.openxmlformats.org/officeDocument/2006/relationships/image" Target="../media/image22.png"/></Relationships>
</file>

<file path=ppt/slides/_rels/slide34.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30.xml"/><Relationship Id="rId1" Type="http://schemas.openxmlformats.org/officeDocument/2006/relationships/slideLayout" Target="../slideLayouts/slideLayout1.xml"/><Relationship Id="rId6" Type="http://schemas.openxmlformats.org/officeDocument/2006/relationships/image" Target="../media/image26.svg"/><Relationship Id="rId11" Type="http://schemas.openxmlformats.org/officeDocument/2006/relationships/image" Target="../media/image59.png"/><Relationship Id="rId5" Type="http://schemas.openxmlformats.org/officeDocument/2006/relationships/image" Target="../media/image25.png"/><Relationship Id="rId10" Type="http://schemas.microsoft.com/office/2007/relationships/hdphoto" Target="../media/hdphoto1.wdp"/><Relationship Id="rId4" Type="http://schemas.openxmlformats.org/officeDocument/2006/relationships/image" Target="../media/image24.svg"/><Relationship Id="rId9" Type="http://schemas.openxmlformats.org/officeDocument/2006/relationships/image" Target="../media/image22.png"/></Relationships>
</file>

<file path=ppt/slides/_rels/slide35.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31.xml"/><Relationship Id="rId1" Type="http://schemas.openxmlformats.org/officeDocument/2006/relationships/slideLayout" Target="../slideLayouts/slideLayout1.xml"/><Relationship Id="rId6" Type="http://schemas.openxmlformats.org/officeDocument/2006/relationships/image" Target="../media/image26.svg"/><Relationship Id="rId11" Type="http://schemas.openxmlformats.org/officeDocument/2006/relationships/image" Target="../media/image59.png"/><Relationship Id="rId5" Type="http://schemas.openxmlformats.org/officeDocument/2006/relationships/image" Target="../media/image25.png"/><Relationship Id="rId10" Type="http://schemas.microsoft.com/office/2007/relationships/hdphoto" Target="../media/hdphoto1.wdp"/><Relationship Id="rId4" Type="http://schemas.openxmlformats.org/officeDocument/2006/relationships/image" Target="../media/image24.svg"/><Relationship Id="rId9" Type="http://schemas.openxmlformats.org/officeDocument/2006/relationships/image" Target="../media/image22.png"/></Relationships>
</file>

<file path=ppt/slides/_rels/slide36.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32.xml"/><Relationship Id="rId1" Type="http://schemas.openxmlformats.org/officeDocument/2006/relationships/slideLayout" Target="../slideLayouts/slideLayout1.xml"/><Relationship Id="rId6" Type="http://schemas.openxmlformats.org/officeDocument/2006/relationships/image" Target="../media/image26.svg"/><Relationship Id="rId11" Type="http://schemas.openxmlformats.org/officeDocument/2006/relationships/image" Target="../media/image59.png"/><Relationship Id="rId5" Type="http://schemas.openxmlformats.org/officeDocument/2006/relationships/image" Target="../media/image25.png"/><Relationship Id="rId10" Type="http://schemas.microsoft.com/office/2007/relationships/hdphoto" Target="../media/hdphoto1.wdp"/><Relationship Id="rId4" Type="http://schemas.openxmlformats.org/officeDocument/2006/relationships/image" Target="../media/image24.svg"/><Relationship Id="rId9" Type="http://schemas.openxmlformats.org/officeDocument/2006/relationships/image" Target="../media/image22.png"/></Relationships>
</file>

<file path=ppt/slides/_rels/slide37.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image" Target="../media/image22.png"/><Relationship Id="rId7" Type="http://schemas.openxmlformats.org/officeDocument/2006/relationships/image" Target="../media/image25.png"/><Relationship Id="rId2" Type="http://schemas.openxmlformats.org/officeDocument/2006/relationships/notesSlide" Target="../notesSlides/notesSlide33.xml"/><Relationship Id="rId1" Type="http://schemas.openxmlformats.org/officeDocument/2006/relationships/slideLayout" Target="../slideLayouts/slideLayout1.xml"/><Relationship Id="rId6" Type="http://schemas.openxmlformats.org/officeDocument/2006/relationships/image" Target="../media/image24.svg"/><Relationship Id="rId11" Type="http://schemas.openxmlformats.org/officeDocument/2006/relationships/image" Target="../media/image59.png"/><Relationship Id="rId5" Type="http://schemas.openxmlformats.org/officeDocument/2006/relationships/image" Target="../media/image23.png"/><Relationship Id="rId10" Type="http://schemas.openxmlformats.org/officeDocument/2006/relationships/image" Target="../media/image28.svg"/><Relationship Id="rId4" Type="http://schemas.microsoft.com/office/2007/relationships/hdphoto" Target="../media/hdphoto1.wdp"/><Relationship Id="rId9" Type="http://schemas.openxmlformats.org/officeDocument/2006/relationships/image" Target="../media/image27.png"/></Relationships>
</file>

<file path=ppt/slides/_rels/slide38.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xml"/></Relationships>
</file>

<file path=ppt/slides/_rels/slide39.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png"/><Relationship Id="rId7" Type="http://schemas.openxmlformats.org/officeDocument/2006/relationships/image" Target="../media/image51.svg"/><Relationship Id="rId2" Type="http://schemas.openxmlformats.org/officeDocument/2006/relationships/notesSlide" Target="../notesSlides/notesSlide34.xml"/><Relationship Id="rId1" Type="http://schemas.openxmlformats.org/officeDocument/2006/relationships/slideLayout" Target="../slideLayouts/slideLayout1.xml"/><Relationship Id="rId6" Type="http://schemas.openxmlformats.org/officeDocument/2006/relationships/image" Target="../media/image50.png"/><Relationship Id="rId11" Type="http://schemas.openxmlformats.org/officeDocument/2006/relationships/image" Target="../media/image55.svg"/><Relationship Id="rId5" Type="http://schemas.openxmlformats.org/officeDocument/2006/relationships/image" Target="../media/image49.svg"/><Relationship Id="rId10" Type="http://schemas.openxmlformats.org/officeDocument/2006/relationships/image" Target="../media/image54.png"/><Relationship Id="rId4" Type="http://schemas.openxmlformats.org/officeDocument/2006/relationships/image" Target="../media/image48.png"/><Relationship Id="rId9" Type="http://schemas.openxmlformats.org/officeDocument/2006/relationships/image" Target="../media/image53.png"/></Relationships>
</file>

<file path=ppt/slides/_rels/slide4.xml.rels><?xml version="1.0" encoding="UTF-8" standalone="yes"?>
<Relationships xmlns="http://schemas.openxmlformats.org/package/2006/relationships"><Relationship Id="rId8" Type="http://schemas.openxmlformats.org/officeDocument/2006/relationships/image" Target="../media/image20.svg"/><Relationship Id="rId13" Type="http://schemas.openxmlformats.org/officeDocument/2006/relationships/image" Target="../media/image16.svg"/><Relationship Id="rId3" Type="http://schemas.openxmlformats.org/officeDocument/2006/relationships/image" Target="../media/image11.png"/><Relationship Id="rId7" Type="http://schemas.openxmlformats.org/officeDocument/2006/relationships/image" Target="../media/image19.png"/><Relationship Id="rId12"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14.svg"/><Relationship Id="rId11" Type="http://schemas.openxmlformats.org/officeDocument/2006/relationships/slide" Target="slide23.xml"/><Relationship Id="rId5" Type="http://schemas.openxmlformats.org/officeDocument/2006/relationships/image" Target="../media/image13.png"/><Relationship Id="rId10" Type="http://schemas.openxmlformats.org/officeDocument/2006/relationships/image" Target="../media/image18.svg"/><Relationship Id="rId4" Type="http://schemas.openxmlformats.org/officeDocument/2006/relationships/image" Target="../media/image12.svg"/><Relationship Id="rId9" Type="http://schemas.openxmlformats.org/officeDocument/2006/relationships/image" Target="../media/image17.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37.xml"/><Relationship Id="rId1" Type="http://schemas.openxmlformats.org/officeDocument/2006/relationships/slideLayout" Target="../slideLayouts/slideLayout1.xml"/><Relationship Id="rId6" Type="http://schemas.openxmlformats.org/officeDocument/2006/relationships/image" Target="../media/image26.svg"/><Relationship Id="rId11" Type="http://schemas.openxmlformats.org/officeDocument/2006/relationships/image" Target="../media/image60.png"/><Relationship Id="rId5" Type="http://schemas.openxmlformats.org/officeDocument/2006/relationships/image" Target="../media/image25.png"/><Relationship Id="rId10" Type="http://schemas.microsoft.com/office/2007/relationships/hdphoto" Target="../media/hdphoto1.wdp"/><Relationship Id="rId4" Type="http://schemas.openxmlformats.org/officeDocument/2006/relationships/image" Target="../media/image24.svg"/><Relationship Id="rId9" Type="http://schemas.openxmlformats.org/officeDocument/2006/relationships/image" Target="../media/image22.png"/></Relationships>
</file>

<file path=ppt/slides/_rels/slide43.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image" Target="../media/image22.png"/><Relationship Id="rId7" Type="http://schemas.openxmlformats.org/officeDocument/2006/relationships/image" Target="../media/image25.png"/><Relationship Id="rId2" Type="http://schemas.openxmlformats.org/officeDocument/2006/relationships/notesSlide" Target="../notesSlides/notesSlide38.xml"/><Relationship Id="rId1" Type="http://schemas.openxmlformats.org/officeDocument/2006/relationships/slideLayout" Target="../slideLayouts/slideLayout1.xml"/><Relationship Id="rId6" Type="http://schemas.openxmlformats.org/officeDocument/2006/relationships/image" Target="../media/image24.svg"/><Relationship Id="rId11" Type="http://schemas.openxmlformats.org/officeDocument/2006/relationships/image" Target="../media/image60.png"/><Relationship Id="rId5" Type="http://schemas.openxmlformats.org/officeDocument/2006/relationships/image" Target="../media/image23.png"/><Relationship Id="rId10" Type="http://schemas.openxmlformats.org/officeDocument/2006/relationships/image" Target="../media/image28.svg"/><Relationship Id="rId4" Type="http://schemas.microsoft.com/office/2007/relationships/hdphoto" Target="../media/hdphoto1.wdp"/><Relationship Id="rId9" Type="http://schemas.openxmlformats.org/officeDocument/2006/relationships/image" Target="../media/image27.png"/></Relationships>
</file>

<file path=ppt/slides/_rels/slide44.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39.xml"/><Relationship Id="rId1" Type="http://schemas.openxmlformats.org/officeDocument/2006/relationships/slideLayout" Target="../slideLayouts/slideLayout1.xml"/><Relationship Id="rId6" Type="http://schemas.openxmlformats.org/officeDocument/2006/relationships/image" Target="../media/image26.svg"/><Relationship Id="rId11" Type="http://schemas.openxmlformats.org/officeDocument/2006/relationships/image" Target="../media/image60.png"/><Relationship Id="rId5" Type="http://schemas.openxmlformats.org/officeDocument/2006/relationships/image" Target="../media/image25.png"/><Relationship Id="rId10" Type="http://schemas.microsoft.com/office/2007/relationships/hdphoto" Target="../media/hdphoto1.wdp"/><Relationship Id="rId4" Type="http://schemas.openxmlformats.org/officeDocument/2006/relationships/image" Target="../media/image24.svg"/><Relationship Id="rId9" Type="http://schemas.openxmlformats.org/officeDocument/2006/relationships/image" Target="../media/image22.png"/></Relationships>
</file>

<file path=ppt/slides/_rels/slide45.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40.xml"/><Relationship Id="rId1" Type="http://schemas.openxmlformats.org/officeDocument/2006/relationships/slideLayout" Target="../slideLayouts/slideLayout1.xml"/><Relationship Id="rId6" Type="http://schemas.openxmlformats.org/officeDocument/2006/relationships/image" Target="../media/image26.svg"/><Relationship Id="rId11" Type="http://schemas.openxmlformats.org/officeDocument/2006/relationships/image" Target="../media/image60.png"/><Relationship Id="rId5" Type="http://schemas.openxmlformats.org/officeDocument/2006/relationships/image" Target="../media/image25.png"/><Relationship Id="rId10" Type="http://schemas.microsoft.com/office/2007/relationships/hdphoto" Target="../media/hdphoto1.wdp"/><Relationship Id="rId4" Type="http://schemas.openxmlformats.org/officeDocument/2006/relationships/image" Target="../media/image24.svg"/><Relationship Id="rId9" Type="http://schemas.openxmlformats.org/officeDocument/2006/relationships/image" Target="../media/image22.png"/></Relationships>
</file>

<file path=ppt/slides/_rels/slide46.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image" Target="../media/image22.png"/><Relationship Id="rId7" Type="http://schemas.openxmlformats.org/officeDocument/2006/relationships/image" Target="../media/image25.png"/><Relationship Id="rId2" Type="http://schemas.openxmlformats.org/officeDocument/2006/relationships/notesSlide" Target="../notesSlides/notesSlide41.xml"/><Relationship Id="rId1" Type="http://schemas.openxmlformats.org/officeDocument/2006/relationships/slideLayout" Target="../slideLayouts/slideLayout1.xml"/><Relationship Id="rId6" Type="http://schemas.openxmlformats.org/officeDocument/2006/relationships/image" Target="../media/image24.svg"/><Relationship Id="rId11" Type="http://schemas.openxmlformats.org/officeDocument/2006/relationships/image" Target="../media/image60.png"/><Relationship Id="rId5" Type="http://schemas.openxmlformats.org/officeDocument/2006/relationships/image" Target="../media/image23.png"/><Relationship Id="rId10" Type="http://schemas.openxmlformats.org/officeDocument/2006/relationships/image" Target="../media/image28.svg"/><Relationship Id="rId4" Type="http://schemas.microsoft.com/office/2007/relationships/hdphoto" Target="../media/hdphoto1.wdp"/><Relationship Id="rId9" Type="http://schemas.openxmlformats.org/officeDocument/2006/relationships/image" Target="../media/image27.png"/></Relationships>
</file>

<file path=ppt/slides/_rels/slide47.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42.xml"/><Relationship Id="rId1" Type="http://schemas.openxmlformats.org/officeDocument/2006/relationships/slideLayout" Target="../slideLayouts/slideLayout1.xml"/><Relationship Id="rId6" Type="http://schemas.openxmlformats.org/officeDocument/2006/relationships/image" Target="../media/image26.svg"/><Relationship Id="rId11" Type="http://schemas.openxmlformats.org/officeDocument/2006/relationships/image" Target="../media/image60.png"/><Relationship Id="rId5" Type="http://schemas.openxmlformats.org/officeDocument/2006/relationships/image" Target="../media/image25.png"/><Relationship Id="rId10" Type="http://schemas.microsoft.com/office/2007/relationships/hdphoto" Target="../media/hdphoto1.wdp"/><Relationship Id="rId4" Type="http://schemas.openxmlformats.org/officeDocument/2006/relationships/image" Target="../media/image24.svg"/><Relationship Id="rId9" Type="http://schemas.openxmlformats.org/officeDocument/2006/relationships/image" Target="../media/image22.png"/></Relationships>
</file>

<file path=ppt/slides/_rels/slide48.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43.xml"/><Relationship Id="rId1" Type="http://schemas.openxmlformats.org/officeDocument/2006/relationships/slideLayout" Target="../slideLayouts/slideLayout1.xml"/><Relationship Id="rId6" Type="http://schemas.openxmlformats.org/officeDocument/2006/relationships/image" Target="../media/image26.svg"/><Relationship Id="rId11" Type="http://schemas.openxmlformats.org/officeDocument/2006/relationships/image" Target="../media/image60.png"/><Relationship Id="rId5" Type="http://schemas.openxmlformats.org/officeDocument/2006/relationships/image" Target="../media/image25.png"/><Relationship Id="rId10" Type="http://schemas.microsoft.com/office/2007/relationships/hdphoto" Target="../media/hdphoto1.wdp"/><Relationship Id="rId4" Type="http://schemas.openxmlformats.org/officeDocument/2006/relationships/image" Target="../media/image24.svg"/><Relationship Id="rId9" Type="http://schemas.openxmlformats.org/officeDocument/2006/relationships/image" Target="../media/image22.png"/></Relationships>
</file>

<file path=ppt/slides/_rels/slide49.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44.xml"/><Relationship Id="rId1" Type="http://schemas.openxmlformats.org/officeDocument/2006/relationships/slideLayout" Target="../slideLayouts/slideLayout1.xml"/><Relationship Id="rId6" Type="http://schemas.openxmlformats.org/officeDocument/2006/relationships/image" Target="../media/image26.svg"/><Relationship Id="rId11" Type="http://schemas.openxmlformats.org/officeDocument/2006/relationships/image" Target="../media/image60.png"/><Relationship Id="rId5" Type="http://schemas.openxmlformats.org/officeDocument/2006/relationships/image" Target="../media/image25.png"/><Relationship Id="rId10" Type="http://schemas.microsoft.com/office/2007/relationships/hdphoto" Target="../media/hdphoto1.wdp"/><Relationship Id="rId4" Type="http://schemas.openxmlformats.org/officeDocument/2006/relationships/image" Target="../media/image24.svg"/><Relationship Id="rId9" Type="http://schemas.openxmlformats.org/officeDocument/2006/relationships/image" Target="../media/image22.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8" Type="http://schemas.openxmlformats.org/officeDocument/2006/relationships/image" Target="../media/image20.svg"/><Relationship Id="rId13" Type="http://schemas.openxmlformats.org/officeDocument/2006/relationships/image" Target="../media/image16.svg"/><Relationship Id="rId3" Type="http://schemas.openxmlformats.org/officeDocument/2006/relationships/image" Target="../media/image11.png"/><Relationship Id="rId7" Type="http://schemas.openxmlformats.org/officeDocument/2006/relationships/image" Target="../media/image19.png"/><Relationship Id="rId12" Type="http://schemas.openxmlformats.org/officeDocument/2006/relationships/image" Target="../media/image15.png"/><Relationship Id="rId2" Type="http://schemas.openxmlformats.org/officeDocument/2006/relationships/notesSlide" Target="../notesSlides/notesSlide45.xml"/><Relationship Id="rId1" Type="http://schemas.openxmlformats.org/officeDocument/2006/relationships/slideLayout" Target="../slideLayouts/slideLayout1.xml"/><Relationship Id="rId6" Type="http://schemas.openxmlformats.org/officeDocument/2006/relationships/image" Target="../media/image14.svg"/><Relationship Id="rId11" Type="http://schemas.openxmlformats.org/officeDocument/2006/relationships/slide" Target="slide23.xml"/><Relationship Id="rId5" Type="http://schemas.openxmlformats.org/officeDocument/2006/relationships/image" Target="../media/image13.png"/><Relationship Id="rId10" Type="http://schemas.openxmlformats.org/officeDocument/2006/relationships/image" Target="../media/image18.svg"/><Relationship Id="rId4" Type="http://schemas.openxmlformats.org/officeDocument/2006/relationships/image" Target="../media/image12.svg"/><Relationship Id="rId9" Type="http://schemas.openxmlformats.org/officeDocument/2006/relationships/image" Target="../media/image17.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46.xml"/><Relationship Id="rId1" Type="http://schemas.openxmlformats.org/officeDocument/2006/relationships/slideLayout" Target="../slideLayouts/slideLayout2.xml"/><Relationship Id="rId6" Type="http://schemas.openxmlformats.org/officeDocument/2006/relationships/image" Target="../media/image64.svg"/><Relationship Id="rId5" Type="http://schemas.openxmlformats.org/officeDocument/2006/relationships/image" Target="../media/image63.png"/><Relationship Id="rId4" Type="http://schemas.openxmlformats.org/officeDocument/2006/relationships/image" Target="../media/image62.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1.png"/><Relationship Id="rId7" Type="http://schemas.openxmlformats.org/officeDocument/2006/relationships/image" Target="../media/image24.sv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23.png"/><Relationship Id="rId11" Type="http://schemas.openxmlformats.org/officeDocument/2006/relationships/image" Target="../media/image28.svg"/><Relationship Id="rId5" Type="http://schemas.microsoft.com/office/2007/relationships/hdphoto" Target="../media/hdphoto1.wdp"/><Relationship Id="rId10" Type="http://schemas.openxmlformats.org/officeDocument/2006/relationships/image" Target="../media/image27.png"/><Relationship Id="rId4" Type="http://schemas.openxmlformats.org/officeDocument/2006/relationships/image" Target="../media/image22.png"/><Relationship Id="rId9" Type="http://schemas.openxmlformats.org/officeDocument/2006/relationships/image" Target="../media/image26.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AE77D73-C53B-C142-B5DF-C9630330DA3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48014" y="202386"/>
            <a:ext cx="18283468" cy="13726960"/>
          </a:xfrm>
          <a:custGeom>
            <a:avLst/>
            <a:gdLst>
              <a:gd name="connsiteX0" fmla="*/ 0 w 9141744"/>
              <a:gd name="connsiteY0" fmla="*/ 0 h 6863485"/>
              <a:gd name="connsiteX1" fmla="*/ 5963051 w 9141744"/>
              <a:gd name="connsiteY1" fmla="*/ 0 h 6863485"/>
              <a:gd name="connsiteX2" fmla="*/ 9141744 w 9141744"/>
              <a:gd name="connsiteY2" fmla="*/ 6863485 h 6863485"/>
              <a:gd name="connsiteX3" fmla="*/ 0 w 9141744"/>
              <a:gd name="connsiteY3" fmla="*/ 6863485 h 6863485"/>
              <a:gd name="connsiteX4" fmla="*/ 0 w 9141744"/>
              <a:gd name="connsiteY4" fmla="*/ 0 h 6863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1744" h="6863485">
                <a:moveTo>
                  <a:pt x="0" y="0"/>
                </a:moveTo>
                <a:lnTo>
                  <a:pt x="5963051" y="0"/>
                </a:lnTo>
                <a:lnTo>
                  <a:pt x="9141744" y="6863485"/>
                </a:lnTo>
                <a:lnTo>
                  <a:pt x="0" y="6863485"/>
                </a:lnTo>
                <a:lnTo>
                  <a:pt x="0" y="0"/>
                </a:lnTo>
                <a:close/>
              </a:path>
            </a:pathLst>
          </a:custGeom>
        </p:spPr>
      </p:pic>
      <p:pic>
        <p:nvPicPr>
          <p:cNvPr id="3" name="Picture 2" descr="A large white building&#10;&#10;Description automatically generated">
            <a:extLst>
              <a:ext uri="{FF2B5EF4-FFF2-40B4-BE49-F238E27FC236}">
                <a16:creationId xmlns:a16="http://schemas.microsoft.com/office/drawing/2014/main" id="{D0FF23C7-7DEB-B84D-B55C-1D6F395DFAB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580706" y="10"/>
            <a:ext cx="12803294" cy="13705978"/>
          </a:xfrm>
          <a:custGeom>
            <a:avLst/>
            <a:gdLst>
              <a:gd name="connsiteX0" fmla="*/ 354282 w 6401647"/>
              <a:gd name="connsiteY0" fmla="*/ 0 h 6852994"/>
              <a:gd name="connsiteX1" fmla="*/ 6401647 w 6401647"/>
              <a:gd name="connsiteY1" fmla="*/ 0 h 6852994"/>
              <a:gd name="connsiteX2" fmla="*/ 6401647 w 6401647"/>
              <a:gd name="connsiteY2" fmla="*/ 6852994 h 6852994"/>
              <a:gd name="connsiteX3" fmla="*/ 0 w 6401647"/>
              <a:gd name="connsiteY3" fmla="*/ 6852994 h 6852994"/>
              <a:gd name="connsiteX4" fmla="*/ 0 w 6401647"/>
              <a:gd name="connsiteY4" fmla="*/ 6852993 h 6852994"/>
              <a:gd name="connsiteX5" fmla="*/ 3528116 w 6401647"/>
              <a:gd name="connsiteY5" fmla="*/ 6852993 h 6852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01647" h="6852994">
                <a:moveTo>
                  <a:pt x="354282" y="0"/>
                </a:moveTo>
                <a:lnTo>
                  <a:pt x="6401647" y="0"/>
                </a:lnTo>
                <a:lnTo>
                  <a:pt x="6401647" y="6852994"/>
                </a:lnTo>
                <a:lnTo>
                  <a:pt x="0" y="6852994"/>
                </a:lnTo>
                <a:lnTo>
                  <a:pt x="0" y="6852993"/>
                </a:lnTo>
                <a:lnTo>
                  <a:pt x="3528116" y="6852993"/>
                </a:lnTo>
                <a:close/>
              </a:path>
            </a:pathLst>
          </a:custGeom>
        </p:spPr>
      </p:pic>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sp>
        <p:nvSpPr>
          <p:cNvPr id="2" name="Rectangle 1">
            <a:extLst>
              <a:ext uri="{FF2B5EF4-FFF2-40B4-BE49-F238E27FC236}">
                <a16:creationId xmlns:a16="http://schemas.microsoft.com/office/drawing/2014/main" id="{D372FD32-85D3-4D53-9066-A7C69F10C50C}"/>
              </a:ext>
            </a:extLst>
          </p:cNvPr>
          <p:cNvSpPr/>
          <p:nvPr/>
        </p:nvSpPr>
        <p:spPr>
          <a:xfrm>
            <a:off x="2802833" y="9581322"/>
            <a:ext cx="3538332" cy="83488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Julio 2020</a:t>
            </a:r>
          </a:p>
        </p:txBody>
      </p:sp>
      <p:sp>
        <p:nvSpPr>
          <p:cNvPr id="4" name="TextBox 3">
            <a:extLst>
              <a:ext uri="{FF2B5EF4-FFF2-40B4-BE49-F238E27FC236}">
                <a16:creationId xmlns:a16="http://schemas.microsoft.com/office/drawing/2014/main" id="{B10E7D89-50ED-46FF-AF69-02FDB0CE00D3}"/>
              </a:ext>
            </a:extLst>
          </p:cNvPr>
          <p:cNvSpPr txBox="1"/>
          <p:nvPr/>
        </p:nvSpPr>
        <p:spPr>
          <a:xfrm>
            <a:off x="2513398" y="7529209"/>
            <a:ext cx="11844627" cy="1569660"/>
          </a:xfrm>
          <a:prstGeom prst="rect">
            <a:avLst/>
          </a:prstGeom>
          <a:noFill/>
        </p:spPr>
        <p:txBody>
          <a:bodyPr wrap="square" rtlCol="0" anchor="t">
            <a:spAutoFit/>
          </a:bodyPr>
          <a:lstStyle/>
          <a:p>
            <a:r>
              <a:rPr lang="en-US" sz="4800" dirty="0">
                <a:solidFill>
                  <a:schemeClr val="bg1"/>
                </a:solidFill>
              </a:rPr>
              <a:t>Modelo Operativo Cloud </a:t>
            </a:r>
          </a:p>
          <a:p>
            <a:r>
              <a:rPr lang="en-US" sz="4800" dirty="0">
                <a:solidFill>
                  <a:schemeClr val="bg1"/>
                </a:solidFill>
              </a:rPr>
              <a:t>(CTOM)</a:t>
            </a:r>
          </a:p>
        </p:txBody>
      </p:sp>
    </p:spTree>
    <p:extLst>
      <p:ext uri="{BB962C8B-B14F-4D97-AF65-F5344CB8AC3E}">
        <p14:creationId xmlns:p14="http://schemas.microsoft.com/office/powerpoint/2010/main" val="18925865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Línea">
            <a:extLst>
              <a:ext uri="{FF2B5EF4-FFF2-40B4-BE49-F238E27FC236}">
                <a16:creationId xmlns:a16="http://schemas.microsoft.com/office/drawing/2014/main" id="{E6406C7C-AA8E-43E3-BC21-3334D612EBD8}"/>
              </a:ext>
            </a:extLst>
          </p:cNvPr>
          <p:cNvSpPr/>
          <p:nvPr/>
        </p:nvSpPr>
        <p:spPr>
          <a:xfrm>
            <a:off x="15766432" y="7978005"/>
            <a:ext cx="6047824" cy="2077121"/>
          </a:xfrm>
          <a:custGeom>
            <a:avLst/>
            <a:gdLst/>
            <a:ahLst/>
            <a:cxnLst>
              <a:cxn ang="0">
                <a:pos x="wd2" y="hd2"/>
              </a:cxn>
              <a:cxn ang="5400000">
                <a:pos x="wd2" y="hd2"/>
              </a:cxn>
              <a:cxn ang="10800000">
                <a:pos x="wd2" y="hd2"/>
              </a:cxn>
              <a:cxn ang="16200000">
                <a:pos x="wd2" y="hd2"/>
              </a:cxn>
            </a:cxnLst>
            <a:rect l="0" t="0" r="r" b="b"/>
            <a:pathLst>
              <a:path w="21600" h="21600" extrusionOk="0">
                <a:moveTo>
                  <a:pt x="0" y="10357"/>
                </a:moveTo>
                <a:lnTo>
                  <a:pt x="1174" y="14425"/>
                </a:lnTo>
                <a:lnTo>
                  <a:pt x="4740" y="20020"/>
                </a:lnTo>
                <a:lnTo>
                  <a:pt x="10539" y="21600"/>
                </a:lnTo>
                <a:lnTo>
                  <a:pt x="14906" y="16052"/>
                </a:lnTo>
                <a:lnTo>
                  <a:pt x="17282" y="7609"/>
                </a:lnTo>
                <a:lnTo>
                  <a:pt x="21600" y="0"/>
                </a:lnTo>
              </a:path>
            </a:pathLst>
          </a:custGeom>
          <a:ln w="76200">
            <a:solidFill>
              <a:srgbClr val="5E5E5E"/>
            </a:solidFill>
            <a:custDash>
              <a:ds d="200000" sp="200000"/>
            </a:custDash>
            <a:miter lim="400000"/>
          </a:ln>
        </p:spPr>
        <p:txBody>
          <a:bodyPr lIns="0" tIns="0" rIns="0" bIns="0" anchor="ctr"/>
          <a:lstStyle/>
          <a:p>
            <a:pPr>
              <a:defRPr sz="3000" b="0">
                <a:solidFill>
                  <a:srgbClr val="FFFFFF"/>
                </a:solidFill>
                <a:latin typeface="+mn-lt"/>
                <a:ea typeface="+mn-ea"/>
                <a:cs typeface="+mn-cs"/>
                <a:sym typeface="Helvetica Neue Medium"/>
              </a:defRPr>
            </a:pPr>
            <a:endParaRPr sz="1125" dirty="0"/>
          </a:p>
        </p:txBody>
      </p:sp>
      <p:sp>
        <p:nvSpPr>
          <p:cNvPr id="40" name="Línea">
            <a:extLst>
              <a:ext uri="{FF2B5EF4-FFF2-40B4-BE49-F238E27FC236}">
                <a16:creationId xmlns:a16="http://schemas.microsoft.com/office/drawing/2014/main" id="{1B7E110F-94FB-43F2-B2DF-282A169420DA}"/>
              </a:ext>
            </a:extLst>
          </p:cNvPr>
          <p:cNvSpPr/>
          <p:nvPr/>
        </p:nvSpPr>
        <p:spPr>
          <a:xfrm>
            <a:off x="4059657" y="6316999"/>
            <a:ext cx="11692190" cy="4407804"/>
          </a:xfrm>
          <a:custGeom>
            <a:avLst/>
            <a:gdLst/>
            <a:ahLst/>
            <a:cxnLst>
              <a:cxn ang="0">
                <a:pos x="wd2" y="hd2"/>
              </a:cxn>
              <a:cxn ang="5400000">
                <a:pos x="wd2" y="hd2"/>
              </a:cxn>
              <a:cxn ang="10800000">
                <a:pos x="wd2" y="hd2"/>
              </a:cxn>
              <a:cxn ang="16200000">
                <a:pos x="wd2" y="hd2"/>
              </a:cxn>
            </a:cxnLst>
            <a:rect l="0" t="0" r="r" b="b"/>
            <a:pathLst>
              <a:path w="21600" h="21600" extrusionOk="0">
                <a:moveTo>
                  <a:pt x="0" y="14237"/>
                </a:moveTo>
                <a:lnTo>
                  <a:pt x="4329" y="21600"/>
                </a:lnTo>
                <a:lnTo>
                  <a:pt x="9710" y="16644"/>
                </a:lnTo>
                <a:lnTo>
                  <a:pt x="10701" y="8228"/>
                </a:lnTo>
                <a:lnTo>
                  <a:pt x="12439" y="2793"/>
                </a:lnTo>
                <a:lnTo>
                  <a:pt x="15891" y="0"/>
                </a:lnTo>
                <a:lnTo>
                  <a:pt x="19488" y="2838"/>
                </a:lnTo>
                <a:lnTo>
                  <a:pt x="21264" y="7694"/>
                </a:lnTo>
                <a:lnTo>
                  <a:pt x="21600" y="12675"/>
                </a:lnTo>
              </a:path>
            </a:pathLst>
          </a:custGeom>
          <a:ln w="76200">
            <a:solidFill>
              <a:srgbClr val="5E5E5E"/>
            </a:solidFill>
            <a:miter lim="400000"/>
            <a:headEnd type="oval"/>
          </a:ln>
        </p:spPr>
        <p:txBody>
          <a:bodyPr lIns="0" tIns="0" rIns="0" bIns="0" anchor="ctr"/>
          <a:lstStyle/>
          <a:p>
            <a:pPr>
              <a:defRPr sz="3000" b="0">
                <a:solidFill>
                  <a:srgbClr val="FFFFFF"/>
                </a:solidFill>
                <a:latin typeface="+mn-lt"/>
                <a:ea typeface="+mn-ea"/>
                <a:cs typeface="+mn-cs"/>
                <a:sym typeface="Helvetica Neue Medium"/>
              </a:defRPr>
            </a:pPr>
            <a:endParaRPr sz="1125" dirty="0"/>
          </a:p>
        </p:txBody>
      </p:sp>
      <p:sp>
        <p:nvSpPr>
          <p:cNvPr id="106" name="Rectángulo 105">
            <a:extLst>
              <a:ext uri="{FF2B5EF4-FFF2-40B4-BE49-F238E27FC236}">
                <a16:creationId xmlns:a16="http://schemas.microsoft.com/office/drawing/2014/main" id="{DBEBD045-2437-4D47-915F-55A822D8EC04}"/>
              </a:ext>
            </a:extLst>
          </p:cNvPr>
          <p:cNvSpPr/>
          <p:nvPr/>
        </p:nvSpPr>
        <p:spPr>
          <a:xfrm>
            <a:off x="15063472" y="8135030"/>
            <a:ext cx="1369682" cy="12580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94" name="Rectángulo 93">
            <a:extLst>
              <a:ext uri="{FF2B5EF4-FFF2-40B4-BE49-F238E27FC236}">
                <a16:creationId xmlns:a16="http://schemas.microsoft.com/office/drawing/2014/main" id="{A0842341-1F54-4537-973F-A873B297724B}"/>
              </a:ext>
            </a:extLst>
          </p:cNvPr>
          <p:cNvSpPr/>
          <p:nvPr/>
        </p:nvSpPr>
        <p:spPr>
          <a:xfrm>
            <a:off x="14052179" y="6316998"/>
            <a:ext cx="1293430" cy="13449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92" name="Rectángulo 91">
            <a:extLst>
              <a:ext uri="{FF2B5EF4-FFF2-40B4-BE49-F238E27FC236}">
                <a16:creationId xmlns:a16="http://schemas.microsoft.com/office/drawing/2014/main" id="{0AA2E265-AAD8-45A9-AF07-96AB1177719B}"/>
              </a:ext>
            </a:extLst>
          </p:cNvPr>
          <p:cNvSpPr/>
          <p:nvPr/>
        </p:nvSpPr>
        <p:spPr>
          <a:xfrm>
            <a:off x="9203157" y="7633943"/>
            <a:ext cx="1369682" cy="9419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sp>
        <p:nvSpPr>
          <p:cNvPr id="34" name="Rectangle 33">
            <a:extLst>
              <a:ext uri="{FF2B5EF4-FFF2-40B4-BE49-F238E27FC236}">
                <a16:creationId xmlns:a16="http://schemas.microsoft.com/office/drawing/2014/main" id="{D734B854-8474-4045-94A4-86C097099597}"/>
              </a:ext>
            </a:extLst>
          </p:cNvPr>
          <p:cNvSpPr/>
          <p:nvPr/>
        </p:nvSpPr>
        <p:spPr>
          <a:xfrm>
            <a:off x="701192" y="1929356"/>
            <a:ext cx="19837639" cy="1015663"/>
          </a:xfrm>
          <a:prstGeom prst="rect">
            <a:avLst/>
          </a:prstGeom>
        </p:spPr>
        <p:txBody>
          <a:bodyPr wrap="square" anchor="t">
            <a:spAutoFit/>
          </a:bodyPr>
          <a:lstStyle/>
          <a:p>
            <a:pPr algn="l">
              <a:spcAft>
                <a:spcPts val="2400"/>
              </a:spcAft>
            </a:pPr>
            <a:r>
              <a:rPr lang="en-US" dirty="0">
                <a:ea typeface="Verdana"/>
              </a:rPr>
              <a:t>Con la vista de procesos se proporciona la secuencialidad de las tareas definidas en la matriz RACI con sus responsabilidades por rol</a:t>
            </a:r>
            <a:r>
              <a:rPr lang="en-US" b="1" dirty="0">
                <a:ea typeface="Verdana"/>
              </a:rPr>
              <a:t>:</a:t>
            </a:r>
          </a:p>
        </p:txBody>
      </p:sp>
      <p:sp>
        <p:nvSpPr>
          <p:cNvPr id="36" name="TextBox 35">
            <a:extLst>
              <a:ext uri="{FF2B5EF4-FFF2-40B4-BE49-F238E27FC236}">
                <a16:creationId xmlns:a16="http://schemas.microsoft.com/office/drawing/2014/main" id="{D33FE939-B3A3-4912-A000-2BDCEFF35340}"/>
              </a:ext>
            </a:extLst>
          </p:cNvPr>
          <p:cNvSpPr txBox="1"/>
          <p:nvPr/>
        </p:nvSpPr>
        <p:spPr>
          <a:xfrm>
            <a:off x="650240" y="541319"/>
            <a:ext cx="22611504" cy="1138773"/>
          </a:xfrm>
          <a:prstGeom prst="rect">
            <a:avLst/>
          </a:prstGeom>
          <a:noFill/>
        </p:spPr>
        <p:txBody>
          <a:bodyPr wrap="square" rtlCol="0" anchor="t">
            <a:spAutoFit/>
          </a:bodyPr>
          <a:lstStyle/>
          <a:p>
            <a:pPr algn="l"/>
            <a:r>
              <a:rPr lang="en-US" sz="4000" b="1" kern="1200" dirty="0">
                <a:solidFill>
                  <a:srgbClr val="C00000"/>
                </a:solidFill>
              </a:rPr>
              <a:t>Overview CTOM</a:t>
            </a:r>
          </a:p>
          <a:p>
            <a:pPr algn="l"/>
            <a:r>
              <a:rPr lang="en-GB" altLang="en-US" sz="2800" kern="1200" dirty="0">
                <a:solidFill>
                  <a:schemeClr val="tx1"/>
                </a:solidFill>
              </a:rPr>
              <a:t>Vista de Procesos</a:t>
            </a:r>
            <a:endParaRPr lang="en-US" altLang="en-US" sz="2800" kern="1200" dirty="0">
              <a:solidFill>
                <a:schemeClr val="tx1"/>
              </a:solidFill>
            </a:endParaRPr>
          </a:p>
        </p:txBody>
      </p:sp>
      <p:sp>
        <p:nvSpPr>
          <p:cNvPr id="41" name="Rectángulo redondeado">
            <a:extLst>
              <a:ext uri="{FF2B5EF4-FFF2-40B4-BE49-F238E27FC236}">
                <a16:creationId xmlns:a16="http://schemas.microsoft.com/office/drawing/2014/main" id="{58892A55-2714-422E-9BCD-C4B432E91987}"/>
              </a:ext>
            </a:extLst>
          </p:cNvPr>
          <p:cNvSpPr/>
          <p:nvPr/>
        </p:nvSpPr>
        <p:spPr>
          <a:xfrm>
            <a:off x="10572837" y="10046579"/>
            <a:ext cx="6047824" cy="2296427"/>
          </a:xfrm>
          <a:prstGeom prst="roundRect">
            <a:avLst>
              <a:gd name="adj" fmla="val 13889"/>
            </a:avLst>
          </a:prstGeom>
          <a:ln w="50800">
            <a:solidFill>
              <a:schemeClr val="accent1"/>
            </a:solidFill>
            <a:miter/>
          </a:ln>
        </p:spPr>
        <p:txBody>
          <a:bodyPr lIns="17145" rIns="17145"/>
          <a:lstStyle/>
          <a:p>
            <a:pPr defTabSz="342900"/>
            <a:endParaRPr sz="713" u="sng" dirty="0">
              <a:latin typeface="Calibri"/>
            </a:endParaRPr>
          </a:p>
        </p:txBody>
      </p:sp>
      <p:sp>
        <p:nvSpPr>
          <p:cNvPr id="44" name="Círculo">
            <a:extLst>
              <a:ext uri="{FF2B5EF4-FFF2-40B4-BE49-F238E27FC236}">
                <a16:creationId xmlns:a16="http://schemas.microsoft.com/office/drawing/2014/main" id="{504ADC63-9AB2-4646-859D-708121818D77}"/>
              </a:ext>
            </a:extLst>
          </p:cNvPr>
          <p:cNvSpPr/>
          <p:nvPr/>
        </p:nvSpPr>
        <p:spPr>
          <a:xfrm>
            <a:off x="10213709" y="6503257"/>
            <a:ext cx="955152" cy="955152"/>
          </a:xfrm>
          <a:prstGeom prst="ellipse">
            <a:avLst/>
          </a:prstGeom>
          <a:solidFill>
            <a:schemeClr val="bg1"/>
          </a:solidFill>
          <a:ln w="25400">
            <a:solidFill>
              <a:schemeClr val="accent1"/>
            </a:solidFill>
            <a:miter lim="400000"/>
          </a:ln>
        </p:spPr>
        <p:txBody>
          <a:bodyPr lIns="0" tIns="0" rIns="0" bIns="0" anchor="ctr"/>
          <a:lstStyle/>
          <a:p>
            <a:pPr>
              <a:defRPr sz="3000" b="0">
                <a:solidFill>
                  <a:srgbClr val="FFFFFF"/>
                </a:solidFill>
                <a:latin typeface="+mn-lt"/>
                <a:ea typeface="+mn-ea"/>
                <a:cs typeface="+mn-cs"/>
                <a:sym typeface="Helvetica Neue Medium"/>
              </a:defRPr>
            </a:pPr>
            <a:endParaRPr sz="1125" dirty="0"/>
          </a:p>
        </p:txBody>
      </p:sp>
      <p:sp>
        <p:nvSpPr>
          <p:cNvPr id="45" name="Círculo">
            <a:extLst>
              <a:ext uri="{FF2B5EF4-FFF2-40B4-BE49-F238E27FC236}">
                <a16:creationId xmlns:a16="http://schemas.microsoft.com/office/drawing/2014/main" id="{BBD37442-221F-4B01-8ABF-0B73CB690E26}"/>
              </a:ext>
            </a:extLst>
          </p:cNvPr>
          <p:cNvSpPr/>
          <p:nvPr/>
        </p:nvSpPr>
        <p:spPr>
          <a:xfrm>
            <a:off x="8970931" y="9296822"/>
            <a:ext cx="707027" cy="707027"/>
          </a:xfrm>
          <a:prstGeom prst="ellipse">
            <a:avLst/>
          </a:prstGeom>
          <a:solidFill>
            <a:srgbClr val="FFFFFF"/>
          </a:solidFill>
          <a:ln w="25400">
            <a:solidFill>
              <a:schemeClr val="accent1"/>
            </a:solidFill>
            <a:miter lim="400000"/>
          </a:ln>
        </p:spPr>
        <p:txBody>
          <a:bodyPr lIns="0" tIns="0" rIns="0" bIns="0" anchor="ctr"/>
          <a:lstStyle/>
          <a:p>
            <a:pPr>
              <a:defRPr sz="3000" b="0">
                <a:solidFill>
                  <a:srgbClr val="FFFFFF"/>
                </a:solidFill>
                <a:latin typeface="+mn-lt"/>
                <a:ea typeface="+mn-ea"/>
                <a:cs typeface="+mn-cs"/>
                <a:sym typeface="Helvetica Neue Medium"/>
              </a:defRPr>
            </a:pPr>
            <a:endParaRPr sz="1125" dirty="0"/>
          </a:p>
        </p:txBody>
      </p:sp>
      <p:sp>
        <p:nvSpPr>
          <p:cNvPr id="49" name="Rectangle 39">
            <a:extLst>
              <a:ext uri="{FF2B5EF4-FFF2-40B4-BE49-F238E27FC236}">
                <a16:creationId xmlns:a16="http://schemas.microsoft.com/office/drawing/2014/main" id="{C3969F35-5FE6-4B10-8CB1-EA2429A71B7C}"/>
              </a:ext>
            </a:extLst>
          </p:cNvPr>
          <p:cNvSpPr txBox="1"/>
          <p:nvPr/>
        </p:nvSpPr>
        <p:spPr>
          <a:xfrm>
            <a:off x="19667957" y="9566474"/>
            <a:ext cx="1049543" cy="167724"/>
          </a:xfrm>
          <a:prstGeom prst="rect">
            <a:avLst/>
          </a:prstGeom>
          <a:ln w="3175">
            <a:miter lim="400000"/>
          </a:ln>
          <a:extLst>
            <a:ext uri="{C572A759-6A51-4108-AA02-DFA0A04FC94B}">
              <ma14:wrappingTextBoxFlag xmlns="" xmlns:ma14="http://schemas.microsoft.com/office/mac/drawingml/2011/main" val="1"/>
            </a:ext>
          </a:extLst>
        </p:spPr>
        <p:txBody>
          <a:bodyPr lIns="0" tIns="0" rIns="0" bIns="0">
            <a:spAutoFit/>
          </a:bodyPr>
          <a:lstStyle>
            <a:lvl1pPr indent="7938" algn="l" defTabSz="1828800">
              <a:lnSpc>
                <a:spcPct val="90000"/>
              </a:lnSpc>
              <a:spcBef>
                <a:spcPts val="3400"/>
              </a:spcBef>
              <a:defRPr sz="1800">
                <a:solidFill>
                  <a:srgbClr val="B60707"/>
                </a:solidFill>
                <a:latin typeface="IBM Plex Sans"/>
                <a:ea typeface="IBM Plex Sans"/>
                <a:cs typeface="IBM Plex Sans"/>
                <a:sym typeface="IBM Plex Sans"/>
              </a:defRPr>
            </a:lvl1pPr>
          </a:lstStyle>
          <a:p>
            <a:endParaRPr sz="675">
              <a:solidFill>
                <a:schemeClr val="bg2">
                  <a:lumMod val="50000"/>
                </a:schemeClr>
              </a:solidFill>
            </a:endParaRPr>
          </a:p>
        </p:txBody>
      </p:sp>
      <p:sp>
        <p:nvSpPr>
          <p:cNvPr id="53" name="Rectángulo redondeado">
            <a:extLst>
              <a:ext uri="{FF2B5EF4-FFF2-40B4-BE49-F238E27FC236}">
                <a16:creationId xmlns:a16="http://schemas.microsoft.com/office/drawing/2014/main" id="{0BB2C94D-E9A0-4868-B649-91CE7812FCAD}"/>
              </a:ext>
            </a:extLst>
          </p:cNvPr>
          <p:cNvSpPr/>
          <p:nvPr/>
        </p:nvSpPr>
        <p:spPr>
          <a:xfrm>
            <a:off x="13523362" y="3052806"/>
            <a:ext cx="5416251" cy="1542990"/>
          </a:xfrm>
          <a:prstGeom prst="roundRect">
            <a:avLst>
              <a:gd name="adj" fmla="val 13889"/>
            </a:avLst>
          </a:prstGeom>
          <a:ln w="50800">
            <a:solidFill>
              <a:schemeClr val="accent1"/>
            </a:solidFill>
            <a:miter/>
          </a:ln>
        </p:spPr>
        <p:txBody>
          <a:bodyPr lIns="17145" rIns="17145"/>
          <a:lstStyle/>
          <a:p>
            <a:pPr defTabSz="342900"/>
            <a:endParaRPr sz="713" u="sng" dirty="0">
              <a:latin typeface="Calibri"/>
            </a:endParaRPr>
          </a:p>
        </p:txBody>
      </p:sp>
      <p:sp>
        <p:nvSpPr>
          <p:cNvPr id="55" name="Rectangle 39">
            <a:extLst>
              <a:ext uri="{FF2B5EF4-FFF2-40B4-BE49-F238E27FC236}">
                <a16:creationId xmlns:a16="http://schemas.microsoft.com/office/drawing/2014/main" id="{D4867236-8441-4E59-8978-1B2586382070}"/>
              </a:ext>
            </a:extLst>
          </p:cNvPr>
          <p:cNvSpPr txBox="1"/>
          <p:nvPr/>
        </p:nvSpPr>
        <p:spPr>
          <a:xfrm>
            <a:off x="13794453" y="3111318"/>
            <a:ext cx="5502203" cy="221599"/>
          </a:xfrm>
          <a:prstGeom prst="rect">
            <a:avLst/>
          </a:prstGeom>
          <a:ln w="3175">
            <a:miter lim="400000"/>
          </a:ln>
          <a:extLst>
            <a:ext uri="{C572A759-6A51-4108-AA02-DFA0A04FC94B}">
              <ma14:wrappingTextBoxFlag xmlns="" xmlns:ma14="http://schemas.microsoft.com/office/mac/drawingml/2011/main" val="1"/>
            </a:ext>
          </a:extLst>
        </p:spPr>
        <p:txBody>
          <a:bodyPr wrap="square" lIns="0" tIns="0" rIns="0" bIns="0">
            <a:spAutoFit/>
          </a:bodyPr>
          <a:lstStyle/>
          <a:p>
            <a:pPr algn="l">
              <a:lnSpc>
                <a:spcPct val="90000"/>
              </a:lnSpc>
              <a:spcBef>
                <a:spcPts val="225"/>
              </a:spcBef>
              <a:defRPr sz="1600" b="0">
                <a:latin typeface="IBM Plex Sans"/>
                <a:ea typeface="IBM Plex Sans"/>
                <a:cs typeface="IBM Plex Sans"/>
                <a:sym typeface="IBM Plex Sans"/>
              </a:defRPr>
            </a:pPr>
            <a:endParaRPr sz="1600"/>
          </a:p>
        </p:txBody>
      </p:sp>
      <p:sp>
        <p:nvSpPr>
          <p:cNvPr id="56" name="Rectángulo redondeado">
            <a:extLst>
              <a:ext uri="{FF2B5EF4-FFF2-40B4-BE49-F238E27FC236}">
                <a16:creationId xmlns:a16="http://schemas.microsoft.com/office/drawing/2014/main" id="{960481DA-6749-4609-9C21-7BCAFA381568}"/>
              </a:ext>
            </a:extLst>
          </p:cNvPr>
          <p:cNvSpPr/>
          <p:nvPr/>
        </p:nvSpPr>
        <p:spPr>
          <a:xfrm>
            <a:off x="16651966" y="5966601"/>
            <a:ext cx="5289381" cy="1988114"/>
          </a:xfrm>
          <a:prstGeom prst="roundRect">
            <a:avLst>
              <a:gd name="adj" fmla="val 13889"/>
            </a:avLst>
          </a:prstGeom>
          <a:ln w="50800">
            <a:solidFill>
              <a:schemeClr val="accent1"/>
            </a:solidFill>
            <a:miter/>
          </a:ln>
        </p:spPr>
        <p:txBody>
          <a:bodyPr lIns="17145" rIns="17145"/>
          <a:lstStyle/>
          <a:p>
            <a:pPr defTabSz="342900"/>
            <a:endParaRPr sz="713" u="sng" dirty="0">
              <a:latin typeface="Calibri"/>
            </a:endParaRPr>
          </a:p>
        </p:txBody>
      </p:sp>
      <p:sp>
        <p:nvSpPr>
          <p:cNvPr id="63" name="Rectángulo redondeado">
            <a:extLst>
              <a:ext uri="{FF2B5EF4-FFF2-40B4-BE49-F238E27FC236}">
                <a16:creationId xmlns:a16="http://schemas.microsoft.com/office/drawing/2014/main" id="{ACA84CD0-5C30-44CE-ADCD-786C843F8114}"/>
              </a:ext>
            </a:extLst>
          </p:cNvPr>
          <p:cNvSpPr/>
          <p:nvPr/>
        </p:nvSpPr>
        <p:spPr>
          <a:xfrm>
            <a:off x="4141440" y="5333786"/>
            <a:ext cx="5355111" cy="1966423"/>
          </a:xfrm>
          <a:prstGeom prst="roundRect">
            <a:avLst>
              <a:gd name="adj" fmla="val 13889"/>
            </a:avLst>
          </a:prstGeom>
          <a:ln w="50800">
            <a:solidFill>
              <a:schemeClr val="accent1"/>
            </a:solidFill>
            <a:miter/>
          </a:ln>
        </p:spPr>
        <p:txBody>
          <a:bodyPr lIns="17145" rIns="17145"/>
          <a:lstStyle/>
          <a:p>
            <a:pPr defTabSz="342900"/>
            <a:endParaRPr sz="713" u="sng" dirty="0">
              <a:latin typeface="Calibri"/>
            </a:endParaRPr>
          </a:p>
        </p:txBody>
      </p:sp>
      <p:sp>
        <p:nvSpPr>
          <p:cNvPr id="65" name="Rectangle 39">
            <a:extLst>
              <a:ext uri="{FF2B5EF4-FFF2-40B4-BE49-F238E27FC236}">
                <a16:creationId xmlns:a16="http://schemas.microsoft.com/office/drawing/2014/main" id="{3A262591-71B9-4C3C-BC78-CB435CCE490B}"/>
              </a:ext>
            </a:extLst>
          </p:cNvPr>
          <p:cNvSpPr txBox="1"/>
          <p:nvPr/>
        </p:nvSpPr>
        <p:spPr>
          <a:xfrm>
            <a:off x="4421986" y="5801366"/>
            <a:ext cx="5012918" cy="1159292"/>
          </a:xfrm>
          <a:prstGeom prst="rect">
            <a:avLst/>
          </a:prstGeom>
          <a:ln w="3175">
            <a:miter lim="400000"/>
          </a:ln>
          <a:extLst>
            <a:ext uri="{C572A759-6A51-4108-AA02-DFA0A04FC94B}">
              <ma14:wrappingTextBoxFlag xmlns="" xmlns:ma14="http://schemas.microsoft.com/office/mac/drawingml/2011/main" val="1"/>
            </a:ext>
          </a:extLst>
        </p:spPr>
        <p:txBody>
          <a:bodyPr wrap="square" lIns="0" tIns="0" rIns="0" bIns="0">
            <a:spAutoFit/>
          </a:bodyPr>
          <a:lstStyle/>
          <a:p>
            <a:pPr algn="l">
              <a:lnSpc>
                <a:spcPct val="90000"/>
              </a:lnSpc>
              <a:spcBef>
                <a:spcPts val="225"/>
              </a:spcBef>
              <a:defRPr sz="1600" b="0">
                <a:latin typeface="IBM Plex Sans"/>
                <a:ea typeface="IBM Plex Sans"/>
                <a:cs typeface="IBM Plex Sans"/>
                <a:sym typeface="IBM Plex Sans"/>
              </a:defRPr>
            </a:pPr>
            <a:r>
              <a:rPr sz="2000">
                <a:latin typeface="+mn-lt"/>
              </a:rPr>
              <a:t>1. </a:t>
            </a:r>
            <a:r>
              <a:rPr lang="es-ES" sz="2000" b="1">
                <a:solidFill>
                  <a:srgbClr val="C00000"/>
                </a:solidFill>
                <a:latin typeface="+mn-lt"/>
              </a:rPr>
              <a:t>Actividades</a:t>
            </a:r>
            <a:r>
              <a:rPr lang="es-ES" sz="2000">
                <a:latin typeface="+mn-lt"/>
              </a:rPr>
              <a:t> marcadas en función de los usuarios objetivos de su ejecución</a:t>
            </a:r>
          </a:p>
          <a:p>
            <a:pPr algn="l">
              <a:lnSpc>
                <a:spcPct val="90000"/>
              </a:lnSpc>
              <a:spcBef>
                <a:spcPts val="225"/>
              </a:spcBef>
              <a:defRPr sz="1600" b="0">
                <a:latin typeface="IBM Plex Sans"/>
                <a:ea typeface="IBM Plex Sans"/>
                <a:cs typeface="IBM Plex Sans"/>
                <a:sym typeface="IBM Plex Sans"/>
              </a:defRPr>
            </a:pPr>
            <a:endParaRPr lang="es-ES" sz="2000">
              <a:latin typeface="+mn-lt"/>
            </a:endParaRPr>
          </a:p>
          <a:p>
            <a:pPr algn="l">
              <a:lnSpc>
                <a:spcPct val="90000"/>
              </a:lnSpc>
              <a:spcBef>
                <a:spcPts val="225"/>
              </a:spcBef>
              <a:defRPr sz="1600" b="0">
                <a:latin typeface="IBM Plex Sans"/>
                <a:ea typeface="IBM Plex Sans"/>
                <a:cs typeface="IBM Plex Sans"/>
                <a:sym typeface="IBM Plex Sans"/>
              </a:defRPr>
            </a:pPr>
            <a:r>
              <a:rPr lang="es-ES" sz="2000">
                <a:latin typeface="+mn-lt"/>
              </a:rPr>
              <a:t>2. Roles </a:t>
            </a:r>
            <a:r>
              <a:rPr lang="es-ES" sz="2000" b="1">
                <a:solidFill>
                  <a:srgbClr val="C00000"/>
                </a:solidFill>
                <a:latin typeface="+mn-lt"/>
              </a:rPr>
              <a:t>delegados</a:t>
            </a:r>
          </a:p>
        </p:txBody>
      </p:sp>
      <p:cxnSp>
        <p:nvCxnSpPr>
          <p:cNvPr id="67" name="Conector angular 5">
            <a:extLst>
              <a:ext uri="{FF2B5EF4-FFF2-40B4-BE49-F238E27FC236}">
                <a16:creationId xmlns:a16="http://schemas.microsoft.com/office/drawing/2014/main" id="{A85D22F4-0BF9-4F72-919B-6AA5B9BFA793}"/>
              </a:ext>
            </a:extLst>
          </p:cNvPr>
          <p:cNvCxnSpPr>
            <a:cxnSpLocks/>
            <a:stCxn id="63" idx="2"/>
          </p:cNvCxnSpPr>
          <p:nvPr/>
        </p:nvCxnSpPr>
        <p:spPr>
          <a:xfrm rot="16200000" flipH="1">
            <a:off x="6620192" y="7499013"/>
            <a:ext cx="2316767" cy="1919158"/>
          </a:xfrm>
          <a:prstGeom prst="bentConnector3">
            <a:avLst>
              <a:gd name="adj1" fmla="val 100894"/>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8" name="Conector angular 7">
            <a:extLst>
              <a:ext uri="{FF2B5EF4-FFF2-40B4-BE49-F238E27FC236}">
                <a16:creationId xmlns:a16="http://schemas.microsoft.com/office/drawing/2014/main" id="{E27641B4-0152-4ADD-BAC5-B4358D825D55}"/>
              </a:ext>
            </a:extLst>
          </p:cNvPr>
          <p:cNvCxnSpPr>
            <a:cxnSpLocks/>
            <a:stCxn id="41" idx="0"/>
          </p:cNvCxnSpPr>
          <p:nvPr/>
        </p:nvCxnSpPr>
        <p:spPr>
          <a:xfrm rot="16200000" flipV="1">
            <a:off x="11193337" y="7643167"/>
            <a:ext cx="1818426" cy="298839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9" name="Conector angular 9">
            <a:extLst>
              <a:ext uri="{FF2B5EF4-FFF2-40B4-BE49-F238E27FC236}">
                <a16:creationId xmlns:a16="http://schemas.microsoft.com/office/drawing/2014/main" id="{878805D4-506D-43FD-BC1D-2CC4FD46177F}"/>
              </a:ext>
            </a:extLst>
          </p:cNvPr>
          <p:cNvCxnSpPr>
            <a:cxnSpLocks/>
          </p:cNvCxnSpPr>
          <p:nvPr/>
        </p:nvCxnSpPr>
        <p:spPr>
          <a:xfrm rot="10800000" flipV="1">
            <a:off x="14649344" y="4573532"/>
            <a:ext cx="1486169" cy="136560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0" name="Conector angular 11">
            <a:extLst>
              <a:ext uri="{FF2B5EF4-FFF2-40B4-BE49-F238E27FC236}">
                <a16:creationId xmlns:a16="http://schemas.microsoft.com/office/drawing/2014/main" id="{E9BE8344-DC0F-40AA-B65B-0C261F551ED6}"/>
              </a:ext>
            </a:extLst>
          </p:cNvPr>
          <p:cNvCxnSpPr>
            <a:cxnSpLocks/>
            <a:stCxn id="56" idx="1"/>
          </p:cNvCxnSpPr>
          <p:nvPr/>
        </p:nvCxnSpPr>
        <p:spPr>
          <a:xfrm rot="10800000" flipV="1">
            <a:off x="16029722" y="6960658"/>
            <a:ext cx="622245" cy="1174372"/>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pic>
        <p:nvPicPr>
          <p:cNvPr id="74" name="Gráfico 73" descr="Trabajador en oficina">
            <a:extLst>
              <a:ext uri="{FF2B5EF4-FFF2-40B4-BE49-F238E27FC236}">
                <a16:creationId xmlns:a16="http://schemas.microsoft.com/office/drawing/2014/main" id="{9018B349-2BB4-49A9-90E7-4713923F40F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979502" y="9258223"/>
            <a:ext cx="717506" cy="717506"/>
          </a:xfrm>
          <a:prstGeom prst="rect">
            <a:avLst/>
          </a:prstGeom>
        </p:spPr>
      </p:pic>
      <p:pic>
        <p:nvPicPr>
          <p:cNvPr id="76" name="Gráfico 75" descr="Contrato">
            <a:extLst>
              <a:ext uri="{FF2B5EF4-FFF2-40B4-BE49-F238E27FC236}">
                <a16:creationId xmlns:a16="http://schemas.microsoft.com/office/drawing/2014/main" id="{ECE44D3E-B6B3-4297-8FEA-674818A72D5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4827894" y="8194347"/>
            <a:ext cx="1486169" cy="1486169"/>
          </a:xfrm>
          <a:prstGeom prst="rect">
            <a:avLst/>
          </a:prstGeom>
        </p:spPr>
      </p:pic>
      <p:pic>
        <p:nvPicPr>
          <p:cNvPr id="79" name="Gráfico 78" descr="Reunión">
            <a:extLst>
              <a:ext uri="{FF2B5EF4-FFF2-40B4-BE49-F238E27FC236}">
                <a16:creationId xmlns:a16="http://schemas.microsoft.com/office/drawing/2014/main" id="{76FEE213-5413-4F5D-812A-B8BCB5B01BC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33314" y="7206547"/>
            <a:ext cx="1645791" cy="1645791"/>
          </a:xfrm>
          <a:prstGeom prst="rect">
            <a:avLst/>
          </a:prstGeom>
        </p:spPr>
      </p:pic>
      <p:pic>
        <p:nvPicPr>
          <p:cNvPr id="86" name="Gráfico 85" descr="Diagrama de red">
            <a:extLst>
              <a:ext uri="{FF2B5EF4-FFF2-40B4-BE49-F238E27FC236}">
                <a16:creationId xmlns:a16="http://schemas.microsoft.com/office/drawing/2014/main" id="{3BAC5CE3-39DA-41C8-B109-C37A48BFA5A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335023" y="6550619"/>
            <a:ext cx="914400" cy="914400"/>
          </a:xfrm>
          <a:prstGeom prst="rect">
            <a:avLst/>
          </a:prstGeom>
        </p:spPr>
      </p:pic>
      <p:pic>
        <p:nvPicPr>
          <p:cNvPr id="89" name="Imagen 88" descr="Imagen que contiene dibujo, paraguas&#10;&#10;Descripción generada automáticamente">
            <a:extLst>
              <a:ext uri="{FF2B5EF4-FFF2-40B4-BE49-F238E27FC236}">
                <a16:creationId xmlns:a16="http://schemas.microsoft.com/office/drawing/2014/main" id="{F004DD00-CB80-41D5-A24F-A9BB3BBA1748}"/>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1727900" y="5440307"/>
            <a:ext cx="2192634" cy="1461185"/>
          </a:xfrm>
          <a:prstGeom prst="rect">
            <a:avLst/>
          </a:prstGeom>
        </p:spPr>
      </p:pic>
      <p:pic>
        <p:nvPicPr>
          <p:cNvPr id="102" name="Gráfico 101" descr="Transferencia">
            <a:extLst>
              <a:ext uri="{FF2B5EF4-FFF2-40B4-BE49-F238E27FC236}">
                <a16:creationId xmlns:a16="http://schemas.microsoft.com/office/drawing/2014/main" id="{0AA16C4D-B782-42CA-B2EC-3E7B6DCD188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4037594" y="6513781"/>
            <a:ext cx="1223499" cy="1223499"/>
          </a:xfrm>
          <a:prstGeom prst="rect">
            <a:avLst/>
          </a:prstGeom>
        </p:spPr>
      </p:pic>
      <p:sp>
        <p:nvSpPr>
          <p:cNvPr id="107" name="Rectangle 39">
            <a:extLst>
              <a:ext uri="{FF2B5EF4-FFF2-40B4-BE49-F238E27FC236}">
                <a16:creationId xmlns:a16="http://schemas.microsoft.com/office/drawing/2014/main" id="{C4E7162F-6D68-48F6-B08C-C507CCB52A3D}"/>
              </a:ext>
            </a:extLst>
          </p:cNvPr>
          <p:cNvSpPr txBox="1"/>
          <p:nvPr/>
        </p:nvSpPr>
        <p:spPr>
          <a:xfrm>
            <a:off x="10900052" y="10302172"/>
            <a:ext cx="5533102" cy="1764586"/>
          </a:xfrm>
          <a:prstGeom prst="rect">
            <a:avLst/>
          </a:prstGeom>
          <a:ln w="3175">
            <a:miter lim="400000"/>
          </a:ln>
          <a:extLst>
            <a:ext uri="{C572A759-6A51-4108-AA02-DFA0A04FC94B}">
              <ma14:wrappingTextBoxFlag xmlns="" xmlns:ma14="http://schemas.microsoft.com/office/mac/drawingml/2011/main" val="1"/>
            </a:ext>
          </a:extLst>
        </p:spPr>
        <p:txBody>
          <a:bodyPr wrap="square" lIns="0" tIns="0" rIns="0" bIns="0">
            <a:spAutoFit/>
          </a:bodyPr>
          <a:lstStyle/>
          <a:p>
            <a:pPr algn="l">
              <a:lnSpc>
                <a:spcPct val="90000"/>
              </a:lnSpc>
              <a:spcBef>
                <a:spcPts val="225"/>
              </a:spcBef>
              <a:defRPr sz="1600" b="0">
                <a:latin typeface="IBM Plex Sans"/>
                <a:ea typeface="IBM Plex Sans"/>
                <a:cs typeface="IBM Plex Sans"/>
                <a:sym typeface="IBM Plex Sans"/>
              </a:defRPr>
            </a:pPr>
            <a:r>
              <a:rPr lang="es-ES" sz="2000">
                <a:latin typeface="+mn-lt"/>
              </a:rPr>
              <a:t>Inclusión de </a:t>
            </a:r>
            <a:r>
              <a:rPr lang="es-ES" sz="2000" b="1">
                <a:solidFill>
                  <a:srgbClr val="C00000"/>
                </a:solidFill>
                <a:latin typeface="+mn-lt"/>
              </a:rPr>
              <a:t>Roles secundarios </a:t>
            </a:r>
            <a:r>
              <a:rPr lang="es-ES" sz="2000">
                <a:latin typeface="+mn-lt"/>
              </a:rPr>
              <a:t>que interactúan en el proceso:</a:t>
            </a:r>
          </a:p>
          <a:p>
            <a:pPr algn="l">
              <a:lnSpc>
                <a:spcPct val="90000"/>
              </a:lnSpc>
              <a:spcBef>
                <a:spcPts val="225"/>
              </a:spcBef>
              <a:defRPr sz="1600" b="0">
                <a:latin typeface="IBM Plex Sans"/>
                <a:ea typeface="IBM Plex Sans"/>
                <a:cs typeface="IBM Plex Sans"/>
                <a:sym typeface="IBM Plex Sans"/>
              </a:defRPr>
            </a:pPr>
            <a:endParaRPr lang="es-ES" sz="2000">
              <a:latin typeface="+mn-lt"/>
            </a:endParaRPr>
          </a:p>
          <a:p>
            <a:pPr algn="l">
              <a:lnSpc>
                <a:spcPct val="90000"/>
              </a:lnSpc>
              <a:spcBef>
                <a:spcPts val="225"/>
              </a:spcBef>
              <a:defRPr sz="1600" b="0">
                <a:latin typeface="IBM Plex Sans"/>
                <a:ea typeface="IBM Plex Sans"/>
                <a:cs typeface="IBM Plex Sans"/>
                <a:sym typeface="IBM Plex Sans"/>
              </a:defRPr>
            </a:pPr>
            <a:r>
              <a:rPr sz="2000">
                <a:latin typeface="+mn-lt"/>
              </a:rPr>
              <a:t>1. </a:t>
            </a:r>
            <a:r>
              <a:rPr lang="es-ES" sz="2000">
                <a:latin typeface="+mn-lt"/>
              </a:rPr>
              <a:t>Accountables</a:t>
            </a:r>
          </a:p>
          <a:p>
            <a:pPr algn="l">
              <a:lnSpc>
                <a:spcPct val="90000"/>
              </a:lnSpc>
              <a:spcBef>
                <a:spcPts val="225"/>
              </a:spcBef>
              <a:defRPr sz="1600" b="0">
                <a:latin typeface="IBM Plex Sans"/>
                <a:ea typeface="IBM Plex Sans"/>
                <a:cs typeface="IBM Plex Sans"/>
                <a:sym typeface="IBM Plex Sans"/>
              </a:defRPr>
            </a:pPr>
            <a:r>
              <a:rPr lang="es-ES" sz="2000">
                <a:latin typeface="+mn-lt"/>
              </a:rPr>
              <a:t>2. Consulted</a:t>
            </a:r>
          </a:p>
          <a:p>
            <a:pPr algn="l">
              <a:lnSpc>
                <a:spcPct val="90000"/>
              </a:lnSpc>
              <a:spcBef>
                <a:spcPts val="225"/>
              </a:spcBef>
              <a:defRPr sz="1600" b="0">
                <a:latin typeface="IBM Plex Sans"/>
                <a:ea typeface="IBM Plex Sans"/>
                <a:cs typeface="IBM Plex Sans"/>
                <a:sym typeface="IBM Plex Sans"/>
              </a:defRPr>
            </a:pPr>
            <a:r>
              <a:rPr lang="es-ES" sz="2000">
                <a:latin typeface="+mn-lt"/>
              </a:rPr>
              <a:t>3. Informed</a:t>
            </a:r>
          </a:p>
        </p:txBody>
      </p:sp>
      <p:sp>
        <p:nvSpPr>
          <p:cNvPr id="109" name="Rectangle 39">
            <a:extLst>
              <a:ext uri="{FF2B5EF4-FFF2-40B4-BE49-F238E27FC236}">
                <a16:creationId xmlns:a16="http://schemas.microsoft.com/office/drawing/2014/main" id="{409920F1-A9FA-45CB-84B3-E395FCD889CA}"/>
              </a:ext>
            </a:extLst>
          </p:cNvPr>
          <p:cNvSpPr txBox="1"/>
          <p:nvPr/>
        </p:nvSpPr>
        <p:spPr>
          <a:xfrm>
            <a:off x="13926695" y="3352513"/>
            <a:ext cx="5012918" cy="882293"/>
          </a:xfrm>
          <a:prstGeom prst="rect">
            <a:avLst/>
          </a:prstGeom>
          <a:ln w="3175">
            <a:miter lim="400000"/>
          </a:ln>
          <a:extLst>
            <a:ext uri="{C572A759-6A51-4108-AA02-DFA0A04FC94B}">
              <ma14:wrappingTextBoxFlag xmlns="" xmlns:ma14="http://schemas.microsoft.com/office/mac/drawingml/2011/main" val="1"/>
            </a:ext>
          </a:extLst>
        </p:spPr>
        <p:txBody>
          <a:bodyPr wrap="square" lIns="0" tIns="0" rIns="0" bIns="0">
            <a:spAutoFit/>
          </a:bodyPr>
          <a:lstStyle/>
          <a:p>
            <a:pPr algn="l">
              <a:lnSpc>
                <a:spcPct val="90000"/>
              </a:lnSpc>
              <a:spcBef>
                <a:spcPts val="225"/>
              </a:spcBef>
              <a:defRPr sz="1600" b="0">
                <a:latin typeface="IBM Plex Sans"/>
                <a:ea typeface="IBM Plex Sans"/>
                <a:cs typeface="IBM Plex Sans"/>
                <a:sym typeface="IBM Plex Sans"/>
              </a:defRPr>
            </a:pPr>
            <a:r>
              <a:rPr sz="2000">
                <a:latin typeface="+mn-lt"/>
              </a:rPr>
              <a:t>1. </a:t>
            </a:r>
            <a:r>
              <a:rPr lang="es-ES" sz="2000">
                <a:latin typeface="+mn-lt"/>
              </a:rPr>
              <a:t>Flujos de </a:t>
            </a:r>
            <a:r>
              <a:rPr lang="es-ES" sz="2000" b="1">
                <a:solidFill>
                  <a:srgbClr val="C00000"/>
                </a:solidFill>
                <a:latin typeface="+mn-lt"/>
              </a:rPr>
              <a:t>aprobaciones y escalados</a:t>
            </a:r>
          </a:p>
          <a:p>
            <a:pPr algn="l">
              <a:lnSpc>
                <a:spcPct val="90000"/>
              </a:lnSpc>
              <a:spcBef>
                <a:spcPts val="225"/>
              </a:spcBef>
              <a:defRPr sz="1600" b="0">
                <a:latin typeface="IBM Plex Sans"/>
                <a:ea typeface="IBM Plex Sans"/>
                <a:cs typeface="IBM Plex Sans"/>
                <a:sym typeface="IBM Plex Sans"/>
              </a:defRPr>
            </a:pPr>
            <a:endParaRPr lang="es-ES" sz="2000">
              <a:latin typeface="+mn-lt"/>
            </a:endParaRPr>
          </a:p>
          <a:p>
            <a:pPr algn="l">
              <a:lnSpc>
                <a:spcPct val="90000"/>
              </a:lnSpc>
              <a:spcBef>
                <a:spcPts val="225"/>
              </a:spcBef>
              <a:defRPr sz="1600" b="0">
                <a:latin typeface="IBM Plex Sans"/>
                <a:ea typeface="IBM Plex Sans"/>
                <a:cs typeface="IBM Plex Sans"/>
                <a:sym typeface="IBM Plex Sans"/>
              </a:defRPr>
            </a:pPr>
            <a:r>
              <a:rPr lang="es-ES" sz="2000">
                <a:latin typeface="+mn-lt"/>
              </a:rPr>
              <a:t>2. Realimentaciones y árboles de </a:t>
            </a:r>
            <a:r>
              <a:rPr lang="es-ES" sz="2000" b="1">
                <a:solidFill>
                  <a:srgbClr val="C00000"/>
                </a:solidFill>
                <a:latin typeface="+mn-lt"/>
              </a:rPr>
              <a:t>decisión</a:t>
            </a:r>
          </a:p>
        </p:txBody>
      </p:sp>
      <p:sp>
        <p:nvSpPr>
          <p:cNvPr id="120" name="Rectangle 39">
            <a:extLst>
              <a:ext uri="{FF2B5EF4-FFF2-40B4-BE49-F238E27FC236}">
                <a16:creationId xmlns:a16="http://schemas.microsoft.com/office/drawing/2014/main" id="{0A5D257A-7301-4446-8EA3-2243989DC40C}"/>
              </a:ext>
            </a:extLst>
          </p:cNvPr>
          <p:cNvSpPr txBox="1"/>
          <p:nvPr/>
        </p:nvSpPr>
        <p:spPr>
          <a:xfrm>
            <a:off x="16915256" y="6289673"/>
            <a:ext cx="5012918" cy="1436291"/>
          </a:xfrm>
          <a:prstGeom prst="rect">
            <a:avLst/>
          </a:prstGeom>
          <a:ln w="3175">
            <a:miter lim="400000"/>
          </a:ln>
          <a:extLst>
            <a:ext uri="{C572A759-6A51-4108-AA02-DFA0A04FC94B}">
              <ma14:wrappingTextBoxFlag xmlns="" xmlns:ma14="http://schemas.microsoft.com/office/mac/drawingml/2011/main" val="1"/>
            </a:ext>
          </a:extLst>
        </p:spPr>
        <p:txBody>
          <a:bodyPr wrap="square" lIns="0" tIns="0" rIns="0" bIns="0">
            <a:spAutoFit/>
          </a:bodyPr>
          <a:lstStyle/>
          <a:p>
            <a:pPr algn="l">
              <a:lnSpc>
                <a:spcPct val="90000"/>
              </a:lnSpc>
              <a:spcBef>
                <a:spcPts val="225"/>
              </a:spcBef>
              <a:defRPr sz="1600" b="0">
                <a:latin typeface="IBM Plex Sans"/>
                <a:ea typeface="IBM Plex Sans"/>
                <a:cs typeface="IBM Plex Sans"/>
                <a:sym typeface="IBM Plex Sans"/>
              </a:defRPr>
            </a:pPr>
            <a:r>
              <a:rPr sz="2000">
                <a:latin typeface="+mn-lt"/>
              </a:rPr>
              <a:t>1. </a:t>
            </a:r>
            <a:r>
              <a:rPr lang="es-ES" sz="2000">
                <a:latin typeface="+mn-lt"/>
              </a:rPr>
              <a:t>Soporte documental en </a:t>
            </a:r>
            <a:r>
              <a:rPr lang="es-ES" sz="2000" b="1">
                <a:solidFill>
                  <a:srgbClr val="C00000"/>
                </a:solidFill>
                <a:latin typeface="+mn-lt"/>
              </a:rPr>
              <a:t>Teams</a:t>
            </a:r>
            <a:r>
              <a:rPr lang="es-ES" sz="2000">
                <a:latin typeface="+mn-lt"/>
              </a:rPr>
              <a:t> de todos los procesos</a:t>
            </a:r>
          </a:p>
          <a:p>
            <a:pPr algn="l">
              <a:lnSpc>
                <a:spcPct val="90000"/>
              </a:lnSpc>
              <a:spcBef>
                <a:spcPts val="225"/>
              </a:spcBef>
              <a:defRPr sz="1600" b="0">
                <a:latin typeface="IBM Plex Sans"/>
                <a:ea typeface="IBM Plex Sans"/>
                <a:cs typeface="IBM Plex Sans"/>
                <a:sym typeface="IBM Plex Sans"/>
              </a:defRPr>
            </a:pPr>
            <a:endParaRPr lang="es-ES" sz="2000">
              <a:latin typeface="+mn-lt"/>
            </a:endParaRPr>
          </a:p>
          <a:p>
            <a:pPr algn="l">
              <a:lnSpc>
                <a:spcPct val="90000"/>
              </a:lnSpc>
              <a:spcBef>
                <a:spcPts val="225"/>
              </a:spcBef>
              <a:defRPr sz="1600" b="0">
                <a:latin typeface="IBM Plex Sans"/>
                <a:ea typeface="IBM Plex Sans"/>
                <a:cs typeface="IBM Plex Sans"/>
                <a:sym typeface="IBM Plex Sans"/>
              </a:defRPr>
            </a:pPr>
            <a:r>
              <a:rPr lang="es-ES" sz="2000">
                <a:latin typeface="+mn-lt"/>
              </a:rPr>
              <a:t>2. Diferentes formatos: Excel, bmp, Word, Excel, Word…</a:t>
            </a:r>
          </a:p>
        </p:txBody>
      </p:sp>
      <p:sp>
        <p:nvSpPr>
          <p:cNvPr id="137" name="Círculo">
            <a:extLst>
              <a:ext uri="{FF2B5EF4-FFF2-40B4-BE49-F238E27FC236}">
                <a16:creationId xmlns:a16="http://schemas.microsoft.com/office/drawing/2014/main" id="{9E44C9C5-B508-4E1D-A5AF-E4355E5DA2FB}"/>
              </a:ext>
            </a:extLst>
          </p:cNvPr>
          <p:cNvSpPr/>
          <p:nvPr/>
        </p:nvSpPr>
        <p:spPr>
          <a:xfrm>
            <a:off x="5760681" y="10003849"/>
            <a:ext cx="1331372" cy="1331372"/>
          </a:xfrm>
          <a:prstGeom prst="ellipse">
            <a:avLst/>
          </a:prstGeom>
          <a:solidFill>
            <a:schemeClr val="accent1">
              <a:lumMod val="75000"/>
            </a:schemeClr>
          </a:solidFill>
          <a:ln w="25400">
            <a:solidFill>
              <a:schemeClr val="accent1"/>
            </a:solidFill>
            <a:miter lim="400000"/>
          </a:ln>
        </p:spPr>
        <p:txBody>
          <a:bodyPr lIns="0" tIns="0" rIns="0" bIns="0" anchor="ctr"/>
          <a:lstStyle/>
          <a:p>
            <a:pPr>
              <a:defRPr sz="3000" b="0">
                <a:solidFill>
                  <a:srgbClr val="FFFFFF"/>
                </a:solidFill>
                <a:latin typeface="+mn-lt"/>
                <a:ea typeface="+mn-ea"/>
                <a:cs typeface="+mn-cs"/>
                <a:sym typeface="Helvetica Neue Medium"/>
              </a:defRPr>
            </a:pPr>
            <a:endParaRPr sz="1125" dirty="0"/>
          </a:p>
        </p:txBody>
      </p:sp>
      <p:pic>
        <p:nvPicPr>
          <p:cNvPr id="134" name="Graphic 65" descr="Monthly calendar">
            <a:extLst>
              <a:ext uri="{FF2B5EF4-FFF2-40B4-BE49-F238E27FC236}">
                <a16:creationId xmlns:a16="http://schemas.microsoft.com/office/drawing/2014/main" id="{02C6DE41-3731-417B-A1E9-23A82C70DD2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930173" y="10173341"/>
            <a:ext cx="992387" cy="992387"/>
          </a:xfrm>
          <a:prstGeom prst="rect">
            <a:avLst/>
          </a:prstGeom>
        </p:spPr>
      </p:pic>
      <p:pic>
        <p:nvPicPr>
          <p:cNvPr id="139" name="Imagen 138">
            <a:extLst>
              <a:ext uri="{FF2B5EF4-FFF2-40B4-BE49-F238E27FC236}">
                <a16:creationId xmlns:a16="http://schemas.microsoft.com/office/drawing/2014/main" id="{1C9356FA-B35A-4FB6-9C95-D314ABADEE51}"/>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916088" y="7815842"/>
            <a:ext cx="2461473" cy="2461473"/>
          </a:xfrm>
          <a:prstGeom prst="rect">
            <a:avLst/>
          </a:prstGeom>
        </p:spPr>
      </p:pic>
    </p:spTree>
    <p:extLst>
      <p:ext uri="{BB962C8B-B14F-4D97-AF65-F5344CB8AC3E}">
        <p14:creationId xmlns:p14="http://schemas.microsoft.com/office/powerpoint/2010/main" val="303085421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sp>
        <p:nvSpPr>
          <p:cNvPr id="22" name="TextBox 21">
            <a:extLst>
              <a:ext uri="{FF2B5EF4-FFF2-40B4-BE49-F238E27FC236}">
                <a16:creationId xmlns:a16="http://schemas.microsoft.com/office/drawing/2014/main" id="{DBD2FC54-ADED-1945-9CAB-5D71A60CC211}"/>
              </a:ext>
            </a:extLst>
          </p:cNvPr>
          <p:cNvSpPr txBox="1"/>
          <p:nvPr/>
        </p:nvSpPr>
        <p:spPr>
          <a:xfrm>
            <a:off x="3225705" y="3138192"/>
            <a:ext cx="5465207" cy="1446550"/>
          </a:xfrm>
          <a:prstGeom prst="rect">
            <a:avLst/>
          </a:prstGeom>
          <a:noFill/>
        </p:spPr>
        <p:txBody>
          <a:bodyPr wrap="square" rtlCol="0" anchor="t">
            <a:spAutoFit/>
          </a:bodyPr>
          <a:lstStyle/>
          <a:p>
            <a:r>
              <a:rPr lang="es-ES_tradnl" sz="4400" b="1" kern="1200" dirty="0">
                <a:solidFill>
                  <a:srgbClr val="C00000"/>
                </a:solidFill>
              </a:rPr>
              <a:t>Tabla de contenidos</a:t>
            </a:r>
            <a:endParaRPr lang="es-ES_tradnl" sz="4000" dirty="0"/>
          </a:p>
        </p:txBody>
      </p:sp>
      <p:sp>
        <p:nvSpPr>
          <p:cNvPr id="49" name="Rectangle 48">
            <a:extLst>
              <a:ext uri="{FF2B5EF4-FFF2-40B4-BE49-F238E27FC236}">
                <a16:creationId xmlns:a16="http://schemas.microsoft.com/office/drawing/2014/main" id="{154B5044-884B-435A-933E-9F29936617F0}"/>
              </a:ext>
            </a:extLst>
          </p:cNvPr>
          <p:cNvSpPr/>
          <p:nvPr/>
        </p:nvSpPr>
        <p:spPr>
          <a:xfrm>
            <a:off x="15171199" y="2621758"/>
            <a:ext cx="5489480" cy="257175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r>
              <a:rPr lang="en-IN" sz="2800" b="1" dirty="0">
                <a:solidFill>
                  <a:schemeClr val="bg1"/>
                </a:solidFill>
                <a:latin typeface="Arial" panose="020B0604020202020204"/>
                <a:ea typeface="MS PGothic" charset="-128"/>
              </a:rPr>
              <a:t>2</a:t>
            </a: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r>
              <a:rPr lang="en-US" sz="2800" b="1" dirty="0">
                <a:solidFill>
                  <a:schemeClr val="bg1"/>
                </a:solidFill>
                <a:latin typeface="Arial" panose="020B0604020202020204"/>
                <a:ea typeface="MS PGothic" charset="-128"/>
              </a:rPr>
              <a:t>Organización y Areas</a:t>
            </a:r>
          </a:p>
        </p:txBody>
      </p:sp>
      <p:sp>
        <p:nvSpPr>
          <p:cNvPr id="52" name="Rectangle 51">
            <a:extLst>
              <a:ext uri="{FF2B5EF4-FFF2-40B4-BE49-F238E27FC236}">
                <a16:creationId xmlns:a16="http://schemas.microsoft.com/office/drawing/2014/main" id="{7005AE54-F116-4292-812F-6FBFC95D871A}"/>
              </a:ext>
            </a:extLst>
          </p:cNvPr>
          <p:cNvSpPr/>
          <p:nvPr/>
        </p:nvSpPr>
        <p:spPr>
          <a:xfrm>
            <a:off x="9198452" y="5415255"/>
            <a:ext cx="5489480" cy="2571750"/>
          </a:xfrm>
          <a:prstGeom prst="rect">
            <a:avLst/>
          </a:prstGeom>
          <a:solidFill>
            <a:schemeClr val="bg2">
              <a:lumMod val="75000"/>
            </a:scheme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828837"/>
            <a:r>
              <a:rPr lang="en-IN" sz="2800" b="1" kern="1200" dirty="0">
                <a:solidFill>
                  <a:srgbClr val="FFFFFF"/>
                </a:solidFill>
                <a:latin typeface="IBM Plex Sans" panose="020B0503050000000000" pitchFamily="34" charset="0"/>
                <a:ea typeface="Verdana" panose="020B0604030504040204" pitchFamily="34" charset="0"/>
              </a:rPr>
              <a:t>4</a:t>
            </a:r>
          </a:p>
          <a:p>
            <a:pPr algn="r" defTabSz="1828837"/>
            <a:endParaRPr lang="en-US" sz="2800" b="1" kern="1200" dirty="0">
              <a:solidFill>
                <a:srgbClr val="FFFFFF"/>
              </a:solidFill>
              <a:latin typeface="IBM Plex Sans" panose="020B0503050000000000" pitchFamily="34" charset="0"/>
              <a:ea typeface="Verdana" panose="020B0604030504040204" pitchFamily="34" charset="0"/>
            </a:endParaRPr>
          </a:p>
          <a:p>
            <a:pPr algn="r" defTabSz="1828837"/>
            <a:endParaRPr lang="en-US" sz="2800" b="1" kern="1200" dirty="0">
              <a:solidFill>
                <a:srgbClr val="FFFFFF"/>
              </a:solidFill>
              <a:latin typeface="IBM Plex Sans" panose="020B0503050000000000" pitchFamily="34" charset="0"/>
              <a:ea typeface="Verdana" panose="020B0604030504040204" pitchFamily="34" charset="0"/>
            </a:endParaRPr>
          </a:p>
          <a:p>
            <a:pPr algn="r" defTabSz="1828837"/>
            <a:endParaRPr lang="en-US" sz="2800" b="1" kern="1200" dirty="0">
              <a:solidFill>
                <a:srgbClr val="FFFFFF"/>
              </a:solidFill>
              <a:latin typeface="IBM Plex Sans" panose="020B0503050000000000" pitchFamily="34" charset="0"/>
              <a:ea typeface="Verdana" panose="020B0604030504040204" pitchFamily="34" charset="0"/>
            </a:endParaRPr>
          </a:p>
          <a:p>
            <a:pPr defTabSz="1828837"/>
            <a:r>
              <a:rPr lang="en-US" sz="2800" kern="1200" dirty="0">
                <a:solidFill>
                  <a:srgbClr val="FFFFFF"/>
                </a:solidFill>
                <a:latin typeface="+mn-lt"/>
                <a:ea typeface="Verdana" panose="020B0604030504040204" pitchFamily="34" charset="0"/>
              </a:rPr>
              <a:t>KPIs y Niveles de Servicio</a:t>
            </a:r>
          </a:p>
        </p:txBody>
      </p:sp>
      <p:pic>
        <p:nvPicPr>
          <p:cNvPr id="62" name="Graphic 61" descr="Gauge">
            <a:extLst>
              <a:ext uri="{FF2B5EF4-FFF2-40B4-BE49-F238E27FC236}">
                <a16:creationId xmlns:a16="http://schemas.microsoft.com/office/drawing/2014/main" id="{0895E6BF-6F42-49BE-A95E-892D97E89EC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036454" y="5552938"/>
            <a:ext cx="1463040" cy="1463040"/>
          </a:xfrm>
          <a:prstGeom prst="rect">
            <a:avLst/>
          </a:prstGeom>
        </p:spPr>
      </p:pic>
      <p:pic>
        <p:nvPicPr>
          <p:cNvPr id="64" name="Graphic 63" descr="Hierarchy">
            <a:extLst>
              <a:ext uri="{FF2B5EF4-FFF2-40B4-BE49-F238E27FC236}">
                <a16:creationId xmlns:a16="http://schemas.microsoft.com/office/drawing/2014/main" id="{F29C9CF4-AAB9-4BA5-BC19-AE25D962E06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7184419" y="2829150"/>
            <a:ext cx="1463040" cy="1463040"/>
          </a:xfrm>
          <a:prstGeom prst="rect">
            <a:avLst/>
          </a:prstGeom>
        </p:spPr>
      </p:pic>
      <p:pic>
        <p:nvPicPr>
          <p:cNvPr id="3" name="Gráfico 2" descr="Clip">
            <a:extLst>
              <a:ext uri="{FF2B5EF4-FFF2-40B4-BE49-F238E27FC236}">
                <a16:creationId xmlns:a16="http://schemas.microsoft.com/office/drawing/2014/main" id="{803EE050-D601-4C76-B9B1-AE86744FB1B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7321579" y="5816152"/>
            <a:ext cx="1188720" cy="1188720"/>
          </a:xfrm>
          <a:prstGeom prst="rect">
            <a:avLst/>
          </a:prstGeom>
        </p:spPr>
      </p:pic>
      <p:sp>
        <p:nvSpPr>
          <p:cNvPr id="20" name="Rectangle 45">
            <a:extLst>
              <a:ext uri="{FF2B5EF4-FFF2-40B4-BE49-F238E27FC236}">
                <a16:creationId xmlns:a16="http://schemas.microsoft.com/office/drawing/2014/main" id="{EDF80CD5-0D9D-4FFD-9B75-3A93A5569BA1}"/>
              </a:ext>
            </a:extLst>
          </p:cNvPr>
          <p:cNvSpPr/>
          <p:nvPr/>
        </p:nvSpPr>
        <p:spPr>
          <a:xfrm>
            <a:off x="9198452" y="2621758"/>
            <a:ext cx="5489480" cy="2571750"/>
          </a:xfrm>
          <a:prstGeom prst="rect">
            <a:avLst/>
          </a:prstGeom>
          <a:solidFill>
            <a:schemeClr val="bg2">
              <a:lumMod val="75000"/>
            </a:scheme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endParaRPr lang="en-IN" sz="1600" b="1" dirty="0">
              <a:solidFill>
                <a:schemeClr val="bg1"/>
              </a:solidFill>
              <a:latin typeface="Arial" panose="020B0604020202020204"/>
              <a:ea typeface="MS PGothic" charset="-128"/>
            </a:endParaRPr>
          </a:p>
          <a:p>
            <a:pPr algn="r" defTabSz="1097280" fontAlgn="base">
              <a:spcBef>
                <a:spcPct val="0"/>
              </a:spcBef>
              <a:spcAft>
                <a:spcPct val="0"/>
              </a:spcAft>
            </a:pPr>
            <a:r>
              <a:rPr lang="en-IN" sz="2800" b="1" dirty="0">
                <a:solidFill>
                  <a:schemeClr val="bg1"/>
                </a:solidFill>
                <a:latin typeface="Arial" panose="020B0604020202020204"/>
                <a:ea typeface="MS PGothic" charset="-128"/>
              </a:rPr>
              <a:t>1</a:t>
            </a: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r>
              <a:rPr lang="en-US" sz="2800" dirty="0">
                <a:solidFill>
                  <a:schemeClr val="bg1"/>
                </a:solidFill>
                <a:latin typeface="Arial" panose="020B0604020202020204"/>
                <a:ea typeface="MS PGothic" charset="-128"/>
              </a:rPr>
              <a:t>Overview CTOM</a:t>
            </a:r>
          </a:p>
          <a:p>
            <a:pPr algn="r" defTabSz="1097280" fontAlgn="base">
              <a:spcBef>
                <a:spcPct val="0"/>
              </a:spcBef>
              <a:spcAft>
                <a:spcPct val="0"/>
              </a:spcAft>
            </a:pPr>
            <a:endParaRPr lang="en-IN" sz="1600" b="1" dirty="0">
              <a:solidFill>
                <a:schemeClr val="bg1"/>
              </a:solidFill>
              <a:latin typeface="Arial" panose="020B0604020202020204"/>
              <a:ea typeface="MS PGothic" charset="-128"/>
            </a:endParaRPr>
          </a:p>
        </p:txBody>
      </p:sp>
      <p:pic>
        <p:nvPicPr>
          <p:cNvPr id="28" name="Graphic 69" descr="Teacher">
            <a:extLst>
              <a:ext uri="{FF2B5EF4-FFF2-40B4-BE49-F238E27FC236}">
                <a16:creationId xmlns:a16="http://schemas.microsoft.com/office/drawing/2014/main" id="{F4BC2766-9EEA-4B4C-91B2-39F811C8EEB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965108" y="2842722"/>
            <a:ext cx="1463040" cy="1463040"/>
          </a:xfrm>
          <a:prstGeom prst="rect">
            <a:avLst/>
          </a:prstGeom>
        </p:spPr>
      </p:pic>
      <p:sp>
        <p:nvSpPr>
          <p:cNvPr id="29" name="Rectangle 49">
            <a:extLst>
              <a:ext uri="{FF2B5EF4-FFF2-40B4-BE49-F238E27FC236}">
                <a16:creationId xmlns:a16="http://schemas.microsoft.com/office/drawing/2014/main" id="{FBE60C84-304C-4C92-B48B-7035B332383D}"/>
              </a:ext>
            </a:extLst>
          </p:cNvPr>
          <p:cNvSpPr/>
          <p:nvPr/>
        </p:nvSpPr>
        <p:spPr>
          <a:xfrm>
            <a:off x="3225705" y="5414472"/>
            <a:ext cx="5489480" cy="2571750"/>
          </a:xfrm>
          <a:prstGeom prst="rect">
            <a:avLst/>
          </a:prstGeom>
          <a:solidFill>
            <a:schemeClr val="bg2">
              <a:lumMod val="75000"/>
            </a:scheme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endParaRPr lang="en-IN" sz="1600" b="1" dirty="0">
              <a:solidFill>
                <a:schemeClr val="bg1"/>
              </a:solidFill>
              <a:latin typeface="Arial" panose="020B0604020202020204"/>
              <a:ea typeface="MS PGothic" charset="-128"/>
            </a:endParaRPr>
          </a:p>
          <a:p>
            <a:pPr algn="r" defTabSz="1828837">
              <a:defRPr/>
            </a:pPr>
            <a:r>
              <a:rPr lang="en-IN" sz="2800" b="1" kern="1200" dirty="0">
                <a:solidFill>
                  <a:srgbClr val="FFFFFF"/>
                </a:solidFill>
                <a:latin typeface="IBM Plex Sans" panose="020B0503050000000000" pitchFamily="34" charset="0"/>
                <a:ea typeface="Verdana" panose="020B0604030504040204" pitchFamily="34" charset="0"/>
              </a:rPr>
              <a:t>3</a:t>
            </a: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828837">
              <a:defRPr/>
            </a:pPr>
            <a:endParaRPr lang="en-US" sz="2800" kern="1200" dirty="0">
              <a:solidFill>
                <a:srgbClr val="E7E6E6"/>
              </a:solidFill>
              <a:latin typeface="IBM Plex Sans" panose="020B0503050000000000" pitchFamily="34" charset="0"/>
              <a:ea typeface="+mn-ea"/>
              <a:cs typeface="+mn-cs"/>
            </a:endParaRPr>
          </a:p>
          <a:p>
            <a:pPr defTabSz="1828837">
              <a:defRPr/>
            </a:pPr>
            <a:r>
              <a:rPr lang="en-US" sz="2800" kern="1200" dirty="0">
                <a:solidFill>
                  <a:srgbClr val="E7E6E6"/>
                </a:solidFill>
                <a:latin typeface="+mn-lt"/>
                <a:ea typeface="+mn-ea"/>
                <a:cs typeface="+mn-cs"/>
              </a:rPr>
              <a:t>Principales procesos operativos</a:t>
            </a:r>
            <a:endParaRPr lang="en-US" dirty="0">
              <a:latin typeface="+mn-lt"/>
              <a:ea typeface="+mn-ea"/>
              <a:cs typeface="+mn-cs"/>
            </a:endParaRPr>
          </a:p>
          <a:p>
            <a:pPr defTabSz="1097280" fontAlgn="base">
              <a:spcBef>
                <a:spcPct val="0"/>
              </a:spcBef>
              <a:spcAft>
                <a:spcPct val="0"/>
              </a:spcAft>
            </a:pPr>
            <a:endParaRPr lang="en-IN" sz="1600" b="1" dirty="0">
              <a:solidFill>
                <a:schemeClr val="bg1"/>
              </a:solidFill>
              <a:latin typeface="Arial" panose="020B0604020202020204"/>
              <a:ea typeface="MS PGothic" charset="-128"/>
            </a:endParaRPr>
          </a:p>
        </p:txBody>
      </p:sp>
      <p:pic>
        <p:nvPicPr>
          <p:cNvPr id="30" name="Graphic 66" descr="Network">
            <a:hlinkClick r:id="rId11" action="ppaction://hlinksldjump"/>
            <a:extLst>
              <a:ext uri="{FF2B5EF4-FFF2-40B4-BE49-F238E27FC236}">
                <a16:creationId xmlns:a16="http://schemas.microsoft.com/office/drawing/2014/main" id="{6FFCC92F-1544-411A-95A9-A2EA60CA976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297133" y="5529090"/>
            <a:ext cx="1463040" cy="1463040"/>
          </a:xfrm>
          <a:prstGeom prst="rect">
            <a:avLst/>
          </a:prstGeom>
        </p:spPr>
      </p:pic>
    </p:spTree>
    <p:extLst>
      <p:ext uri="{BB962C8B-B14F-4D97-AF65-F5344CB8AC3E}">
        <p14:creationId xmlns:p14="http://schemas.microsoft.com/office/powerpoint/2010/main" val="38675972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5"/>
          <p:cNvSpPr txBox="1">
            <a:spLocks noGrp="1" noChangeArrowheads="1"/>
          </p:cNvSpPr>
          <p:nvPr/>
        </p:nvSpPr>
        <p:spPr bwMode="black">
          <a:xfrm>
            <a:off x="3413126" y="13074650"/>
            <a:ext cx="733424" cy="368300"/>
          </a:xfrm>
          <a:prstGeom prst="rect">
            <a:avLst/>
          </a:prstGeom>
          <a:noFill/>
          <a:ln w="9525">
            <a:noFill/>
            <a:miter lim="800000"/>
            <a:headEnd/>
            <a:tailEnd/>
          </a:ln>
        </p:spPr>
        <p:txBody>
          <a:bodyPr lIns="184150" tIns="92076" rIns="184150" bIns="92076"/>
          <a:lstStyle/>
          <a:p>
            <a:fld id="{91ECDFF8-1E9F-4B22-BFC9-D56DCD534717}" type="slidenum">
              <a:rPr lang="en-US" sz="1600" u="none"/>
              <a:pPr/>
              <a:t>12</a:t>
            </a:fld>
            <a:endParaRPr lang="en-US" sz="1600" u="none" dirty="0"/>
          </a:p>
        </p:txBody>
      </p:sp>
      <p:sp>
        <p:nvSpPr>
          <p:cNvPr id="69" name="TextBox 68">
            <a:extLst>
              <a:ext uri="{FF2B5EF4-FFF2-40B4-BE49-F238E27FC236}">
                <a16:creationId xmlns:a16="http://schemas.microsoft.com/office/drawing/2014/main" id="{A51579CF-1C9F-4C88-B800-91DB91C9AC35}"/>
              </a:ext>
            </a:extLst>
          </p:cNvPr>
          <p:cNvSpPr txBox="1"/>
          <p:nvPr/>
        </p:nvSpPr>
        <p:spPr>
          <a:xfrm>
            <a:off x="701193" y="2068873"/>
            <a:ext cx="21394880" cy="193899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GB" dirty="0"/>
              <a:t>La adopción Cloud require multiples equipos para operar y colaborar de una forma consistente para poder proporcionar Servicios end-to-end alineados con las necesidades.</a:t>
            </a:r>
          </a:p>
          <a:p>
            <a:pPr algn="l"/>
            <a:endParaRPr lang="en-GB" dirty="0"/>
          </a:p>
          <a:p>
            <a:pPr algn="l"/>
            <a:r>
              <a:rPr lang="en-GB" dirty="0"/>
              <a:t>A continuación se definen </a:t>
            </a:r>
            <a:r>
              <a:rPr lang="en-GB" b="1" dirty="0">
                <a:solidFill>
                  <a:srgbClr val="C00000"/>
                </a:solidFill>
              </a:rPr>
              <a:t>equipos y </a:t>
            </a:r>
            <a:r>
              <a:rPr lang="en-GB" b="1" dirty="0" err="1">
                <a:solidFill>
                  <a:srgbClr val="C00000"/>
                </a:solidFill>
              </a:rPr>
              <a:t>actividades</a:t>
            </a:r>
            <a:r>
              <a:rPr lang="en-GB" b="1" dirty="0">
                <a:solidFill>
                  <a:srgbClr val="C00000"/>
                </a:solidFill>
              </a:rPr>
              <a:t> </a:t>
            </a:r>
            <a:r>
              <a:rPr lang="en-GB" dirty="0" err="1">
                <a:solidFill>
                  <a:schemeClr val="tx1"/>
                </a:solidFill>
              </a:rPr>
              <a:t>revisados</a:t>
            </a:r>
            <a:r>
              <a:rPr lang="en-GB" dirty="0">
                <a:solidFill>
                  <a:schemeClr val="tx1"/>
                </a:solidFill>
              </a:rPr>
              <a:t> en </a:t>
            </a:r>
            <a:r>
              <a:rPr lang="en-GB" b="1" dirty="0" err="1">
                <a:solidFill>
                  <a:srgbClr val="C00000"/>
                </a:solidFill>
              </a:rPr>
              <a:t>Fase</a:t>
            </a:r>
            <a:r>
              <a:rPr lang="en-GB" b="1" dirty="0">
                <a:solidFill>
                  <a:srgbClr val="C00000"/>
                </a:solidFill>
              </a:rPr>
              <a:t> I </a:t>
            </a:r>
            <a:r>
              <a:rPr lang="en-GB" dirty="0">
                <a:solidFill>
                  <a:schemeClr val="tx1"/>
                </a:solidFill>
              </a:rPr>
              <a:t>dentro de la organización :</a:t>
            </a:r>
            <a:endParaRPr lang="en-US" dirty="0">
              <a:solidFill>
                <a:schemeClr val="tx1"/>
              </a:solidFill>
            </a:endParaRPr>
          </a:p>
        </p:txBody>
      </p:sp>
      <p:graphicFrame>
        <p:nvGraphicFramePr>
          <p:cNvPr id="71" name="Table 70">
            <a:extLst>
              <a:ext uri="{FF2B5EF4-FFF2-40B4-BE49-F238E27FC236}">
                <a16:creationId xmlns:a16="http://schemas.microsoft.com/office/drawing/2014/main" id="{88D32BEA-F80A-4232-A4E2-F71F4F4BF03A}"/>
              </a:ext>
            </a:extLst>
          </p:cNvPr>
          <p:cNvGraphicFramePr>
            <a:graphicFrameLocks noGrp="1"/>
          </p:cNvGraphicFramePr>
          <p:nvPr>
            <p:extLst>
              <p:ext uri="{D42A27DB-BD31-4B8C-83A1-F6EECF244321}">
                <p14:modId xmlns:p14="http://schemas.microsoft.com/office/powerpoint/2010/main" val="2959471249"/>
              </p:ext>
            </p:extLst>
          </p:nvPr>
        </p:nvGraphicFramePr>
        <p:xfrm>
          <a:off x="3413126" y="4187096"/>
          <a:ext cx="17988678" cy="8422640"/>
        </p:xfrm>
        <a:graphic>
          <a:graphicData uri="http://schemas.openxmlformats.org/drawingml/2006/table">
            <a:tbl>
              <a:tblPr firstRow="1" bandRow="1">
                <a:tableStyleId>{5940675A-B579-460E-94D1-54222C63F5DA}</a:tableStyleId>
              </a:tblPr>
              <a:tblGrid>
                <a:gridCol w="5121763">
                  <a:extLst>
                    <a:ext uri="{9D8B030D-6E8A-4147-A177-3AD203B41FA5}">
                      <a16:colId xmlns:a16="http://schemas.microsoft.com/office/drawing/2014/main" val="2232338029"/>
                    </a:ext>
                  </a:extLst>
                </a:gridCol>
                <a:gridCol w="12866915">
                  <a:extLst>
                    <a:ext uri="{9D8B030D-6E8A-4147-A177-3AD203B41FA5}">
                      <a16:colId xmlns:a16="http://schemas.microsoft.com/office/drawing/2014/main" val="3944308003"/>
                    </a:ext>
                  </a:extLst>
                </a:gridCol>
              </a:tblGrid>
              <a:tr h="399960">
                <a:tc>
                  <a:txBody>
                    <a:bodyPr/>
                    <a:lstStyle/>
                    <a:p>
                      <a:pPr algn="ctr"/>
                      <a:r>
                        <a:rPr kumimoji="0" lang="es-ES" sz="2400" b="1" i="0" u="none" strike="noStrike" kern="1200" cap="none" spc="0" normalizeH="0" baseline="0" noProof="0" dirty="0">
                          <a:ln>
                            <a:noFill/>
                          </a:ln>
                          <a:solidFill>
                            <a:schemeClr val="bg1"/>
                          </a:solidFill>
                          <a:effectLst/>
                          <a:uFillTx/>
                          <a:latin typeface="+mn-lt"/>
                          <a:cs typeface="Arial" charset="0"/>
                          <a:sym typeface="Helvetica"/>
                        </a:rPr>
                        <a:t>Equipo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r>
                        <a:rPr kumimoji="0" lang="es-ES" sz="2400" b="1" i="0" u="none" strike="noStrike" kern="1200" cap="none" spc="0" normalizeH="0" baseline="0" noProof="0" dirty="0">
                          <a:ln>
                            <a:noFill/>
                          </a:ln>
                          <a:solidFill>
                            <a:schemeClr val="bg1"/>
                          </a:solidFill>
                          <a:effectLst/>
                          <a:uFillTx/>
                          <a:latin typeface="+mn-lt"/>
                          <a:cs typeface="Arial" charset="0"/>
                          <a:sym typeface="Helvetica"/>
                        </a:rPr>
                        <a:t>Actividade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4218262327"/>
                  </a:ext>
                </a:extLst>
              </a:tr>
              <a:tr h="0">
                <a:tc>
                  <a:txBody>
                    <a:bodyPr/>
                    <a:lstStyle/>
                    <a:p>
                      <a:r>
                        <a:rPr kumimoji="0" lang="es-ES" sz="1800" b="1" i="0" u="none" strike="noStrike" kern="1200" cap="none" spc="0" normalizeH="0" baseline="0" noProof="0" dirty="0">
                          <a:ln>
                            <a:noFill/>
                          </a:ln>
                          <a:solidFill>
                            <a:schemeClr val="tx1"/>
                          </a:solidFill>
                          <a:effectLst/>
                          <a:uFillTx/>
                          <a:latin typeface="+mn-lt"/>
                          <a:cs typeface="Arial"/>
                          <a:sym typeface="Helvetica"/>
                        </a:rPr>
                        <a:t>Dominio de Negocio</a:t>
                      </a:r>
                    </a:p>
                  </a:txBody>
                  <a:tcPr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342900" algn="l" defTabSz="1828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_tradnl" sz="1800" b="0" i="0" u="none" strike="noStrike" kern="1200" cap="none" spc="0" normalizeH="0" baseline="0" noProof="0" dirty="0">
                          <a:ln>
                            <a:noFill/>
                          </a:ln>
                          <a:solidFill>
                            <a:schemeClr val="tx1"/>
                          </a:solidFill>
                          <a:effectLst/>
                          <a:uFillTx/>
                          <a:latin typeface="+mn-lt"/>
                          <a:cs typeface="Arial" charset="0"/>
                          <a:sym typeface="Helvetica"/>
                        </a:rPr>
                        <a:t>Configuración, desarrollo &amp; despliegue de las aplicaciones de negocio usando los servicios de plataforma Cloud</a:t>
                      </a:r>
                    </a:p>
                    <a:p>
                      <a:pPr marL="342900" marR="0" lvl="0" indent="-342900" algn="l" defTabSz="1828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_tradnl" sz="1800" b="0" i="0" u="none" strike="noStrike" kern="1200" cap="none" spc="0" normalizeH="0" baseline="0" noProof="0" dirty="0">
                          <a:ln>
                            <a:noFill/>
                          </a:ln>
                          <a:solidFill>
                            <a:schemeClr val="tx1"/>
                          </a:solidFill>
                          <a:effectLst/>
                          <a:uFillTx/>
                          <a:latin typeface="+mn-lt"/>
                          <a:cs typeface="Arial" charset="0"/>
                          <a:sym typeface="Helvetica"/>
                        </a:rPr>
                        <a:t>Creación y ejecución de casos de prueba manuales</a:t>
                      </a:r>
                    </a:p>
                    <a:p>
                      <a:pPr marL="342900" marR="0" lvl="0" indent="-342900" algn="l" defTabSz="1828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_tradnl" sz="1800" b="0" i="0" u="none" strike="noStrike" kern="1200" cap="none" spc="0" normalizeH="0" baseline="0" noProof="0" dirty="0">
                          <a:ln>
                            <a:noFill/>
                          </a:ln>
                          <a:solidFill>
                            <a:schemeClr val="tx1"/>
                          </a:solidFill>
                          <a:effectLst/>
                          <a:uFillTx/>
                          <a:latin typeface="+mn-lt"/>
                          <a:cs typeface="Arial" charset="0"/>
                          <a:sym typeface="Helvetica"/>
                        </a:rPr>
                        <a:t>Configuración y ejecución de las pipelines por entorno</a:t>
                      </a:r>
                    </a:p>
                    <a:p>
                      <a:pPr marL="342900" marR="0" lvl="0" indent="-342900" algn="l" defTabSz="1828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_tradnl" sz="1800" b="0" i="0" u="none" strike="noStrike" kern="1200" cap="none" spc="0" normalizeH="0" baseline="0" noProof="0" dirty="0">
                          <a:ln>
                            <a:noFill/>
                          </a:ln>
                          <a:solidFill>
                            <a:schemeClr val="tx1"/>
                          </a:solidFill>
                          <a:effectLst/>
                          <a:uFillTx/>
                          <a:latin typeface="+mn-lt"/>
                          <a:cs typeface="Arial" charset="0"/>
                          <a:sym typeface="Helvetica"/>
                        </a:rPr>
                        <a:t>Revisión y corrección de incidencias</a:t>
                      </a:r>
                    </a:p>
                    <a:p>
                      <a:pPr marL="342900" marR="0" lvl="0" indent="-342900" algn="l" defTabSz="1828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_tradnl" sz="1800" b="0" i="0" u="none" strike="noStrike" kern="1200" cap="none" spc="0" normalizeH="0" baseline="0" noProof="0" dirty="0">
                          <a:ln>
                            <a:noFill/>
                          </a:ln>
                          <a:solidFill>
                            <a:schemeClr val="tx1"/>
                          </a:solidFill>
                          <a:effectLst/>
                          <a:uFillTx/>
                          <a:latin typeface="+mn-lt"/>
                          <a:cs typeface="Arial" charset="0"/>
                          <a:sym typeface="Helvetica"/>
                        </a:rPr>
                        <a:t>Ejecución de los scripts automáticos de la cloud pública</a:t>
                      </a:r>
                    </a:p>
                  </a:txBody>
                  <a:tcP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596002"/>
                  </a:ext>
                </a:extLst>
              </a:tr>
              <a:tr h="370840">
                <a:tc>
                  <a:txBody>
                    <a:bodyPr/>
                    <a:lstStyle/>
                    <a:p>
                      <a:r>
                        <a:rPr kumimoji="0" lang="es-ES" sz="1800" b="1" i="0" u="none" strike="noStrike" kern="1200" cap="none" spc="0" normalizeH="0" baseline="0" noProof="0" dirty="0">
                          <a:ln>
                            <a:noFill/>
                          </a:ln>
                          <a:solidFill>
                            <a:schemeClr val="tx1"/>
                          </a:solidFill>
                          <a:effectLst/>
                          <a:uFillTx/>
                          <a:latin typeface="+mn-lt"/>
                          <a:cs typeface="Arial"/>
                          <a:sym typeface="Helvetica"/>
                        </a:rPr>
                        <a:t>Arquitectura</a:t>
                      </a:r>
                    </a:p>
                  </a:txBody>
                  <a:tcPr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342900">
                        <a:buFont typeface="Arial" panose="020B0604020202020204" pitchFamily="34" charset="0"/>
                        <a:buChar char="•"/>
                      </a:pPr>
                      <a:r>
                        <a:rPr kumimoji="0" lang="es-ES_tradnl" sz="1800" b="0" i="0" u="none" strike="noStrike" kern="1200" cap="none" spc="0" normalizeH="0" baseline="0" noProof="0" dirty="0">
                          <a:ln>
                            <a:noFill/>
                          </a:ln>
                          <a:solidFill>
                            <a:schemeClr val="tx1"/>
                          </a:solidFill>
                          <a:effectLst/>
                          <a:uFillTx/>
                          <a:latin typeface="+mn-lt"/>
                          <a:cs typeface="Arial" charset="0"/>
                          <a:sym typeface="Helvetica"/>
                        </a:rPr>
                        <a:t>Diseño del documento técnico &amp; Infraestructura DTI</a:t>
                      </a:r>
                    </a:p>
                    <a:p>
                      <a:pPr marL="342900" indent="-342900">
                        <a:buFont typeface="Arial" panose="020B0604020202020204" pitchFamily="34" charset="0"/>
                        <a:buChar char="•"/>
                      </a:pPr>
                      <a:r>
                        <a:rPr kumimoji="0" lang="es-ES_tradnl" sz="1800" b="0" i="0" u="none" strike="noStrike" kern="1200" cap="none" spc="0" normalizeH="0" baseline="0" noProof="0" dirty="0">
                          <a:ln>
                            <a:noFill/>
                          </a:ln>
                          <a:solidFill>
                            <a:schemeClr val="tx1"/>
                          </a:solidFill>
                          <a:effectLst/>
                          <a:uFillTx/>
                          <a:latin typeface="+mn-lt"/>
                          <a:cs typeface="Arial" charset="0"/>
                          <a:sym typeface="Helvetica"/>
                        </a:rPr>
                        <a:t>Diseño de los servicios / aplicaciones a desarrollar</a:t>
                      </a:r>
                    </a:p>
                  </a:txBody>
                  <a:tcP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5037803"/>
                  </a:ext>
                </a:extLst>
              </a:tr>
              <a:tr h="370840">
                <a:tc>
                  <a:txBody>
                    <a:bodyPr/>
                    <a:lstStyle/>
                    <a:p>
                      <a:r>
                        <a:rPr kumimoji="0" lang="es-ES" sz="1800" b="1" i="0" u="none" strike="noStrike" kern="1200" cap="none" spc="0" normalizeH="0" baseline="0" noProof="0" dirty="0">
                          <a:ln>
                            <a:noFill/>
                          </a:ln>
                          <a:solidFill>
                            <a:schemeClr val="tx1"/>
                          </a:solidFill>
                          <a:effectLst/>
                          <a:uFillTx/>
                          <a:latin typeface="+mn-lt"/>
                          <a:cs typeface="Arial"/>
                          <a:sym typeface="Helvetica"/>
                        </a:rPr>
                        <a:t>Ingeniería</a:t>
                      </a:r>
                    </a:p>
                  </a:txBody>
                  <a:tcPr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342900">
                        <a:buFont typeface="Arial" panose="020B0604020202020204" pitchFamily="34" charset="0"/>
                        <a:buChar char="•"/>
                      </a:pPr>
                      <a:r>
                        <a:rPr kumimoji="0" lang="es-ES_tradnl" sz="1800" b="0" i="0" u="none" strike="noStrike" kern="1200" cap="none" spc="0" normalizeH="0" baseline="0" noProof="0" dirty="0">
                          <a:ln>
                            <a:noFill/>
                          </a:ln>
                          <a:solidFill>
                            <a:schemeClr val="tx1"/>
                          </a:solidFill>
                          <a:effectLst/>
                          <a:uFillTx/>
                          <a:latin typeface="+mn-lt"/>
                          <a:cs typeface="Arial" charset="0"/>
                          <a:sym typeface="Helvetica"/>
                        </a:rPr>
                        <a:t>Revisión y validación del desarrollo de releases en el entorno local /desarrollo</a:t>
                      </a:r>
                    </a:p>
                    <a:p>
                      <a:pPr marL="342900" indent="-342900">
                        <a:buFont typeface="Arial" panose="020B0604020202020204" pitchFamily="34" charset="0"/>
                        <a:buChar char="•"/>
                      </a:pPr>
                      <a:r>
                        <a:rPr kumimoji="0" lang="es-ES_tradnl" sz="1800" b="0" i="0" u="none" strike="noStrike" kern="1200" cap="none" spc="0" normalizeH="0" baseline="0" noProof="0" dirty="0">
                          <a:ln>
                            <a:noFill/>
                          </a:ln>
                          <a:solidFill>
                            <a:schemeClr val="tx1"/>
                          </a:solidFill>
                          <a:effectLst/>
                          <a:uFillTx/>
                          <a:latin typeface="+mn-lt"/>
                          <a:cs typeface="Arial" charset="0"/>
                          <a:sym typeface="Helvetica"/>
                        </a:rPr>
                        <a:t>Validación de los despliegues de código en los diferentes entornos</a:t>
                      </a:r>
                    </a:p>
                    <a:p>
                      <a:pPr marL="342900" indent="-342900">
                        <a:buFont typeface="Arial" panose="020B0604020202020204" pitchFamily="34" charset="0"/>
                        <a:buChar char="•"/>
                      </a:pPr>
                      <a:r>
                        <a:rPr kumimoji="0" lang="es-ES_tradnl" sz="1800" b="0" i="0" u="none" strike="noStrike" kern="1200" cap="none" spc="0" normalizeH="0" baseline="0" noProof="0" dirty="0">
                          <a:ln>
                            <a:noFill/>
                          </a:ln>
                          <a:solidFill>
                            <a:schemeClr val="tx1"/>
                          </a:solidFill>
                          <a:effectLst/>
                          <a:uFillTx/>
                          <a:latin typeface="+mn-lt"/>
                          <a:cs typeface="Arial" charset="0"/>
                          <a:sym typeface="Helvetica"/>
                        </a:rPr>
                        <a:t>Configuración y declaración de ventanas de despliegue en producción</a:t>
                      </a:r>
                    </a:p>
                    <a:p>
                      <a:pPr marL="342900" indent="-342900">
                        <a:buFont typeface="Arial" panose="020B0604020202020204" pitchFamily="34" charset="0"/>
                        <a:buChar char="•"/>
                      </a:pPr>
                      <a:r>
                        <a:rPr kumimoji="0" lang="es-ES_tradnl" sz="1800" b="0" i="0" u="none" strike="noStrike" kern="1200" cap="none" spc="0" normalizeH="0" baseline="0" noProof="0" dirty="0">
                          <a:ln>
                            <a:noFill/>
                          </a:ln>
                          <a:solidFill>
                            <a:schemeClr val="tx1"/>
                          </a:solidFill>
                          <a:effectLst/>
                          <a:uFillTx/>
                          <a:latin typeface="+mn-lt"/>
                          <a:cs typeface="Arial" charset="0"/>
                          <a:sym typeface="Helvetica"/>
                        </a:rPr>
                        <a:t>Despliegue de dependencias On-premise por entorno</a:t>
                      </a:r>
                    </a:p>
                    <a:p>
                      <a:pPr marL="342900" indent="-342900">
                        <a:buFont typeface="Arial" panose="020B0604020202020204" pitchFamily="34" charset="0"/>
                        <a:buChar char="•"/>
                      </a:pPr>
                      <a:r>
                        <a:rPr kumimoji="0" lang="es-ES_tradnl" sz="1800" b="0" i="0" u="none" strike="noStrike" kern="1200" cap="none" spc="0" normalizeH="0" baseline="0" noProof="0" dirty="0">
                          <a:ln>
                            <a:noFill/>
                          </a:ln>
                          <a:solidFill>
                            <a:schemeClr val="tx1"/>
                          </a:solidFill>
                          <a:effectLst/>
                          <a:uFillTx/>
                          <a:latin typeface="+mn-lt"/>
                          <a:cs typeface="Arial" charset="0"/>
                          <a:sym typeface="Helvetica"/>
                        </a:rPr>
                        <a:t>Ejecución switch y switch back de entornos de producción</a:t>
                      </a:r>
                    </a:p>
                    <a:p>
                      <a:pPr marL="342900" indent="-342900">
                        <a:buFont typeface="Arial" panose="020B0604020202020204" pitchFamily="34" charset="0"/>
                        <a:buChar char="•"/>
                      </a:pPr>
                      <a:r>
                        <a:rPr kumimoji="0" lang="es-ES_tradnl" sz="1800" b="0" i="0" u="none" strike="noStrike" kern="1200" cap="none" spc="0" normalizeH="0" baseline="0" noProof="0" dirty="0">
                          <a:ln>
                            <a:noFill/>
                          </a:ln>
                          <a:solidFill>
                            <a:schemeClr val="tx1"/>
                          </a:solidFill>
                          <a:effectLst/>
                          <a:uFillTx/>
                          <a:latin typeface="+mn-lt"/>
                          <a:cs typeface="Arial" charset="0"/>
                          <a:sym typeface="Helvetica"/>
                        </a:rPr>
                        <a:t>Principal responsable de la autoprovisión del PaaS y de los scripts de la autoprovisión de la cloud pública</a:t>
                      </a:r>
                    </a:p>
                    <a:p>
                      <a:pPr marL="342900" indent="-342900">
                        <a:buFont typeface="Arial" panose="020B0604020202020204" pitchFamily="34" charset="0"/>
                        <a:buChar char="•"/>
                      </a:pPr>
                      <a:r>
                        <a:rPr kumimoji="0" lang="es-ES_tradnl" sz="1800" b="0" i="0" u="none" strike="noStrike" kern="1200" cap="none" spc="0" normalizeH="0" baseline="0" noProof="0" dirty="0">
                          <a:ln>
                            <a:noFill/>
                          </a:ln>
                          <a:solidFill>
                            <a:schemeClr val="tx1"/>
                          </a:solidFill>
                          <a:effectLst/>
                          <a:uFillTx/>
                          <a:latin typeface="+mn-lt"/>
                          <a:cs typeface="Arial" charset="0"/>
                          <a:sym typeface="Helvetica"/>
                        </a:rPr>
                        <a:t>Definición y ejecución de los scripts de autoprovisión de la cloud pública</a:t>
                      </a:r>
                    </a:p>
                  </a:txBody>
                  <a:tcP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2334243"/>
                  </a:ext>
                </a:extLst>
              </a:tr>
              <a:tr h="370840">
                <a:tc>
                  <a:txBody>
                    <a:bodyPr/>
                    <a:lstStyle/>
                    <a:p>
                      <a:r>
                        <a:rPr kumimoji="0" lang="es-ES" sz="1800" b="1" i="0" u="none" strike="noStrike" kern="1200" cap="none" spc="0" normalizeH="0" baseline="0" noProof="0" dirty="0">
                          <a:ln>
                            <a:noFill/>
                          </a:ln>
                          <a:solidFill>
                            <a:schemeClr val="tx1"/>
                          </a:solidFill>
                          <a:effectLst/>
                          <a:uFillTx/>
                          <a:latin typeface="+mn-lt"/>
                          <a:cs typeface="Arial"/>
                          <a:sym typeface="Helvetica"/>
                        </a:rPr>
                        <a:t>Testing</a:t>
                      </a:r>
                    </a:p>
                  </a:txBody>
                  <a:tcPr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342900" algn="l" defTabSz="1828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_tradnl" sz="1800" b="0" i="0" u="none" strike="noStrike" kern="1200" cap="none" spc="0" normalizeH="0" baseline="0" noProof="0" dirty="0">
                          <a:ln>
                            <a:noFill/>
                          </a:ln>
                          <a:solidFill>
                            <a:schemeClr val="tx1"/>
                          </a:solidFill>
                          <a:effectLst/>
                          <a:uFillTx/>
                          <a:latin typeface="+mn-lt"/>
                          <a:cs typeface="Arial" charset="0"/>
                          <a:sym typeface="Helvetica"/>
                        </a:rPr>
                        <a:t>Validación de las configuraciones y ejecuciones del testing QA (funcionales, rendimiento, resiliencia, seguridad…)</a:t>
                      </a:r>
                    </a:p>
                    <a:p>
                      <a:pPr marL="342900" marR="0" lvl="0" indent="-342900" algn="l" defTabSz="1828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_tradnl" sz="1800" b="0" i="0" u="none" strike="noStrike" kern="1200" cap="none" spc="0" normalizeH="0" baseline="0" noProof="0" dirty="0">
                          <a:ln>
                            <a:noFill/>
                          </a:ln>
                          <a:solidFill>
                            <a:schemeClr val="tx1"/>
                          </a:solidFill>
                          <a:effectLst/>
                          <a:uFillTx/>
                          <a:latin typeface="+mn-lt"/>
                          <a:cs typeface="Arial" charset="0"/>
                          <a:sym typeface="Helvetica"/>
                        </a:rPr>
                        <a:t>Ejecución del set de pruebas en producción oculto / final</a:t>
                      </a:r>
                    </a:p>
                  </a:txBody>
                  <a:tcP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4240487"/>
                  </a:ext>
                </a:extLst>
              </a:tr>
              <a:tr h="370840">
                <a:tc>
                  <a:txBody>
                    <a:bodyPr/>
                    <a:lstStyle/>
                    <a:p>
                      <a:r>
                        <a:rPr lang="es-ES" sz="1800" b="1" dirty="0">
                          <a:solidFill>
                            <a:schemeClr val="tx1"/>
                          </a:solidFill>
                          <a:latin typeface="+mn-lt"/>
                        </a:rPr>
                        <a:t>RTYO</a:t>
                      </a:r>
                      <a:endParaRPr kumimoji="0" lang="es-ES" sz="1800" b="1" i="0" u="none" strike="noStrike" kern="1200" cap="none" spc="0" normalizeH="0" baseline="0" noProof="0" dirty="0">
                        <a:ln>
                          <a:noFill/>
                        </a:ln>
                        <a:solidFill>
                          <a:schemeClr val="tx1"/>
                        </a:solidFill>
                        <a:effectLst/>
                        <a:uFillTx/>
                        <a:latin typeface="+mn-lt"/>
                        <a:cs typeface="Arial"/>
                        <a:sym typeface="Helvetica"/>
                      </a:endParaRPr>
                    </a:p>
                  </a:txBody>
                  <a:tcPr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342900" algn="l" defTabSz="1828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_tradnl" sz="1800" b="0" i="0" u="none" strike="noStrike" kern="1200" cap="none" spc="0" normalizeH="0" baseline="0" noProof="0" dirty="0">
                          <a:ln>
                            <a:noFill/>
                          </a:ln>
                          <a:solidFill>
                            <a:schemeClr val="tx1"/>
                          </a:solidFill>
                          <a:effectLst/>
                          <a:uFillTx/>
                          <a:latin typeface="+mn-lt"/>
                          <a:cs typeface="Arial" charset="0"/>
                          <a:sym typeface="Helvetica"/>
                        </a:rPr>
                        <a:t>Validación de las pruebas de seguridad del aplicativo en Pre Producción</a:t>
                      </a:r>
                    </a:p>
                    <a:p>
                      <a:pPr marL="342900" marR="0" lvl="0" indent="-342900" algn="l" defTabSz="1828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_tradnl" sz="1800" b="0" i="0" u="none" strike="noStrike" kern="1200" cap="none" spc="0" normalizeH="0" baseline="0" noProof="0" dirty="0">
                          <a:ln>
                            <a:noFill/>
                          </a:ln>
                          <a:solidFill>
                            <a:schemeClr val="tx1"/>
                          </a:solidFill>
                          <a:effectLst/>
                          <a:uFillTx/>
                          <a:latin typeface="+mn-lt"/>
                          <a:cs typeface="Arial" charset="0"/>
                          <a:sym typeface="Helvetica"/>
                        </a:rPr>
                        <a:t>Validación de los análisis estáticos de vulnerabilidades previo paso a Desarrollo</a:t>
                      </a:r>
                    </a:p>
                  </a:txBody>
                  <a:tcP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02618561"/>
                  </a:ext>
                </a:extLst>
              </a:tr>
              <a:tr h="370840">
                <a:tc>
                  <a:txBody>
                    <a:bodyPr/>
                    <a:lstStyle/>
                    <a:p>
                      <a:r>
                        <a:rPr kumimoji="0" lang="es-ES" sz="1800" b="1" i="0" u="none" strike="noStrike" kern="1200" cap="none" spc="0" normalizeH="0" baseline="0" noProof="0" dirty="0">
                          <a:ln>
                            <a:noFill/>
                          </a:ln>
                          <a:solidFill>
                            <a:schemeClr val="tx1"/>
                          </a:solidFill>
                          <a:effectLst/>
                          <a:uFillTx/>
                          <a:latin typeface="+mn-lt"/>
                          <a:cs typeface="Arial"/>
                          <a:sym typeface="Helvetica"/>
                        </a:rPr>
                        <a:t>Infraestructura</a:t>
                      </a:r>
                    </a:p>
                  </a:txBody>
                  <a:tcPr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342900">
                        <a:buFont typeface="Arial" panose="020B0604020202020204" pitchFamily="34" charset="0"/>
                        <a:buChar char="•"/>
                      </a:pPr>
                      <a:r>
                        <a:rPr kumimoji="0" lang="es-ES_tradnl" sz="1800" b="0" i="0" u="none" strike="noStrike" kern="1200" cap="none" spc="0" normalizeH="0" baseline="0" noProof="0" dirty="0">
                          <a:ln>
                            <a:noFill/>
                          </a:ln>
                          <a:solidFill>
                            <a:schemeClr val="tx1"/>
                          </a:solidFill>
                          <a:effectLst/>
                          <a:uFillTx/>
                          <a:latin typeface="+mn-lt"/>
                          <a:cs typeface="Arial" charset="0"/>
                          <a:sym typeface="Helvetica"/>
                        </a:rPr>
                        <a:t>Ejecución de pruebas de resiliencia manuales</a:t>
                      </a:r>
                    </a:p>
                    <a:p>
                      <a:pPr marL="342900" indent="-342900">
                        <a:buFont typeface="Arial" panose="020B0604020202020204" pitchFamily="34" charset="0"/>
                        <a:buChar char="•"/>
                      </a:pPr>
                      <a:r>
                        <a:rPr kumimoji="0" lang="es-ES_tradnl" sz="1800" b="0" i="0" u="none" strike="noStrike" kern="1200" cap="none" spc="0" normalizeH="0" baseline="0" noProof="0" dirty="0">
                          <a:ln>
                            <a:noFill/>
                          </a:ln>
                          <a:solidFill>
                            <a:schemeClr val="tx1"/>
                          </a:solidFill>
                          <a:effectLst/>
                          <a:uFillTx/>
                          <a:latin typeface="+mn-lt"/>
                          <a:cs typeface="Arial" charset="0"/>
                          <a:sym typeface="Helvetica"/>
                        </a:rPr>
                        <a:t>Validación del DTI y gestión de ofertas técnicas (SGT)</a:t>
                      </a:r>
                    </a:p>
                    <a:p>
                      <a:pPr marL="342900" indent="-342900">
                        <a:buFont typeface="Arial" panose="020B0604020202020204" pitchFamily="34" charset="0"/>
                        <a:buChar char="•"/>
                      </a:pPr>
                      <a:r>
                        <a:rPr kumimoji="0" lang="es-ES_tradnl" sz="1800" b="0" i="0" u="none" strike="noStrike" kern="1200" cap="none" spc="0" normalizeH="0" baseline="0" noProof="0" dirty="0">
                          <a:ln>
                            <a:noFill/>
                          </a:ln>
                          <a:solidFill>
                            <a:schemeClr val="tx1"/>
                          </a:solidFill>
                          <a:effectLst/>
                          <a:uFillTx/>
                          <a:latin typeface="+mn-lt"/>
                          <a:cs typeface="Arial" charset="0"/>
                          <a:sym typeface="Helvetica"/>
                        </a:rPr>
                        <a:t>Principal responsable de la provisión del On-Premise y el IaaS de la cloud privada</a:t>
                      </a:r>
                    </a:p>
                  </a:txBody>
                  <a:tcP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5405877"/>
                  </a:ext>
                </a:extLst>
              </a:tr>
              <a:tr h="370840">
                <a:tc>
                  <a:txBody>
                    <a:bodyPr/>
                    <a:lstStyle/>
                    <a:p>
                      <a:r>
                        <a:rPr kumimoji="0" lang="es-ES" sz="1800" b="1" i="0" u="none" strike="noStrike" kern="1200" cap="none" spc="0" normalizeH="0" baseline="0" noProof="0" dirty="0">
                          <a:ln>
                            <a:noFill/>
                          </a:ln>
                          <a:solidFill>
                            <a:schemeClr val="tx1"/>
                          </a:solidFill>
                          <a:effectLst/>
                          <a:uFillTx/>
                          <a:latin typeface="+mn-lt"/>
                          <a:cs typeface="Arial"/>
                          <a:sym typeface="Helvetica"/>
                        </a:rPr>
                        <a:t>Nivel de Servicio</a:t>
                      </a:r>
                    </a:p>
                  </a:txBody>
                  <a:tcPr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342900">
                        <a:buFont typeface="Arial" panose="020B0604020202020204" pitchFamily="34" charset="0"/>
                        <a:buChar char="•"/>
                      </a:pPr>
                      <a:r>
                        <a:rPr kumimoji="0" lang="es-ES_tradnl" sz="1800" b="0" i="0" u="none" strike="noStrike" kern="1200" cap="none" spc="0" normalizeH="0" baseline="0" noProof="0" dirty="0">
                          <a:ln>
                            <a:noFill/>
                          </a:ln>
                          <a:solidFill>
                            <a:schemeClr val="tx1"/>
                          </a:solidFill>
                          <a:effectLst/>
                          <a:uFillTx/>
                          <a:latin typeface="+mn-lt"/>
                          <a:cs typeface="Arial" charset="0"/>
                          <a:sym typeface="Helvetica"/>
                        </a:rPr>
                        <a:t>Documentación en Service Now y Presentación del aplicativo al comité (CAB)</a:t>
                      </a:r>
                    </a:p>
                    <a:p>
                      <a:pPr marL="342900" indent="-342900">
                        <a:buFont typeface="Arial" panose="020B0604020202020204" pitchFamily="34" charset="0"/>
                        <a:buChar char="•"/>
                      </a:pPr>
                      <a:r>
                        <a:rPr kumimoji="0" lang="es-ES_tradnl" sz="1800" b="0" i="0" u="none" strike="noStrike" kern="1200" cap="none" spc="0" normalizeH="0" baseline="0" noProof="0" dirty="0">
                          <a:ln>
                            <a:noFill/>
                          </a:ln>
                          <a:solidFill>
                            <a:schemeClr val="tx1"/>
                          </a:solidFill>
                          <a:effectLst/>
                          <a:uFillTx/>
                          <a:latin typeface="+mn-lt"/>
                          <a:cs typeface="Arial" charset="0"/>
                          <a:sym typeface="Helvetica"/>
                        </a:rPr>
                        <a:t>Validación del Switch/ SwitchBack del aplicativo en Producción</a:t>
                      </a:r>
                    </a:p>
                    <a:p>
                      <a:pPr marL="342900" indent="-342900">
                        <a:buFont typeface="Arial" panose="020B0604020202020204" pitchFamily="34" charset="0"/>
                        <a:buChar char="•"/>
                      </a:pPr>
                      <a:r>
                        <a:rPr kumimoji="0" lang="es-ES_tradnl" sz="1800" b="0" i="0" u="none" strike="noStrike" kern="1200" cap="none" spc="0" normalizeH="0" baseline="0" noProof="0" dirty="0">
                          <a:ln>
                            <a:noFill/>
                          </a:ln>
                          <a:solidFill>
                            <a:schemeClr val="tx1"/>
                          </a:solidFill>
                          <a:effectLst/>
                          <a:uFillTx/>
                          <a:latin typeface="+mn-lt"/>
                          <a:cs typeface="Arial" charset="0"/>
                          <a:sym typeface="Helvetica"/>
                        </a:rPr>
                        <a:t>Colaboración en el decomisionado de entornos</a:t>
                      </a:r>
                    </a:p>
                  </a:txBody>
                  <a:tcP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84194241"/>
                  </a:ext>
                </a:extLst>
              </a:tr>
              <a:tr h="370840">
                <a:tc>
                  <a:txBody>
                    <a:bodyPr/>
                    <a:lstStyle/>
                    <a:p>
                      <a:r>
                        <a:rPr kumimoji="0" lang="es-ES" sz="1800" b="1" i="0" u="none" strike="noStrike" kern="1200" cap="none" spc="0" normalizeH="0" baseline="0" noProof="0" dirty="0">
                          <a:ln>
                            <a:noFill/>
                          </a:ln>
                          <a:solidFill>
                            <a:schemeClr val="tx1"/>
                          </a:solidFill>
                          <a:effectLst/>
                          <a:uFillTx/>
                          <a:latin typeface="+mn-lt"/>
                          <a:cs typeface="Arial"/>
                          <a:sym typeface="Helvetica"/>
                        </a:rPr>
                        <a:t>Operaciones</a:t>
                      </a:r>
                    </a:p>
                  </a:txBody>
                  <a:tcPr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342900" algn="l" defTabSz="1828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800" b="0" i="0" u="none" strike="noStrike" kern="1200" cap="none" spc="0" normalizeH="0" baseline="0" noProof="0" dirty="0">
                          <a:ln>
                            <a:noFill/>
                          </a:ln>
                          <a:solidFill>
                            <a:schemeClr val="tx1"/>
                          </a:solidFill>
                          <a:effectLst/>
                          <a:uFillTx/>
                          <a:latin typeface="+mn-lt"/>
                          <a:cs typeface="Arial" charset="0"/>
                          <a:sym typeface="Helvetica"/>
                        </a:rPr>
                        <a:t>Colaboración en la ejecución de pruebas funcionales por entorno</a:t>
                      </a:r>
                    </a:p>
                  </a:txBody>
                  <a:tcP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53267137"/>
                  </a:ext>
                </a:extLst>
              </a:tr>
              <a:tr h="370840">
                <a:tc>
                  <a:txBody>
                    <a:bodyPr/>
                    <a:lstStyle/>
                    <a:p>
                      <a:r>
                        <a:rPr kumimoji="0" lang="es-ES" sz="1800" b="1" i="0" u="none" strike="noStrike" kern="1200" cap="none" spc="0" normalizeH="0" baseline="0" noProof="0" dirty="0">
                          <a:ln>
                            <a:noFill/>
                          </a:ln>
                          <a:solidFill>
                            <a:schemeClr val="tx1"/>
                          </a:solidFill>
                          <a:effectLst/>
                          <a:uFillTx/>
                          <a:latin typeface="+mn-lt"/>
                          <a:cs typeface="Arial"/>
                          <a:sym typeface="Helvetica"/>
                        </a:rPr>
                        <a:t>Monitorizacion</a:t>
                      </a:r>
                    </a:p>
                  </a:txBody>
                  <a:tcPr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342900" algn="l" defTabSz="1828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800" b="0" i="0" u="none" strike="noStrike" kern="1200" cap="none" spc="0" normalizeH="0" baseline="0" noProof="0" dirty="0">
                          <a:ln>
                            <a:noFill/>
                          </a:ln>
                          <a:solidFill>
                            <a:schemeClr val="tx1"/>
                          </a:solidFill>
                          <a:effectLst/>
                          <a:uFillTx/>
                          <a:latin typeface="+mn-lt"/>
                          <a:cs typeface="Arial" charset="0"/>
                          <a:sym typeface="Helvetica"/>
                        </a:rPr>
                        <a:t>Informado en el registro, configuración y decomisionado de entornos en cloud privada &amp; paas</a:t>
                      </a:r>
                    </a:p>
                  </a:txBody>
                  <a:tcP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1875884"/>
                  </a:ext>
                </a:extLst>
              </a:tr>
            </a:tbl>
          </a:graphicData>
        </a:graphic>
      </p:graphicFrame>
      <p:sp>
        <p:nvSpPr>
          <p:cNvPr id="15" name="TextBox 14">
            <a:extLst>
              <a:ext uri="{FF2B5EF4-FFF2-40B4-BE49-F238E27FC236}">
                <a16:creationId xmlns:a16="http://schemas.microsoft.com/office/drawing/2014/main" id="{2AC0231E-6796-42BE-85D4-C7F5D4B11FC4}"/>
              </a:ext>
            </a:extLst>
          </p:cNvPr>
          <p:cNvSpPr txBox="1"/>
          <p:nvPr/>
        </p:nvSpPr>
        <p:spPr>
          <a:xfrm rot="16200000">
            <a:off x="-327203" y="8337728"/>
            <a:ext cx="6034024" cy="584775"/>
          </a:xfrm>
          <a:prstGeom prst="rect">
            <a:avLst/>
          </a:prstGeom>
          <a:noFill/>
        </p:spPr>
        <p:txBody>
          <a:bodyPr wrap="none" rtlCol="0">
            <a:spAutoFit/>
          </a:bodyPr>
          <a:lstStyle/>
          <a:p>
            <a:r>
              <a:rPr lang="es-ES" sz="3200" b="1" dirty="0">
                <a:solidFill>
                  <a:srgbClr val="C00000"/>
                </a:solidFill>
              </a:rPr>
              <a:t>Santander Tecnología España</a:t>
            </a:r>
          </a:p>
        </p:txBody>
      </p:sp>
      <p:sp>
        <p:nvSpPr>
          <p:cNvPr id="16" name="TextBox 15">
            <a:extLst>
              <a:ext uri="{FF2B5EF4-FFF2-40B4-BE49-F238E27FC236}">
                <a16:creationId xmlns:a16="http://schemas.microsoft.com/office/drawing/2014/main" id="{251EBADB-7478-4A2C-81C7-B0C18E20117F}"/>
              </a:ext>
            </a:extLst>
          </p:cNvPr>
          <p:cNvSpPr txBox="1"/>
          <p:nvPr/>
        </p:nvSpPr>
        <p:spPr>
          <a:xfrm>
            <a:off x="650240" y="541319"/>
            <a:ext cx="22611504" cy="1138773"/>
          </a:xfrm>
          <a:prstGeom prst="rect">
            <a:avLst/>
          </a:prstGeom>
          <a:noFill/>
        </p:spPr>
        <p:txBody>
          <a:bodyPr wrap="square" rtlCol="0" anchor="t">
            <a:spAutoFit/>
          </a:bodyPr>
          <a:lstStyle/>
          <a:p>
            <a:pPr algn="l"/>
            <a:r>
              <a:rPr lang="en-GB" sz="4000" b="1" kern="1200" dirty="0">
                <a:solidFill>
                  <a:srgbClr val="C00000"/>
                </a:solidFill>
                <a:ea typeface="+mj-lt"/>
                <a:cs typeface="+mj-lt"/>
              </a:rPr>
              <a:t>Organización y Areas</a:t>
            </a:r>
            <a:endParaRPr lang="en-US" dirty="0"/>
          </a:p>
          <a:p>
            <a:pPr algn="l"/>
            <a:r>
              <a:rPr lang="en-GB" altLang="en-US" sz="2800" kern="1200" dirty="0">
                <a:solidFill>
                  <a:schemeClr val="tx1"/>
                </a:solidFill>
              </a:rPr>
              <a:t>Equipos Santander Tecnología España</a:t>
            </a:r>
            <a:endParaRPr lang="en-US" altLang="en-US" sz="2800" kern="1200" dirty="0">
              <a:solidFill>
                <a:schemeClr val="tx1"/>
              </a:solidFill>
            </a:endParaRPr>
          </a:p>
        </p:txBody>
      </p:sp>
    </p:spTree>
    <p:extLst>
      <p:ext uri="{BB962C8B-B14F-4D97-AF65-F5344CB8AC3E}">
        <p14:creationId xmlns:p14="http://schemas.microsoft.com/office/powerpoint/2010/main" val="16001295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5"/>
          <p:cNvSpPr txBox="1">
            <a:spLocks noGrp="1" noChangeArrowheads="1"/>
          </p:cNvSpPr>
          <p:nvPr/>
        </p:nvSpPr>
        <p:spPr bwMode="black">
          <a:xfrm>
            <a:off x="3413126" y="13074650"/>
            <a:ext cx="733424" cy="368300"/>
          </a:xfrm>
          <a:prstGeom prst="rect">
            <a:avLst/>
          </a:prstGeom>
          <a:noFill/>
          <a:ln w="9525">
            <a:noFill/>
            <a:miter lim="800000"/>
            <a:headEnd/>
            <a:tailEnd/>
          </a:ln>
        </p:spPr>
        <p:txBody>
          <a:bodyPr lIns="184150" tIns="92076" rIns="184150" bIns="92076"/>
          <a:lstStyle/>
          <a:p>
            <a:fld id="{91ECDFF8-1E9F-4B22-BFC9-D56DCD534717}" type="slidenum">
              <a:rPr lang="en-US" sz="1600" u="none"/>
              <a:pPr/>
              <a:t>13</a:t>
            </a:fld>
            <a:endParaRPr lang="en-US" sz="1600" u="none" dirty="0"/>
          </a:p>
        </p:txBody>
      </p:sp>
      <p:sp>
        <p:nvSpPr>
          <p:cNvPr id="15" name="TextBox 14">
            <a:extLst>
              <a:ext uri="{FF2B5EF4-FFF2-40B4-BE49-F238E27FC236}">
                <a16:creationId xmlns:a16="http://schemas.microsoft.com/office/drawing/2014/main" id="{2AC0231E-6796-42BE-85D4-C7F5D4B11FC4}"/>
              </a:ext>
            </a:extLst>
          </p:cNvPr>
          <p:cNvSpPr txBox="1"/>
          <p:nvPr/>
        </p:nvSpPr>
        <p:spPr>
          <a:xfrm rot="16200000">
            <a:off x="366897" y="7325647"/>
            <a:ext cx="4645824" cy="584775"/>
          </a:xfrm>
          <a:prstGeom prst="rect">
            <a:avLst/>
          </a:prstGeom>
          <a:noFill/>
        </p:spPr>
        <p:txBody>
          <a:bodyPr wrap="none" rtlCol="0">
            <a:spAutoFit/>
          </a:bodyPr>
          <a:lstStyle/>
          <a:p>
            <a:r>
              <a:rPr lang="es-ES" sz="3200" b="1" dirty="0">
                <a:solidFill>
                  <a:srgbClr val="C00000"/>
                </a:solidFill>
              </a:rPr>
              <a:t>Santander Global Tech</a:t>
            </a:r>
          </a:p>
        </p:txBody>
      </p:sp>
      <p:sp>
        <p:nvSpPr>
          <p:cNvPr id="7" name="TextBox 6">
            <a:extLst>
              <a:ext uri="{FF2B5EF4-FFF2-40B4-BE49-F238E27FC236}">
                <a16:creationId xmlns:a16="http://schemas.microsoft.com/office/drawing/2014/main" id="{216B86A1-1916-42CA-9E63-60D90450538E}"/>
              </a:ext>
            </a:extLst>
          </p:cNvPr>
          <p:cNvSpPr txBox="1"/>
          <p:nvPr/>
        </p:nvSpPr>
        <p:spPr>
          <a:xfrm>
            <a:off x="650240" y="541319"/>
            <a:ext cx="22611504" cy="1138773"/>
          </a:xfrm>
          <a:prstGeom prst="rect">
            <a:avLst/>
          </a:prstGeom>
          <a:noFill/>
        </p:spPr>
        <p:txBody>
          <a:bodyPr wrap="square" rtlCol="0" anchor="t">
            <a:spAutoFit/>
          </a:bodyPr>
          <a:lstStyle/>
          <a:p>
            <a:pPr algn="l"/>
            <a:r>
              <a:rPr lang="en-GB" sz="4000" b="1" kern="1200" dirty="0">
                <a:solidFill>
                  <a:srgbClr val="C00000"/>
                </a:solidFill>
                <a:ea typeface="+mj-lt"/>
                <a:cs typeface="+mj-lt"/>
              </a:rPr>
              <a:t>Organización y Areas</a:t>
            </a:r>
            <a:endParaRPr lang="en-US" dirty="0"/>
          </a:p>
          <a:p>
            <a:pPr algn="l"/>
            <a:r>
              <a:rPr lang="en-GB" altLang="en-US" sz="2800" kern="1200" dirty="0">
                <a:solidFill>
                  <a:schemeClr val="tx1"/>
                </a:solidFill>
              </a:rPr>
              <a:t>Equipos Santander Global Tech</a:t>
            </a:r>
            <a:endParaRPr lang="en-US" altLang="en-US" sz="2800" kern="1200" dirty="0">
              <a:solidFill>
                <a:schemeClr val="tx1"/>
              </a:solidFill>
            </a:endParaRPr>
          </a:p>
        </p:txBody>
      </p:sp>
      <p:graphicFrame>
        <p:nvGraphicFramePr>
          <p:cNvPr id="6" name="Table 70">
            <a:extLst>
              <a:ext uri="{FF2B5EF4-FFF2-40B4-BE49-F238E27FC236}">
                <a16:creationId xmlns:a16="http://schemas.microsoft.com/office/drawing/2014/main" id="{94B97FE2-552C-4D9C-84E7-45F60D9B7395}"/>
              </a:ext>
            </a:extLst>
          </p:cNvPr>
          <p:cNvGraphicFramePr>
            <a:graphicFrameLocks noGrp="1"/>
          </p:cNvGraphicFramePr>
          <p:nvPr>
            <p:extLst>
              <p:ext uri="{D42A27DB-BD31-4B8C-83A1-F6EECF244321}">
                <p14:modId xmlns:p14="http://schemas.microsoft.com/office/powerpoint/2010/main" val="2953741429"/>
              </p:ext>
            </p:extLst>
          </p:nvPr>
        </p:nvGraphicFramePr>
        <p:xfrm>
          <a:off x="3413126" y="5932154"/>
          <a:ext cx="17988678" cy="3371760"/>
        </p:xfrm>
        <a:graphic>
          <a:graphicData uri="http://schemas.openxmlformats.org/drawingml/2006/table">
            <a:tbl>
              <a:tblPr firstRow="1" bandRow="1">
                <a:tableStyleId>{5940675A-B579-460E-94D1-54222C63F5DA}</a:tableStyleId>
              </a:tblPr>
              <a:tblGrid>
                <a:gridCol w="3543355">
                  <a:extLst>
                    <a:ext uri="{9D8B030D-6E8A-4147-A177-3AD203B41FA5}">
                      <a16:colId xmlns:a16="http://schemas.microsoft.com/office/drawing/2014/main" val="2232338029"/>
                    </a:ext>
                  </a:extLst>
                </a:gridCol>
                <a:gridCol w="14445323">
                  <a:extLst>
                    <a:ext uri="{9D8B030D-6E8A-4147-A177-3AD203B41FA5}">
                      <a16:colId xmlns:a16="http://schemas.microsoft.com/office/drawing/2014/main" val="3944308003"/>
                    </a:ext>
                  </a:extLst>
                </a:gridCol>
              </a:tblGrid>
              <a:tr h="720000">
                <a:tc>
                  <a:txBody>
                    <a:bodyPr/>
                    <a:lstStyle/>
                    <a:p>
                      <a:pPr algn="ctr"/>
                      <a:r>
                        <a:rPr kumimoji="0" lang="es-ES" sz="2800" b="1" i="0" u="none" strike="noStrike" kern="1200" cap="none" spc="0" normalizeH="0" baseline="0" noProof="0" dirty="0">
                          <a:ln>
                            <a:noFill/>
                          </a:ln>
                          <a:solidFill>
                            <a:schemeClr val="bg1"/>
                          </a:solidFill>
                          <a:effectLst/>
                          <a:uFillTx/>
                          <a:latin typeface="+mn-lt"/>
                          <a:cs typeface="Arial" charset="0"/>
                          <a:sym typeface="Helvetica"/>
                        </a:rPr>
                        <a:t>Equipo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r>
                        <a:rPr kumimoji="0" lang="es-ES" sz="2800" b="1" i="0" u="none" strike="noStrike" kern="1200" cap="none" spc="0" normalizeH="0" baseline="0" noProof="0" dirty="0">
                          <a:ln>
                            <a:noFill/>
                          </a:ln>
                          <a:solidFill>
                            <a:schemeClr val="bg1"/>
                          </a:solidFill>
                          <a:effectLst/>
                          <a:uFillTx/>
                          <a:latin typeface="+mn-lt"/>
                          <a:cs typeface="Arial" charset="0"/>
                          <a:sym typeface="Helvetica"/>
                        </a:rPr>
                        <a:t>Actividade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4218262327"/>
                  </a:ext>
                </a:extLst>
              </a:tr>
              <a:tr h="370840">
                <a:tc>
                  <a:txBody>
                    <a:bodyPr/>
                    <a:lstStyle/>
                    <a:p>
                      <a:r>
                        <a:rPr lang="es-ES" sz="2400" b="1" dirty="0">
                          <a:solidFill>
                            <a:schemeClr val="tx1"/>
                          </a:solidFill>
                          <a:latin typeface="+mn-lt"/>
                        </a:rPr>
                        <a:t>Rendimiento</a:t>
                      </a:r>
                      <a:endParaRPr kumimoji="0" lang="es-ES" sz="2400" b="1" i="0" u="none" strike="noStrike" kern="1200" cap="none" spc="0" normalizeH="0" baseline="0" noProof="0" dirty="0">
                        <a:ln>
                          <a:noFill/>
                        </a:ln>
                        <a:solidFill>
                          <a:schemeClr val="tx1"/>
                        </a:solidFill>
                        <a:effectLst/>
                        <a:uFillTx/>
                        <a:latin typeface="+mn-lt"/>
                        <a:cs typeface="Arial"/>
                        <a:sym typeface="Helvetica"/>
                      </a:endParaRPr>
                    </a:p>
                  </a:txBody>
                  <a:tcPr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342900" algn="l" defTabSz="1828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2400" b="0" i="0" u="none" strike="noStrike" kern="1200" cap="none" spc="0" normalizeH="0" baseline="0" noProof="0" dirty="0">
                          <a:ln>
                            <a:noFill/>
                          </a:ln>
                          <a:solidFill>
                            <a:schemeClr val="tx1"/>
                          </a:solidFill>
                          <a:effectLst/>
                          <a:uFillTx/>
                          <a:latin typeface="IBM Plex Sans Light" panose="020B0403050203000203" pitchFamily="34" charset="77"/>
                          <a:cs typeface="Arial" charset="0"/>
                          <a:sym typeface="Helvetica"/>
                        </a:rPr>
                        <a:t>Validación y Ejecución de las pruebas de rendimiento manuales por entorno</a:t>
                      </a:r>
                    </a:p>
                  </a:txBody>
                  <a:tcP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596002"/>
                  </a:ext>
                </a:extLst>
              </a:tr>
              <a:tr h="370840">
                <a:tc>
                  <a:txBody>
                    <a:bodyPr/>
                    <a:lstStyle/>
                    <a:p>
                      <a:r>
                        <a:rPr kumimoji="0" lang="es-ES" sz="2400" b="1" i="0" u="none" strike="noStrike" kern="1200" cap="none" spc="0" normalizeH="0" baseline="0" noProof="0" dirty="0">
                          <a:ln>
                            <a:noFill/>
                          </a:ln>
                          <a:solidFill>
                            <a:schemeClr val="tx1"/>
                          </a:solidFill>
                          <a:effectLst/>
                          <a:uFillTx/>
                          <a:latin typeface="+mn-lt"/>
                          <a:cs typeface="Arial" charset="0"/>
                          <a:sym typeface="Helvetica"/>
                        </a:rPr>
                        <a:t>Seguridad</a:t>
                      </a:r>
                    </a:p>
                  </a:txBody>
                  <a:tcPr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342900" algn="l" defTabSz="1828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2400" b="0" i="0" u="none" strike="noStrike" kern="1200" cap="none" spc="0" normalizeH="0" baseline="0" noProof="0" dirty="0">
                          <a:ln>
                            <a:noFill/>
                          </a:ln>
                          <a:solidFill>
                            <a:schemeClr val="tx1"/>
                          </a:solidFill>
                          <a:effectLst/>
                          <a:uFillTx/>
                          <a:latin typeface="IBM Plex Sans Light" panose="020B0403050203000203" pitchFamily="34" charset="77"/>
                          <a:cs typeface="Arial" charset="0"/>
                          <a:sym typeface="Helvetica"/>
                        </a:rPr>
                        <a:t>Ejecución de las pruebas de seguridad manuales</a:t>
                      </a:r>
                    </a:p>
                  </a:txBody>
                  <a:tcP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5037803"/>
                  </a:ext>
                </a:extLst>
              </a:tr>
              <a:tr h="370840">
                <a:tc>
                  <a:txBody>
                    <a:bodyPr/>
                    <a:lstStyle/>
                    <a:p>
                      <a:r>
                        <a:rPr kumimoji="0" lang="es-ES" sz="2400" b="1" i="0" u="none" strike="noStrike" kern="1200" cap="none" spc="0" normalizeH="0" baseline="0" noProof="0" dirty="0">
                          <a:ln>
                            <a:noFill/>
                          </a:ln>
                          <a:solidFill>
                            <a:schemeClr val="tx1"/>
                          </a:solidFill>
                          <a:effectLst/>
                          <a:uFillTx/>
                          <a:latin typeface="+mn-lt"/>
                          <a:cs typeface="Arial" charset="0"/>
                          <a:sym typeface="Helvetica"/>
                        </a:rPr>
                        <a:t>Gestión de la demanda</a:t>
                      </a:r>
                    </a:p>
                  </a:txBody>
                  <a:tcPr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342900">
                        <a:buFont typeface="Arial" panose="020B0604020202020204" pitchFamily="34" charset="0"/>
                        <a:buChar char="•"/>
                      </a:pPr>
                      <a:r>
                        <a:rPr kumimoji="0" lang="es-ES" sz="2400" b="0" i="0" u="none" strike="noStrike" kern="1200" cap="none" spc="0" normalizeH="0" baseline="0" noProof="0" dirty="0">
                          <a:ln>
                            <a:noFill/>
                          </a:ln>
                          <a:solidFill>
                            <a:schemeClr val="tx1"/>
                          </a:solidFill>
                          <a:effectLst/>
                          <a:uFillTx/>
                          <a:latin typeface="IBM Plex Sans Light" panose="020B0403050203000203" pitchFamily="34" charset="77"/>
                          <a:cs typeface="Arial" charset="0"/>
                          <a:sym typeface="Helvetica"/>
                        </a:rPr>
                        <a:t>Validación de la viabilidad del DTI y generación de oferta técnica de SGT</a:t>
                      </a:r>
                    </a:p>
                    <a:p>
                      <a:pPr marL="342900" indent="-342900">
                        <a:buFont typeface="Arial" panose="020B0604020202020204" pitchFamily="34" charset="0"/>
                        <a:buChar char="•"/>
                      </a:pPr>
                      <a:r>
                        <a:rPr kumimoji="0" lang="es-ES" sz="2400" b="0" i="0" u="none" strike="noStrike" kern="1200" cap="none" spc="0" normalizeH="0" baseline="0" noProof="0" dirty="0">
                          <a:ln>
                            <a:noFill/>
                          </a:ln>
                          <a:solidFill>
                            <a:schemeClr val="tx1"/>
                          </a:solidFill>
                          <a:effectLst/>
                          <a:uFillTx/>
                          <a:latin typeface="IBM Plex Sans Light" panose="020B0403050203000203" pitchFamily="34" charset="77"/>
                          <a:cs typeface="Arial" charset="0"/>
                          <a:sym typeface="Helvetica"/>
                        </a:rPr>
                        <a:t>Aprovision, registro y configuración de la cloud privada (IaaS) y On-premise</a:t>
                      </a:r>
                    </a:p>
                  </a:txBody>
                  <a:tcP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2334243"/>
                  </a:ext>
                </a:extLst>
              </a:tr>
              <a:tr h="370840">
                <a:tc>
                  <a:txBody>
                    <a:bodyPr/>
                    <a:lstStyle/>
                    <a:p>
                      <a:r>
                        <a:rPr kumimoji="0" lang="es-ES" sz="2400" b="1" i="0" u="none" strike="noStrike" kern="1200" cap="none" spc="0" normalizeH="0" baseline="0" noProof="0" dirty="0">
                          <a:ln>
                            <a:noFill/>
                          </a:ln>
                          <a:solidFill>
                            <a:schemeClr val="tx1"/>
                          </a:solidFill>
                          <a:effectLst/>
                          <a:uFillTx/>
                          <a:latin typeface="+mn-lt"/>
                          <a:cs typeface="Arial" charset="0"/>
                          <a:sym typeface="Helvetica"/>
                        </a:rPr>
                        <a:t>CCC</a:t>
                      </a:r>
                    </a:p>
                  </a:txBody>
                  <a:tcPr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342900" algn="l" defTabSz="1828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2400" b="0" i="0" u="none" strike="noStrike" kern="1200" cap="none" spc="0" normalizeH="0" baseline="0" noProof="0" dirty="0">
                          <a:ln>
                            <a:noFill/>
                          </a:ln>
                          <a:solidFill>
                            <a:schemeClr val="tx1"/>
                          </a:solidFill>
                          <a:effectLst/>
                          <a:uFillTx/>
                          <a:latin typeface="IBM Plex Sans Light" panose="020B0403050203000203" pitchFamily="34" charset="77"/>
                          <a:cs typeface="Arial" charset="0"/>
                          <a:sym typeface="Helvetica"/>
                        </a:rPr>
                        <a:t>Aprovision, registro y decomisionado de entornos PaaS</a:t>
                      </a:r>
                    </a:p>
                  </a:txBody>
                  <a:tcP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4240487"/>
                  </a:ext>
                </a:extLst>
              </a:tr>
              <a:tr h="370840">
                <a:tc>
                  <a:txBody>
                    <a:bodyPr/>
                    <a:lstStyle/>
                    <a:p>
                      <a:r>
                        <a:rPr kumimoji="0" lang="es-ES" sz="2400" b="1" i="0" u="none" strike="noStrike" kern="1200" cap="none" spc="0" normalizeH="0" baseline="0" noProof="0" dirty="0">
                          <a:ln>
                            <a:noFill/>
                          </a:ln>
                          <a:solidFill>
                            <a:schemeClr val="tx1"/>
                          </a:solidFill>
                          <a:effectLst/>
                          <a:uFillTx/>
                          <a:latin typeface="+mn-lt"/>
                          <a:cs typeface="Arial" charset="0"/>
                          <a:sym typeface="Helvetica"/>
                        </a:rPr>
                        <a:t>Nuevas Tecnologías</a:t>
                      </a:r>
                    </a:p>
                  </a:txBody>
                  <a:tcPr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342900" algn="l" defTabSz="1828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2400" b="0" i="0" u="none" strike="noStrike" kern="1200" cap="none" spc="0" normalizeH="0" baseline="0" noProof="0" dirty="0">
                          <a:ln>
                            <a:noFill/>
                          </a:ln>
                          <a:solidFill>
                            <a:schemeClr val="tx1"/>
                          </a:solidFill>
                          <a:effectLst/>
                          <a:uFillTx/>
                          <a:latin typeface="IBM Plex Sans Light" panose="020B0403050203000203" pitchFamily="34" charset="77"/>
                          <a:cs typeface="Arial" charset="0"/>
                          <a:sym typeface="Helvetica"/>
                        </a:rPr>
                        <a:t>Registro del namespace en PaaS</a:t>
                      </a:r>
                    </a:p>
                  </a:txBody>
                  <a:tcP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02618561"/>
                  </a:ext>
                </a:extLst>
              </a:tr>
            </a:tbl>
          </a:graphicData>
        </a:graphic>
      </p:graphicFrame>
    </p:spTree>
    <p:extLst>
      <p:ext uri="{BB962C8B-B14F-4D97-AF65-F5344CB8AC3E}">
        <p14:creationId xmlns:p14="http://schemas.microsoft.com/office/powerpoint/2010/main" val="3617564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sp>
        <p:nvSpPr>
          <p:cNvPr id="22" name="TextBox 21">
            <a:extLst>
              <a:ext uri="{FF2B5EF4-FFF2-40B4-BE49-F238E27FC236}">
                <a16:creationId xmlns:a16="http://schemas.microsoft.com/office/drawing/2014/main" id="{DBD2FC54-ADED-1945-9CAB-5D71A60CC211}"/>
              </a:ext>
            </a:extLst>
          </p:cNvPr>
          <p:cNvSpPr txBox="1"/>
          <p:nvPr/>
        </p:nvSpPr>
        <p:spPr>
          <a:xfrm>
            <a:off x="3225705" y="3138192"/>
            <a:ext cx="5465207" cy="1446550"/>
          </a:xfrm>
          <a:prstGeom prst="rect">
            <a:avLst/>
          </a:prstGeom>
          <a:noFill/>
        </p:spPr>
        <p:txBody>
          <a:bodyPr wrap="square" rtlCol="0" anchor="t">
            <a:spAutoFit/>
          </a:bodyPr>
          <a:lstStyle/>
          <a:p>
            <a:r>
              <a:rPr lang="es-ES_tradnl" sz="4400" b="1" kern="1200" dirty="0">
                <a:solidFill>
                  <a:srgbClr val="C00000"/>
                </a:solidFill>
              </a:rPr>
              <a:t>Tabla de contenidos</a:t>
            </a:r>
            <a:endParaRPr lang="es-ES_tradnl" sz="4000" dirty="0"/>
          </a:p>
        </p:txBody>
      </p:sp>
      <p:sp>
        <p:nvSpPr>
          <p:cNvPr id="46" name="Rectangle 45">
            <a:extLst>
              <a:ext uri="{FF2B5EF4-FFF2-40B4-BE49-F238E27FC236}">
                <a16:creationId xmlns:a16="http://schemas.microsoft.com/office/drawing/2014/main" id="{B5BD1DDC-656C-4DB5-BACB-6BABDC831D37}"/>
              </a:ext>
            </a:extLst>
          </p:cNvPr>
          <p:cNvSpPr/>
          <p:nvPr/>
        </p:nvSpPr>
        <p:spPr>
          <a:xfrm>
            <a:off x="9198452" y="2621758"/>
            <a:ext cx="5489480" cy="2571750"/>
          </a:xfrm>
          <a:prstGeom prst="rect">
            <a:avLst/>
          </a:prstGeom>
          <a:solidFill>
            <a:schemeClr val="bg2">
              <a:lumMod val="75000"/>
            </a:scheme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828837"/>
            <a:endParaRPr lang="en-IN" sz="2800" b="1" kern="1200" dirty="0">
              <a:solidFill>
                <a:srgbClr val="FFFFFF"/>
              </a:solidFill>
              <a:latin typeface="IBM Plex Sans" panose="020B0503050000000000" pitchFamily="34" charset="0"/>
              <a:ea typeface="Verdana" panose="020B0604030504040204" pitchFamily="34" charset="0"/>
            </a:endParaRPr>
          </a:p>
          <a:p>
            <a:pPr algn="r" defTabSz="1828837"/>
            <a:r>
              <a:rPr lang="en-IN" sz="2800" b="1" kern="1200" dirty="0">
                <a:solidFill>
                  <a:srgbClr val="FFFFFF"/>
                </a:solidFill>
                <a:latin typeface="IBM Plex Sans" panose="020B0503050000000000" pitchFamily="34" charset="0"/>
                <a:ea typeface="Verdana" panose="020B0604030504040204" pitchFamily="34" charset="0"/>
              </a:rPr>
              <a:t>1</a:t>
            </a:r>
          </a:p>
          <a:p>
            <a:pPr algn="r" defTabSz="1828837"/>
            <a:endParaRPr lang="en-US" sz="2800" b="1" kern="1200" dirty="0">
              <a:solidFill>
                <a:srgbClr val="FFFFFF"/>
              </a:solidFill>
              <a:latin typeface="IBM Plex Sans" panose="020B0503050000000000" pitchFamily="34" charset="0"/>
              <a:ea typeface="Verdana" panose="020B0604030504040204" pitchFamily="34" charset="0"/>
            </a:endParaRPr>
          </a:p>
          <a:p>
            <a:pPr defTabSz="1828837"/>
            <a:endParaRPr lang="en-US" sz="2800" b="1" kern="1200" dirty="0">
              <a:solidFill>
                <a:srgbClr val="FFFFFF"/>
              </a:solidFill>
              <a:latin typeface="IBM Plex Sans" panose="020B0503050000000000" pitchFamily="34" charset="0"/>
              <a:ea typeface="Verdana" panose="020B0604030504040204" pitchFamily="34" charset="0"/>
            </a:endParaRPr>
          </a:p>
          <a:p>
            <a:pPr algn="r" defTabSz="1828837"/>
            <a:endParaRPr lang="en-US" sz="2800" b="1" kern="1200" dirty="0">
              <a:solidFill>
                <a:srgbClr val="FFFFFF"/>
              </a:solidFill>
              <a:latin typeface="IBM Plex Sans" panose="020B0503050000000000" pitchFamily="34" charset="0"/>
              <a:ea typeface="Verdana" panose="020B0604030504040204" pitchFamily="34" charset="0"/>
            </a:endParaRPr>
          </a:p>
          <a:p>
            <a:pPr defTabSz="1828837"/>
            <a:r>
              <a:rPr lang="en-US" sz="2800" kern="1200" dirty="0">
                <a:solidFill>
                  <a:srgbClr val="FFFFFF"/>
                </a:solidFill>
                <a:latin typeface="+mn-lt"/>
                <a:ea typeface="Verdana" panose="020B0604030504040204" pitchFamily="34" charset="0"/>
              </a:rPr>
              <a:t>Overview CTOM</a:t>
            </a:r>
          </a:p>
          <a:p>
            <a:pPr algn="r" defTabSz="1828837"/>
            <a:endParaRPr lang="en-IN" sz="2800" b="1" kern="1200" dirty="0">
              <a:solidFill>
                <a:srgbClr val="FFFFFF"/>
              </a:solidFill>
              <a:latin typeface="IBM Plex Sans" panose="020B0503050000000000" pitchFamily="34" charset="0"/>
              <a:ea typeface="Verdana" panose="020B0604030504040204" pitchFamily="34" charset="0"/>
            </a:endParaRPr>
          </a:p>
        </p:txBody>
      </p:sp>
      <p:sp>
        <p:nvSpPr>
          <p:cNvPr id="49" name="Rectangle 48">
            <a:extLst>
              <a:ext uri="{FF2B5EF4-FFF2-40B4-BE49-F238E27FC236}">
                <a16:creationId xmlns:a16="http://schemas.microsoft.com/office/drawing/2014/main" id="{154B5044-884B-435A-933E-9F29936617F0}"/>
              </a:ext>
            </a:extLst>
          </p:cNvPr>
          <p:cNvSpPr/>
          <p:nvPr/>
        </p:nvSpPr>
        <p:spPr>
          <a:xfrm>
            <a:off x="15171199" y="2621758"/>
            <a:ext cx="5489480" cy="2571750"/>
          </a:xfrm>
          <a:prstGeom prst="rect">
            <a:avLst/>
          </a:prstGeom>
          <a:solidFill>
            <a:schemeClr val="bg2">
              <a:lumMod val="75000"/>
            </a:scheme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828837"/>
            <a:r>
              <a:rPr lang="en-IN" sz="2800" b="1" kern="1200" dirty="0">
                <a:solidFill>
                  <a:srgbClr val="FFFFFF"/>
                </a:solidFill>
                <a:latin typeface="IBM Plex Sans" panose="020B0503050000000000" pitchFamily="34" charset="0"/>
                <a:ea typeface="Verdana" panose="020B0604030504040204" pitchFamily="34" charset="0"/>
              </a:rPr>
              <a:t>2</a:t>
            </a:r>
          </a:p>
          <a:p>
            <a:pPr algn="r" defTabSz="1828837"/>
            <a:endParaRPr lang="en-US" sz="2800" b="1" kern="1200" dirty="0">
              <a:solidFill>
                <a:srgbClr val="FFFFFF"/>
              </a:solidFill>
              <a:latin typeface="IBM Plex Sans" panose="020B0503050000000000" pitchFamily="34" charset="0"/>
              <a:ea typeface="Verdana" panose="020B0604030504040204" pitchFamily="34" charset="0"/>
            </a:endParaRPr>
          </a:p>
          <a:p>
            <a:pPr algn="r" defTabSz="1828837"/>
            <a:endParaRPr lang="en-US" sz="2800" b="1" kern="1200" dirty="0">
              <a:solidFill>
                <a:srgbClr val="FFFFFF"/>
              </a:solidFill>
              <a:latin typeface="IBM Plex Sans" panose="020B0503050000000000" pitchFamily="34" charset="0"/>
              <a:ea typeface="Verdana" panose="020B0604030504040204" pitchFamily="34" charset="0"/>
            </a:endParaRPr>
          </a:p>
          <a:p>
            <a:pPr algn="r" defTabSz="1828837"/>
            <a:endParaRPr lang="en-US" sz="2800" b="1" kern="1200" dirty="0">
              <a:solidFill>
                <a:srgbClr val="FFFFFF"/>
              </a:solidFill>
              <a:latin typeface="IBM Plex Sans" panose="020B0503050000000000" pitchFamily="34" charset="0"/>
              <a:ea typeface="Verdana" panose="020B0604030504040204" pitchFamily="34" charset="0"/>
            </a:endParaRPr>
          </a:p>
          <a:p>
            <a:pPr defTabSz="1828837"/>
            <a:r>
              <a:rPr lang="en-US" sz="2800" kern="1200" dirty="0">
                <a:solidFill>
                  <a:srgbClr val="FFFFFF"/>
                </a:solidFill>
                <a:latin typeface="+mn-lt"/>
                <a:ea typeface="Verdana" panose="020B0604030504040204" pitchFamily="34" charset="0"/>
              </a:rPr>
              <a:t>Organización y Areas</a:t>
            </a:r>
          </a:p>
        </p:txBody>
      </p:sp>
      <p:sp>
        <p:nvSpPr>
          <p:cNvPr id="50" name="Rectangle 49">
            <a:extLst>
              <a:ext uri="{FF2B5EF4-FFF2-40B4-BE49-F238E27FC236}">
                <a16:creationId xmlns:a16="http://schemas.microsoft.com/office/drawing/2014/main" id="{FBF5BA25-FC78-428C-944A-57D87B8EEA3D}"/>
              </a:ext>
            </a:extLst>
          </p:cNvPr>
          <p:cNvSpPr/>
          <p:nvPr/>
        </p:nvSpPr>
        <p:spPr>
          <a:xfrm>
            <a:off x="3201432" y="5414472"/>
            <a:ext cx="5489480" cy="257175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endParaRPr lang="en-IN" sz="1600" b="1" dirty="0">
              <a:solidFill>
                <a:schemeClr val="bg1"/>
              </a:solidFill>
              <a:latin typeface="Arial" panose="020B0604020202020204"/>
              <a:ea typeface="MS PGothic" charset="-128"/>
            </a:endParaRPr>
          </a:p>
          <a:p>
            <a:pPr algn="r" defTabSz="1828837">
              <a:defRPr/>
            </a:pPr>
            <a:r>
              <a:rPr lang="en-IN" sz="2800" b="1" kern="1200" dirty="0">
                <a:solidFill>
                  <a:srgbClr val="FFFFFF"/>
                </a:solidFill>
                <a:latin typeface="IBM Plex Sans" panose="020B0503050000000000" pitchFamily="34" charset="0"/>
                <a:ea typeface="Verdana" panose="020B0604030504040204" pitchFamily="34" charset="0"/>
              </a:rPr>
              <a:t>3</a:t>
            </a: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828837">
              <a:defRPr/>
            </a:pPr>
            <a:r>
              <a:rPr lang="en-US" sz="2400" b="1" kern="1200" dirty="0">
                <a:solidFill>
                  <a:srgbClr val="E7E6E6"/>
                </a:solidFill>
                <a:latin typeface="+mn-lt"/>
                <a:ea typeface="+mn-ea"/>
                <a:cs typeface="+mn-cs"/>
              </a:rPr>
              <a:t>Principales procesos operativos</a:t>
            </a:r>
            <a:endParaRPr lang="en-US" sz="2800" b="1" dirty="0">
              <a:latin typeface="+mn-lt"/>
              <a:ea typeface="+mn-ea"/>
              <a:cs typeface="+mn-cs"/>
            </a:endParaRPr>
          </a:p>
          <a:p>
            <a:pPr defTabSz="1097280" fontAlgn="base">
              <a:spcBef>
                <a:spcPct val="0"/>
              </a:spcBef>
              <a:spcAft>
                <a:spcPct val="0"/>
              </a:spcAft>
            </a:pPr>
            <a:endParaRPr lang="en-IN" sz="1600" b="1" dirty="0">
              <a:solidFill>
                <a:schemeClr val="bg1"/>
              </a:solidFill>
              <a:latin typeface="Arial" panose="020B0604020202020204"/>
              <a:ea typeface="MS PGothic" charset="-128"/>
            </a:endParaRPr>
          </a:p>
        </p:txBody>
      </p:sp>
      <p:sp>
        <p:nvSpPr>
          <p:cNvPr id="52" name="Rectangle 51">
            <a:extLst>
              <a:ext uri="{FF2B5EF4-FFF2-40B4-BE49-F238E27FC236}">
                <a16:creationId xmlns:a16="http://schemas.microsoft.com/office/drawing/2014/main" id="{7005AE54-F116-4292-812F-6FBFC95D871A}"/>
              </a:ext>
            </a:extLst>
          </p:cNvPr>
          <p:cNvSpPr/>
          <p:nvPr/>
        </p:nvSpPr>
        <p:spPr>
          <a:xfrm>
            <a:off x="9212802" y="5414472"/>
            <a:ext cx="5489480" cy="2571750"/>
          </a:xfrm>
          <a:prstGeom prst="rect">
            <a:avLst/>
          </a:prstGeom>
          <a:solidFill>
            <a:schemeClr val="bg2">
              <a:lumMod val="75000"/>
            </a:scheme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828837"/>
            <a:r>
              <a:rPr lang="en-IN" sz="2800" b="1" kern="1200" dirty="0">
                <a:solidFill>
                  <a:srgbClr val="FFFFFF"/>
                </a:solidFill>
                <a:latin typeface="IBM Plex Sans" panose="020B0503050000000000" pitchFamily="34" charset="0"/>
                <a:ea typeface="Verdana" panose="020B0604030504040204" pitchFamily="34" charset="0"/>
              </a:rPr>
              <a:t>4</a:t>
            </a:r>
          </a:p>
          <a:p>
            <a:pPr algn="r" defTabSz="1828837"/>
            <a:endParaRPr lang="en-US" sz="2800" b="1" kern="1200" dirty="0">
              <a:solidFill>
                <a:srgbClr val="FFFFFF"/>
              </a:solidFill>
              <a:latin typeface="IBM Plex Sans" panose="020B0503050000000000" pitchFamily="34" charset="0"/>
              <a:ea typeface="Verdana" panose="020B0604030504040204" pitchFamily="34" charset="0"/>
            </a:endParaRPr>
          </a:p>
          <a:p>
            <a:pPr algn="r" defTabSz="1828837"/>
            <a:endParaRPr lang="en-US" sz="2800" b="1" kern="1200" dirty="0">
              <a:solidFill>
                <a:srgbClr val="FFFFFF"/>
              </a:solidFill>
              <a:latin typeface="IBM Plex Sans" panose="020B0503050000000000" pitchFamily="34" charset="0"/>
              <a:ea typeface="Verdana" panose="020B0604030504040204" pitchFamily="34" charset="0"/>
            </a:endParaRPr>
          </a:p>
          <a:p>
            <a:pPr algn="r" defTabSz="1828837"/>
            <a:endParaRPr lang="en-US" sz="2800" b="1" kern="1200" dirty="0">
              <a:solidFill>
                <a:srgbClr val="FFFFFF"/>
              </a:solidFill>
              <a:latin typeface="IBM Plex Sans" panose="020B0503050000000000" pitchFamily="34" charset="0"/>
              <a:ea typeface="Verdana" panose="020B0604030504040204" pitchFamily="34" charset="0"/>
            </a:endParaRPr>
          </a:p>
          <a:p>
            <a:pPr defTabSz="1828837"/>
            <a:r>
              <a:rPr lang="en-US" sz="2800" kern="1200" dirty="0">
                <a:solidFill>
                  <a:srgbClr val="FFFFFF"/>
                </a:solidFill>
                <a:latin typeface="+mn-lt"/>
                <a:ea typeface="Verdana" panose="020B0604030504040204" pitchFamily="34" charset="0"/>
              </a:rPr>
              <a:t>KPIs y Niveles de Servicio</a:t>
            </a:r>
          </a:p>
        </p:txBody>
      </p:sp>
      <p:pic>
        <p:nvPicPr>
          <p:cNvPr id="62" name="Graphic 61" descr="Gauge">
            <a:extLst>
              <a:ext uri="{FF2B5EF4-FFF2-40B4-BE49-F238E27FC236}">
                <a16:creationId xmlns:a16="http://schemas.microsoft.com/office/drawing/2014/main" id="{0895E6BF-6F42-49BE-A95E-892D97E89EC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050804" y="5552155"/>
            <a:ext cx="1463040" cy="1463040"/>
          </a:xfrm>
          <a:prstGeom prst="rect">
            <a:avLst/>
          </a:prstGeom>
        </p:spPr>
      </p:pic>
      <p:pic>
        <p:nvPicPr>
          <p:cNvPr id="64" name="Graphic 63" descr="Hierarchy">
            <a:extLst>
              <a:ext uri="{FF2B5EF4-FFF2-40B4-BE49-F238E27FC236}">
                <a16:creationId xmlns:a16="http://schemas.microsoft.com/office/drawing/2014/main" id="{F29C9CF4-AAB9-4BA5-BC19-AE25D962E06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7184419" y="2829150"/>
            <a:ext cx="1463040" cy="1463040"/>
          </a:xfrm>
          <a:prstGeom prst="rect">
            <a:avLst/>
          </a:prstGeom>
        </p:spPr>
      </p:pic>
      <p:pic>
        <p:nvPicPr>
          <p:cNvPr id="67" name="Graphic 66" descr="Network">
            <a:hlinkClick r:id="rId7" action="ppaction://hlinksldjump"/>
            <a:extLst>
              <a:ext uri="{FF2B5EF4-FFF2-40B4-BE49-F238E27FC236}">
                <a16:creationId xmlns:a16="http://schemas.microsoft.com/office/drawing/2014/main" id="{C5C5A0AC-C8EC-4E16-861B-4E0C9001283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14652" y="5529090"/>
            <a:ext cx="1463040" cy="1463040"/>
          </a:xfrm>
          <a:prstGeom prst="rect">
            <a:avLst/>
          </a:prstGeom>
        </p:spPr>
      </p:pic>
      <p:pic>
        <p:nvPicPr>
          <p:cNvPr id="70" name="Graphic 69" descr="Teacher">
            <a:extLst>
              <a:ext uri="{FF2B5EF4-FFF2-40B4-BE49-F238E27FC236}">
                <a16:creationId xmlns:a16="http://schemas.microsoft.com/office/drawing/2014/main" id="{9C387544-8DBB-4EDB-BE90-4D3117DE6CD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965108" y="2842722"/>
            <a:ext cx="1463040" cy="1463040"/>
          </a:xfrm>
          <a:prstGeom prst="rect">
            <a:avLst/>
          </a:prstGeom>
        </p:spPr>
      </p:pic>
      <p:sp>
        <p:nvSpPr>
          <p:cNvPr id="21" name="Rectangle 52">
            <a:extLst>
              <a:ext uri="{FF2B5EF4-FFF2-40B4-BE49-F238E27FC236}">
                <a16:creationId xmlns:a16="http://schemas.microsoft.com/office/drawing/2014/main" id="{89A172C6-D365-4C05-8814-D00A9F292266}"/>
              </a:ext>
            </a:extLst>
          </p:cNvPr>
          <p:cNvSpPr/>
          <p:nvPr/>
        </p:nvSpPr>
        <p:spPr>
          <a:xfrm>
            <a:off x="4150108" y="10567501"/>
            <a:ext cx="3723539" cy="174443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828837">
              <a:defRPr/>
            </a:pPr>
            <a:endParaRPr lang="en-IN" sz="2800" b="1" kern="1200" dirty="0">
              <a:solidFill>
                <a:srgbClr val="FFFFFF"/>
              </a:solidFill>
              <a:latin typeface="IBM Plex Sans" panose="020B0503050000000000" pitchFamily="34" charset="0"/>
              <a:ea typeface="Verdana" panose="020B0604030504040204" pitchFamily="34" charset="0"/>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r>
              <a:rPr lang="en-US" sz="2000" b="1" kern="1200" dirty="0">
                <a:solidFill>
                  <a:srgbClr val="E7E6E6"/>
                </a:solidFill>
                <a:latin typeface="+mn-lt"/>
                <a:ea typeface="+mn-ea"/>
                <a:cs typeface="+mn-cs"/>
              </a:rPr>
              <a:t>Vista del Proceso</a:t>
            </a:r>
          </a:p>
        </p:txBody>
      </p:sp>
      <p:sp>
        <p:nvSpPr>
          <p:cNvPr id="23" name="Rectangle 56">
            <a:extLst>
              <a:ext uri="{FF2B5EF4-FFF2-40B4-BE49-F238E27FC236}">
                <a16:creationId xmlns:a16="http://schemas.microsoft.com/office/drawing/2014/main" id="{78891008-E4E3-41B9-A8B0-4F181355808E}"/>
              </a:ext>
            </a:extLst>
          </p:cNvPr>
          <p:cNvSpPr/>
          <p:nvPr/>
        </p:nvSpPr>
        <p:spPr>
          <a:xfrm>
            <a:off x="6011878" y="8522493"/>
            <a:ext cx="3723539" cy="174443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r>
              <a:rPr lang="en-US" sz="2000" b="1" kern="1200" dirty="0">
                <a:solidFill>
                  <a:srgbClr val="E7E6E6"/>
                </a:solidFill>
                <a:latin typeface="+mn-lt"/>
                <a:ea typeface="+mn-ea"/>
                <a:cs typeface="+mn-cs"/>
              </a:rPr>
              <a:t>Matriz RACI</a:t>
            </a:r>
          </a:p>
        </p:txBody>
      </p:sp>
      <p:pic>
        <p:nvPicPr>
          <p:cNvPr id="24" name="Graphic 64" descr="Send">
            <a:extLst>
              <a:ext uri="{FF2B5EF4-FFF2-40B4-BE49-F238E27FC236}">
                <a16:creationId xmlns:a16="http://schemas.microsoft.com/office/drawing/2014/main" id="{2D3CFC92-62C8-4FA4-9E1A-DE1C4F82E26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559305" y="10817908"/>
            <a:ext cx="882655" cy="882655"/>
          </a:xfrm>
          <a:prstGeom prst="rect">
            <a:avLst/>
          </a:prstGeom>
        </p:spPr>
      </p:pic>
      <p:pic>
        <p:nvPicPr>
          <p:cNvPr id="25" name="Graphic 65" descr="Monthly calendar">
            <a:extLst>
              <a:ext uri="{FF2B5EF4-FFF2-40B4-BE49-F238E27FC236}">
                <a16:creationId xmlns:a16="http://schemas.microsoft.com/office/drawing/2014/main" id="{37AA2C2E-580A-4547-9C85-B1B01C1A1167}"/>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413055" y="8638288"/>
            <a:ext cx="992387" cy="992387"/>
          </a:xfrm>
          <a:prstGeom prst="rect">
            <a:avLst/>
          </a:prstGeom>
        </p:spPr>
      </p:pic>
      <p:sp>
        <p:nvSpPr>
          <p:cNvPr id="26" name="Rectangle 52">
            <a:extLst>
              <a:ext uri="{FF2B5EF4-FFF2-40B4-BE49-F238E27FC236}">
                <a16:creationId xmlns:a16="http://schemas.microsoft.com/office/drawing/2014/main" id="{FC8A484D-ECFA-4D43-9AC7-A6F0D7A8CBDA}"/>
              </a:ext>
            </a:extLst>
          </p:cNvPr>
          <p:cNvSpPr/>
          <p:nvPr/>
        </p:nvSpPr>
        <p:spPr>
          <a:xfrm>
            <a:off x="2037264" y="8529050"/>
            <a:ext cx="3723539" cy="174443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r>
              <a:rPr lang="en-US" sz="2000" b="1" kern="1200" dirty="0">
                <a:solidFill>
                  <a:srgbClr val="E7E6E6"/>
                </a:solidFill>
                <a:latin typeface="+mn-lt"/>
                <a:ea typeface="+mn-ea"/>
                <a:cs typeface="+mn-cs"/>
              </a:rPr>
              <a:t>Descripción del Proceso</a:t>
            </a:r>
          </a:p>
        </p:txBody>
      </p:sp>
      <p:pic>
        <p:nvPicPr>
          <p:cNvPr id="27" name="Graphic 68" descr="Contract">
            <a:extLst>
              <a:ext uri="{FF2B5EF4-FFF2-40B4-BE49-F238E27FC236}">
                <a16:creationId xmlns:a16="http://schemas.microsoft.com/office/drawing/2014/main" id="{4A98DD20-8BC9-4F43-9860-260EF6D4D24D}"/>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482586" y="8823071"/>
            <a:ext cx="832895" cy="832895"/>
          </a:xfrm>
          <a:prstGeom prst="rect">
            <a:avLst/>
          </a:prstGeom>
        </p:spPr>
      </p:pic>
    </p:spTree>
    <p:extLst>
      <p:ext uri="{BB962C8B-B14F-4D97-AF65-F5344CB8AC3E}">
        <p14:creationId xmlns:p14="http://schemas.microsoft.com/office/powerpoint/2010/main" val="41832517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grpSp>
        <p:nvGrpSpPr>
          <p:cNvPr id="170" name="Group 1452">
            <a:extLst>
              <a:ext uri="{FF2B5EF4-FFF2-40B4-BE49-F238E27FC236}">
                <a16:creationId xmlns:a16="http://schemas.microsoft.com/office/drawing/2014/main" id="{F5DDB166-B6F1-4DCA-B74F-6E3419615308}"/>
              </a:ext>
            </a:extLst>
          </p:cNvPr>
          <p:cNvGrpSpPr>
            <a:grpSpLocks noChangeAspect="1"/>
          </p:cNvGrpSpPr>
          <p:nvPr/>
        </p:nvGrpSpPr>
        <p:grpSpPr bwMode="auto">
          <a:xfrm>
            <a:off x="799542" y="3178352"/>
            <a:ext cx="672464" cy="432436"/>
            <a:chOff x="4967340" y="2057401"/>
            <a:chExt cx="492125" cy="315912"/>
          </a:xfrm>
          <a:solidFill>
            <a:srgbClr val="FFFFFF"/>
          </a:solidFill>
        </p:grpSpPr>
        <p:sp>
          <p:nvSpPr>
            <p:cNvPr id="171" name="Freeform 93">
              <a:extLst>
                <a:ext uri="{FF2B5EF4-FFF2-40B4-BE49-F238E27FC236}">
                  <a16:creationId xmlns:a16="http://schemas.microsoft.com/office/drawing/2014/main" id="{3E36C31E-E7B8-4961-9F7B-6DA4A5DE3D1C}"/>
                </a:ext>
              </a:extLst>
            </p:cNvPr>
            <p:cNvSpPr>
              <a:spLocks noEditPoints="1"/>
            </p:cNvSpPr>
            <p:nvPr/>
          </p:nvSpPr>
          <p:spPr bwMode="auto">
            <a:xfrm>
              <a:off x="4967340" y="2089151"/>
              <a:ext cx="492125" cy="261938"/>
            </a:xfrm>
            <a:custGeom>
              <a:avLst/>
              <a:gdLst>
                <a:gd name="T0" fmla="*/ 2147483646 w 485"/>
                <a:gd name="T1" fmla="*/ 2147483646 h 259"/>
                <a:gd name="T2" fmla="*/ 2147483646 w 485"/>
                <a:gd name="T3" fmla="*/ 2147483646 h 259"/>
                <a:gd name="T4" fmla="*/ 2147483646 w 485"/>
                <a:gd name="T5" fmla="*/ 0 h 259"/>
                <a:gd name="T6" fmla="*/ 2147483646 w 485"/>
                <a:gd name="T7" fmla="*/ 2147483646 h 259"/>
                <a:gd name="T8" fmla="*/ 2147483646 w 485"/>
                <a:gd name="T9" fmla="*/ 2147483646 h 259"/>
                <a:gd name="T10" fmla="*/ 2147483646 w 485"/>
                <a:gd name="T11" fmla="*/ 2147483646 h 259"/>
                <a:gd name="T12" fmla="*/ 0 w 485"/>
                <a:gd name="T13" fmla="*/ 2147483646 h 259"/>
                <a:gd name="T14" fmla="*/ 2147483646 w 485"/>
                <a:gd name="T15" fmla="*/ 2147483646 h 259"/>
                <a:gd name="T16" fmla="*/ 2147483646 w 485"/>
                <a:gd name="T17" fmla="*/ 2147483646 h 259"/>
                <a:gd name="T18" fmla="*/ 2147483646 w 485"/>
                <a:gd name="T19" fmla="*/ 2147483646 h 259"/>
                <a:gd name="T20" fmla="*/ 2147483646 w 485"/>
                <a:gd name="T21" fmla="*/ 2147483646 h 259"/>
                <a:gd name="T22" fmla="*/ 2147483646 w 485"/>
                <a:gd name="T23" fmla="*/ 2147483646 h 259"/>
                <a:gd name="T24" fmla="*/ 2147483646 w 485"/>
                <a:gd name="T25" fmla="*/ 2147483646 h 259"/>
                <a:gd name="T26" fmla="*/ 2147483646 w 485"/>
                <a:gd name="T27" fmla="*/ 2147483646 h 259"/>
                <a:gd name="T28" fmla="*/ 2147483646 w 485"/>
                <a:gd name="T29" fmla="*/ 2147483646 h 259"/>
                <a:gd name="T30" fmla="*/ 2147483646 w 485"/>
                <a:gd name="T31" fmla="*/ 2147483646 h 259"/>
                <a:gd name="T32" fmla="*/ 2147483646 w 485"/>
                <a:gd name="T33" fmla="*/ 2147483646 h 259"/>
                <a:gd name="T34" fmla="*/ 2147483646 w 485"/>
                <a:gd name="T35" fmla="*/ 0 h 259"/>
                <a:gd name="T36" fmla="*/ 2147483646 w 485"/>
                <a:gd name="T37" fmla="*/ 2147483646 h 259"/>
                <a:gd name="T38" fmla="*/ 2147483646 w 485"/>
                <a:gd name="T39" fmla="*/ 2147483646 h 259"/>
                <a:gd name="T40" fmla="*/ 2147483646 w 485"/>
                <a:gd name="T41" fmla="*/ 2147483646 h 259"/>
                <a:gd name="T42" fmla="*/ 2147483646 w 485"/>
                <a:gd name="T43" fmla="*/ 2147483646 h 259"/>
                <a:gd name="T44" fmla="*/ 2147483646 w 485"/>
                <a:gd name="T45" fmla="*/ 2147483646 h 259"/>
                <a:gd name="T46" fmla="*/ 2147483646 w 485"/>
                <a:gd name="T47" fmla="*/ 2147483646 h 259"/>
                <a:gd name="T48" fmla="*/ 2147483646 w 485"/>
                <a:gd name="T49" fmla="*/ 2147483646 h 259"/>
                <a:gd name="T50" fmla="*/ 2147483646 w 485"/>
                <a:gd name="T51" fmla="*/ 2147483646 h 259"/>
                <a:gd name="T52" fmla="*/ 2147483646 w 485"/>
                <a:gd name="T53" fmla="*/ 2147483646 h 25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85" h="259">
                  <a:moveTo>
                    <a:pt x="152" y="39"/>
                  </a:moveTo>
                  <a:cubicBezTo>
                    <a:pt x="152" y="28"/>
                    <a:pt x="154" y="18"/>
                    <a:pt x="157" y="9"/>
                  </a:cubicBezTo>
                  <a:cubicBezTo>
                    <a:pt x="147" y="3"/>
                    <a:pt x="136" y="0"/>
                    <a:pt x="123" y="0"/>
                  </a:cubicBezTo>
                  <a:cubicBezTo>
                    <a:pt x="88" y="0"/>
                    <a:pt x="60" y="25"/>
                    <a:pt x="60" y="65"/>
                  </a:cubicBezTo>
                  <a:cubicBezTo>
                    <a:pt x="60" y="97"/>
                    <a:pt x="78" y="128"/>
                    <a:pt x="103" y="140"/>
                  </a:cubicBezTo>
                  <a:cubicBezTo>
                    <a:pt x="103" y="165"/>
                    <a:pt x="103" y="165"/>
                    <a:pt x="103" y="165"/>
                  </a:cubicBezTo>
                  <a:cubicBezTo>
                    <a:pt x="22" y="170"/>
                    <a:pt x="6" y="204"/>
                    <a:pt x="0" y="247"/>
                  </a:cubicBezTo>
                  <a:cubicBezTo>
                    <a:pt x="84" y="259"/>
                    <a:pt x="84" y="259"/>
                    <a:pt x="84" y="259"/>
                  </a:cubicBezTo>
                  <a:cubicBezTo>
                    <a:pt x="84" y="245"/>
                    <a:pt x="84" y="245"/>
                    <a:pt x="84" y="245"/>
                  </a:cubicBezTo>
                  <a:cubicBezTo>
                    <a:pt x="88" y="219"/>
                    <a:pt x="94" y="192"/>
                    <a:pt x="114" y="171"/>
                  </a:cubicBezTo>
                  <a:cubicBezTo>
                    <a:pt x="131" y="153"/>
                    <a:pt x="159" y="140"/>
                    <a:pt x="202" y="135"/>
                  </a:cubicBezTo>
                  <a:cubicBezTo>
                    <a:pt x="202" y="135"/>
                    <a:pt x="202" y="135"/>
                    <a:pt x="202" y="135"/>
                  </a:cubicBezTo>
                  <a:cubicBezTo>
                    <a:pt x="173" y="116"/>
                    <a:pt x="152" y="79"/>
                    <a:pt x="152" y="39"/>
                  </a:cubicBezTo>
                  <a:close/>
                  <a:moveTo>
                    <a:pt x="481" y="229"/>
                  </a:moveTo>
                  <a:cubicBezTo>
                    <a:pt x="472" y="194"/>
                    <a:pt x="450" y="169"/>
                    <a:pt x="382" y="165"/>
                  </a:cubicBezTo>
                  <a:cubicBezTo>
                    <a:pt x="382" y="140"/>
                    <a:pt x="382" y="140"/>
                    <a:pt x="382" y="140"/>
                  </a:cubicBezTo>
                  <a:cubicBezTo>
                    <a:pt x="407" y="128"/>
                    <a:pt x="425" y="97"/>
                    <a:pt x="425" y="65"/>
                  </a:cubicBezTo>
                  <a:cubicBezTo>
                    <a:pt x="425" y="25"/>
                    <a:pt x="397" y="0"/>
                    <a:pt x="361" y="0"/>
                  </a:cubicBezTo>
                  <a:cubicBezTo>
                    <a:pt x="349" y="0"/>
                    <a:pt x="338" y="3"/>
                    <a:pt x="328" y="9"/>
                  </a:cubicBezTo>
                  <a:cubicBezTo>
                    <a:pt x="331" y="18"/>
                    <a:pt x="333" y="28"/>
                    <a:pt x="333" y="39"/>
                  </a:cubicBezTo>
                  <a:cubicBezTo>
                    <a:pt x="333" y="79"/>
                    <a:pt x="312" y="116"/>
                    <a:pt x="283" y="135"/>
                  </a:cubicBezTo>
                  <a:cubicBezTo>
                    <a:pt x="283" y="135"/>
                    <a:pt x="283" y="135"/>
                    <a:pt x="283" y="135"/>
                  </a:cubicBezTo>
                  <a:cubicBezTo>
                    <a:pt x="324" y="139"/>
                    <a:pt x="352" y="151"/>
                    <a:pt x="369" y="168"/>
                  </a:cubicBezTo>
                  <a:cubicBezTo>
                    <a:pt x="391" y="189"/>
                    <a:pt x="397" y="218"/>
                    <a:pt x="401" y="245"/>
                  </a:cubicBezTo>
                  <a:cubicBezTo>
                    <a:pt x="401" y="259"/>
                    <a:pt x="401" y="259"/>
                    <a:pt x="401" y="259"/>
                  </a:cubicBezTo>
                  <a:cubicBezTo>
                    <a:pt x="485" y="247"/>
                    <a:pt x="485" y="247"/>
                    <a:pt x="485" y="247"/>
                  </a:cubicBezTo>
                  <a:cubicBezTo>
                    <a:pt x="484" y="241"/>
                    <a:pt x="483" y="235"/>
                    <a:pt x="481" y="2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72" name="Freeform 94">
              <a:extLst>
                <a:ext uri="{FF2B5EF4-FFF2-40B4-BE49-F238E27FC236}">
                  <a16:creationId xmlns:a16="http://schemas.microsoft.com/office/drawing/2014/main" id="{365455E5-B369-46AD-AE1C-84DF6BB22B2D}"/>
                </a:ext>
              </a:extLst>
            </p:cNvPr>
            <p:cNvSpPr>
              <a:spLocks/>
            </p:cNvSpPr>
            <p:nvPr/>
          </p:nvSpPr>
          <p:spPr bwMode="auto">
            <a:xfrm>
              <a:off x="5138790" y="2057401"/>
              <a:ext cx="149225" cy="169863"/>
            </a:xfrm>
            <a:custGeom>
              <a:avLst/>
              <a:gdLst>
                <a:gd name="T0" fmla="*/ 2147483646 w 147"/>
                <a:gd name="T1" fmla="*/ 2147483646 h 166"/>
                <a:gd name="T2" fmla="*/ 2147483646 w 147"/>
                <a:gd name="T3" fmla="*/ 2147483646 h 166"/>
                <a:gd name="T4" fmla="*/ 2147483646 w 147"/>
                <a:gd name="T5" fmla="*/ 2147483646 h 166"/>
                <a:gd name="T6" fmla="*/ 2147483646 w 147"/>
                <a:gd name="T7" fmla="*/ 0 h 166"/>
                <a:gd name="T8" fmla="*/ 0 w 147"/>
                <a:gd name="T9" fmla="*/ 2147483646 h 166"/>
                <a:gd name="T10" fmla="*/ 2147483646 w 147"/>
                <a:gd name="T11" fmla="*/ 2147483646 h 166"/>
                <a:gd name="T12" fmla="*/ 2147483646 w 147"/>
                <a:gd name="T13" fmla="*/ 2147483646 h 16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7" h="166">
                  <a:moveTo>
                    <a:pt x="74" y="166"/>
                  </a:moveTo>
                  <a:cubicBezTo>
                    <a:pt x="86" y="166"/>
                    <a:pt x="97" y="160"/>
                    <a:pt x="97" y="160"/>
                  </a:cubicBezTo>
                  <a:cubicBezTo>
                    <a:pt x="126" y="147"/>
                    <a:pt x="147" y="111"/>
                    <a:pt x="147" y="74"/>
                  </a:cubicBezTo>
                  <a:cubicBezTo>
                    <a:pt x="147" y="29"/>
                    <a:pt x="114" y="0"/>
                    <a:pt x="73" y="0"/>
                  </a:cubicBezTo>
                  <a:cubicBezTo>
                    <a:pt x="33" y="0"/>
                    <a:pt x="0" y="29"/>
                    <a:pt x="0" y="74"/>
                  </a:cubicBezTo>
                  <a:cubicBezTo>
                    <a:pt x="0" y="111"/>
                    <a:pt x="21" y="147"/>
                    <a:pt x="50" y="160"/>
                  </a:cubicBezTo>
                  <a:cubicBezTo>
                    <a:pt x="50" y="160"/>
                    <a:pt x="62" y="166"/>
                    <a:pt x="74" y="1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73" name="Freeform 95">
              <a:extLst>
                <a:ext uri="{FF2B5EF4-FFF2-40B4-BE49-F238E27FC236}">
                  <a16:creationId xmlns:a16="http://schemas.microsoft.com/office/drawing/2014/main" id="{7FB9A977-7E69-49BE-8AFC-E15F75CCAA82}"/>
                </a:ext>
              </a:extLst>
            </p:cNvPr>
            <p:cNvSpPr>
              <a:spLocks/>
            </p:cNvSpPr>
            <p:nvPr/>
          </p:nvSpPr>
          <p:spPr bwMode="auto">
            <a:xfrm>
              <a:off x="5226103" y="2239963"/>
              <a:ext cx="131763" cy="133350"/>
            </a:xfrm>
            <a:custGeom>
              <a:avLst/>
              <a:gdLst>
                <a:gd name="T0" fmla="*/ 2147483646 w 129"/>
                <a:gd name="T1" fmla="*/ 2147483646 h 130"/>
                <a:gd name="T2" fmla="*/ 2147483646 w 129"/>
                <a:gd name="T3" fmla="*/ 0 h 130"/>
                <a:gd name="T4" fmla="*/ 0 w 129"/>
                <a:gd name="T5" fmla="*/ 2147483646 h 130"/>
                <a:gd name="T6" fmla="*/ 2147483646 w 129"/>
                <a:gd name="T7" fmla="*/ 2147483646 h 130"/>
                <a:gd name="T8" fmla="*/ 2147483646 w 129"/>
                <a:gd name="T9" fmla="*/ 2147483646 h 13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0">
                  <a:moveTo>
                    <a:pt x="127" y="80"/>
                  </a:moveTo>
                  <a:cubicBezTo>
                    <a:pt x="118" y="39"/>
                    <a:pt x="104" y="7"/>
                    <a:pt x="30" y="0"/>
                  </a:cubicBezTo>
                  <a:cubicBezTo>
                    <a:pt x="0" y="130"/>
                    <a:pt x="0" y="130"/>
                    <a:pt x="0" y="130"/>
                  </a:cubicBezTo>
                  <a:cubicBezTo>
                    <a:pt x="90" y="129"/>
                    <a:pt x="129" y="118"/>
                    <a:pt x="129" y="118"/>
                  </a:cubicBezTo>
                  <a:cubicBezTo>
                    <a:pt x="128" y="113"/>
                    <a:pt x="128" y="85"/>
                    <a:pt x="127"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74" name="Freeform 96">
              <a:extLst>
                <a:ext uri="{FF2B5EF4-FFF2-40B4-BE49-F238E27FC236}">
                  <a16:creationId xmlns:a16="http://schemas.microsoft.com/office/drawing/2014/main" id="{786E8F80-3B67-4685-8713-73C5C055B48A}"/>
                </a:ext>
              </a:extLst>
            </p:cNvPr>
            <p:cNvSpPr>
              <a:spLocks/>
            </p:cNvSpPr>
            <p:nvPr/>
          </p:nvSpPr>
          <p:spPr bwMode="auto">
            <a:xfrm>
              <a:off x="5070528" y="2239963"/>
              <a:ext cx="130175" cy="133350"/>
            </a:xfrm>
            <a:custGeom>
              <a:avLst/>
              <a:gdLst>
                <a:gd name="T0" fmla="*/ 2147483646 w 129"/>
                <a:gd name="T1" fmla="*/ 2147483646 h 131"/>
                <a:gd name="T2" fmla="*/ 0 w 129"/>
                <a:gd name="T3" fmla="*/ 2147483646 h 131"/>
                <a:gd name="T4" fmla="*/ 2147483646 w 129"/>
                <a:gd name="T5" fmla="*/ 2147483646 h 131"/>
                <a:gd name="T6" fmla="*/ 2147483646 w 129"/>
                <a:gd name="T7" fmla="*/ 0 h 131"/>
                <a:gd name="T8" fmla="*/ 2147483646 w 129"/>
                <a:gd name="T9" fmla="*/ 2147483646 h 1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1">
                  <a:moveTo>
                    <a:pt x="2" y="82"/>
                  </a:moveTo>
                  <a:cubicBezTo>
                    <a:pt x="1" y="86"/>
                    <a:pt x="0" y="114"/>
                    <a:pt x="0" y="118"/>
                  </a:cubicBezTo>
                  <a:cubicBezTo>
                    <a:pt x="0" y="118"/>
                    <a:pt x="33" y="130"/>
                    <a:pt x="129" y="131"/>
                  </a:cubicBezTo>
                  <a:cubicBezTo>
                    <a:pt x="99" y="0"/>
                    <a:pt x="99" y="0"/>
                    <a:pt x="99" y="0"/>
                  </a:cubicBezTo>
                  <a:cubicBezTo>
                    <a:pt x="23" y="7"/>
                    <a:pt x="10" y="40"/>
                    <a:pt x="2"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75" name="Freeform 97">
              <a:extLst>
                <a:ext uri="{FF2B5EF4-FFF2-40B4-BE49-F238E27FC236}">
                  <a16:creationId xmlns:a16="http://schemas.microsoft.com/office/drawing/2014/main" id="{5ABDBDDF-0E39-4FFE-A314-7F75E07A43CB}"/>
                </a:ext>
              </a:extLst>
            </p:cNvPr>
            <p:cNvSpPr>
              <a:spLocks/>
            </p:cNvSpPr>
            <p:nvPr/>
          </p:nvSpPr>
          <p:spPr bwMode="auto">
            <a:xfrm>
              <a:off x="5197528" y="2241551"/>
              <a:ext cx="31750" cy="17463"/>
            </a:xfrm>
            <a:custGeom>
              <a:avLst/>
              <a:gdLst>
                <a:gd name="T0" fmla="*/ 2147483646 w 31"/>
                <a:gd name="T1" fmla="*/ 2147483646 h 17"/>
                <a:gd name="T2" fmla="*/ 0 w 31"/>
                <a:gd name="T3" fmla="*/ 0 h 17"/>
                <a:gd name="T4" fmla="*/ 2147483646 w 31"/>
                <a:gd name="T5" fmla="*/ 2147483646 h 17"/>
                <a:gd name="T6" fmla="*/ 2147483646 w 31"/>
                <a:gd name="T7" fmla="*/ 2147483646 h 17"/>
                <a:gd name="T8" fmla="*/ 2147483646 w 31"/>
                <a:gd name="T9" fmla="*/ 0 h 17"/>
                <a:gd name="T10" fmla="*/ 2147483646 w 31"/>
                <a:gd name="T11" fmla="*/ 2147483646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1" h="17">
                  <a:moveTo>
                    <a:pt x="15" y="1"/>
                  </a:moveTo>
                  <a:cubicBezTo>
                    <a:pt x="7" y="1"/>
                    <a:pt x="0" y="0"/>
                    <a:pt x="0" y="0"/>
                  </a:cubicBezTo>
                  <a:cubicBezTo>
                    <a:pt x="7" y="17"/>
                    <a:pt x="7" y="17"/>
                    <a:pt x="7" y="17"/>
                  </a:cubicBezTo>
                  <a:cubicBezTo>
                    <a:pt x="24" y="17"/>
                    <a:pt x="24" y="17"/>
                    <a:pt x="24" y="17"/>
                  </a:cubicBezTo>
                  <a:cubicBezTo>
                    <a:pt x="31" y="0"/>
                    <a:pt x="31" y="0"/>
                    <a:pt x="31" y="0"/>
                  </a:cubicBezTo>
                  <a:cubicBezTo>
                    <a:pt x="31" y="0"/>
                    <a:pt x="25" y="1"/>
                    <a:pt x="1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76" name="Freeform 98">
              <a:extLst>
                <a:ext uri="{FF2B5EF4-FFF2-40B4-BE49-F238E27FC236}">
                  <a16:creationId xmlns:a16="http://schemas.microsoft.com/office/drawing/2014/main" id="{B41EAE00-0F30-48F0-9F92-5E509E596045}"/>
                </a:ext>
              </a:extLst>
            </p:cNvPr>
            <p:cNvSpPr>
              <a:spLocks/>
            </p:cNvSpPr>
            <p:nvPr/>
          </p:nvSpPr>
          <p:spPr bwMode="auto">
            <a:xfrm>
              <a:off x="5197528" y="2270126"/>
              <a:ext cx="31750" cy="100013"/>
            </a:xfrm>
            <a:custGeom>
              <a:avLst/>
              <a:gdLst>
                <a:gd name="T0" fmla="*/ 2147483646 w 20"/>
                <a:gd name="T1" fmla="*/ 2147483646 h 63"/>
                <a:gd name="T2" fmla="*/ 2147483646 w 20"/>
                <a:gd name="T3" fmla="*/ 0 h 63"/>
                <a:gd name="T4" fmla="*/ 2147483646 w 20"/>
                <a:gd name="T5" fmla="*/ 0 h 63"/>
                <a:gd name="T6" fmla="*/ 0 w 20"/>
                <a:gd name="T7" fmla="*/ 2147483646 h 63"/>
                <a:gd name="T8" fmla="*/ 2147483646 w 20"/>
                <a:gd name="T9" fmla="*/ 2147483646 h 63"/>
                <a:gd name="T10" fmla="*/ 2147483646 w 20"/>
                <a:gd name="T11" fmla="*/ 2147483646 h 6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63">
                  <a:moveTo>
                    <a:pt x="20" y="19"/>
                  </a:moveTo>
                  <a:lnTo>
                    <a:pt x="16" y="0"/>
                  </a:lnTo>
                  <a:lnTo>
                    <a:pt x="6" y="0"/>
                  </a:lnTo>
                  <a:lnTo>
                    <a:pt x="0" y="19"/>
                  </a:lnTo>
                  <a:lnTo>
                    <a:pt x="10" y="63"/>
                  </a:lnTo>
                  <a:lnTo>
                    <a:pt x="2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77" name="Freeform 99">
              <a:extLst>
                <a:ext uri="{FF2B5EF4-FFF2-40B4-BE49-F238E27FC236}">
                  <a16:creationId xmlns:a16="http://schemas.microsoft.com/office/drawing/2014/main" id="{7410FAFA-4C42-4AA6-BB12-65B473DA1E94}"/>
                </a:ext>
              </a:extLst>
            </p:cNvPr>
            <p:cNvSpPr>
              <a:spLocks/>
            </p:cNvSpPr>
            <p:nvPr/>
          </p:nvSpPr>
          <p:spPr bwMode="auto">
            <a:xfrm>
              <a:off x="5261028" y="2312988"/>
              <a:ext cx="50800" cy="12700"/>
            </a:xfrm>
            <a:custGeom>
              <a:avLst/>
              <a:gdLst>
                <a:gd name="T0" fmla="*/ 2147483646 w 32"/>
                <a:gd name="T1" fmla="*/ 2147483646 h 8"/>
                <a:gd name="T2" fmla="*/ 0 w 32"/>
                <a:gd name="T3" fmla="*/ 2147483646 h 8"/>
                <a:gd name="T4" fmla="*/ 0 w 32"/>
                <a:gd name="T5" fmla="*/ 0 h 8"/>
                <a:gd name="T6" fmla="*/ 2147483646 w 32"/>
                <a:gd name="T7" fmla="*/ 0 h 8"/>
                <a:gd name="T8" fmla="*/ 2147483646 w 32"/>
                <a:gd name="T9" fmla="*/ 0 h 8"/>
                <a:gd name="T10" fmla="*/ 2147483646 w 32"/>
                <a:gd name="T11" fmla="*/ 2147483646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 h="8">
                  <a:moveTo>
                    <a:pt x="32" y="8"/>
                  </a:moveTo>
                  <a:lnTo>
                    <a:pt x="0" y="8"/>
                  </a:lnTo>
                  <a:lnTo>
                    <a:pt x="0" y="0"/>
                  </a:lnTo>
                  <a:lnTo>
                    <a:pt x="19" y="0"/>
                  </a:lnTo>
                  <a:lnTo>
                    <a:pt x="32" y="0"/>
                  </a:lnTo>
                  <a:lnTo>
                    <a:pt x="3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grpSp>
      <p:grpSp>
        <p:nvGrpSpPr>
          <p:cNvPr id="178" name="Group 1452">
            <a:extLst>
              <a:ext uri="{FF2B5EF4-FFF2-40B4-BE49-F238E27FC236}">
                <a16:creationId xmlns:a16="http://schemas.microsoft.com/office/drawing/2014/main" id="{22078CD5-7AFF-4542-BF3A-010BAEC5D221}"/>
              </a:ext>
            </a:extLst>
          </p:cNvPr>
          <p:cNvGrpSpPr>
            <a:grpSpLocks noChangeAspect="1"/>
          </p:cNvGrpSpPr>
          <p:nvPr/>
        </p:nvGrpSpPr>
        <p:grpSpPr bwMode="auto">
          <a:xfrm>
            <a:off x="834571" y="5860793"/>
            <a:ext cx="672464" cy="432436"/>
            <a:chOff x="4967340" y="2057401"/>
            <a:chExt cx="492125" cy="315912"/>
          </a:xfrm>
          <a:solidFill>
            <a:srgbClr val="FFFFFF"/>
          </a:solidFill>
        </p:grpSpPr>
        <p:sp>
          <p:nvSpPr>
            <p:cNvPr id="179" name="Freeform 93">
              <a:extLst>
                <a:ext uri="{FF2B5EF4-FFF2-40B4-BE49-F238E27FC236}">
                  <a16:creationId xmlns:a16="http://schemas.microsoft.com/office/drawing/2014/main" id="{896621CF-ED4E-4E6D-A737-1F5A737CE1FF}"/>
                </a:ext>
              </a:extLst>
            </p:cNvPr>
            <p:cNvSpPr>
              <a:spLocks noEditPoints="1"/>
            </p:cNvSpPr>
            <p:nvPr/>
          </p:nvSpPr>
          <p:spPr bwMode="auto">
            <a:xfrm>
              <a:off x="4967340" y="2089151"/>
              <a:ext cx="492125" cy="261938"/>
            </a:xfrm>
            <a:custGeom>
              <a:avLst/>
              <a:gdLst>
                <a:gd name="T0" fmla="*/ 2147483646 w 485"/>
                <a:gd name="T1" fmla="*/ 2147483646 h 259"/>
                <a:gd name="T2" fmla="*/ 2147483646 w 485"/>
                <a:gd name="T3" fmla="*/ 2147483646 h 259"/>
                <a:gd name="T4" fmla="*/ 2147483646 w 485"/>
                <a:gd name="T5" fmla="*/ 0 h 259"/>
                <a:gd name="T6" fmla="*/ 2147483646 w 485"/>
                <a:gd name="T7" fmla="*/ 2147483646 h 259"/>
                <a:gd name="T8" fmla="*/ 2147483646 w 485"/>
                <a:gd name="T9" fmla="*/ 2147483646 h 259"/>
                <a:gd name="T10" fmla="*/ 2147483646 w 485"/>
                <a:gd name="T11" fmla="*/ 2147483646 h 259"/>
                <a:gd name="T12" fmla="*/ 0 w 485"/>
                <a:gd name="T13" fmla="*/ 2147483646 h 259"/>
                <a:gd name="T14" fmla="*/ 2147483646 w 485"/>
                <a:gd name="T15" fmla="*/ 2147483646 h 259"/>
                <a:gd name="T16" fmla="*/ 2147483646 w 485"/>
                <a:gd name="T17" fmla="*/ 2147483646 h 259"/>
                <a:gd name="T18" fmla="*/ 2147483646 w 485"/>
                <a:gd name="T19" fmla="*/ 2147483646 h 259"/>
                <a:gd name="T20" fmla="*/ 2147483646 w 485"/>
                <a:gd name="T21" fmla="*/ 2147483646 h 259"/>
                <a:gd name="T22" fmla="*/ 2147483646 w 485"/>
                <a:gd name="T23" fmla="*/ 2147483646 h 259"/>
                <a:gd name="T24" fmla="*/ 2147483646 w 485"/>
                <a:gd name="T25" fmla="*/ 2147483646 h 259"/>
                <a:gd name="T26" fmla="*/ 2147483646 w 485"/>
                <a:gd name="T27" fmla="*/ 2147483646 h 259"/>
                <a:gd name="T28" fmla="*/ 2147483646 w 485"/>
                <a:gd name="T29" fmla="*/ 2147483646 h 259"/>
                <a:gd name="T30" fmla="*/ 2147483646 w 485"/>
                <a:gd name="T31" fmla="*/ 2147483646 h 259"/>
                <a:gd name="T32" fmla="*/ 2147483646 w 485"/>
                <a:gd name="T33" fmla="*/ 2147483646 h 259"/>
                <a:gd name="T34" fmla="*/ 2147483646 w 485"/>
                <a:gd name="T35" fmla="*/ 0 h 259"/>
                <a:gd name="T36" fmla="*/ 2147483646 w 485"/>
                <a:gd name="T37" fmla="*/ 2147483646 h 259"/>
                <a:gd name="T38" fmla="*/ 2147483646 w 485"/>
                <a:gd name="T39" fmla="*/ 2147483646 h 259"/>
                <a:gd name="T40" fmla="*/ 2147483646 w 485"/>
                <a:gd name="T41" fmla="*/ 2147483646 h 259"/>
                <a:gd name="T42" fmla="*/ 2147483646 w 485"/>
                <a:gd name="T43" fmla="*/ 2147483646 h 259"/>
                <a:gd name="T44" fmla="*/ 2147483646 w 485"/>
                <a:gd name="T45" fmla="*/ 2147483646 h 259"/>
                <a:gd name="T46" fmla="*/ 2147483646 w 485"/>
                <a:gd name="T47" fmla="*/ 2147483646 h 259"/>
                <a:gd name="T48" fmla="*/ 2147483646 w 485"/>
                <a:gd name="T49" fmla="*/ 2147483646 h 259"/>
                <a:gd name="T50" fmla="*/ 2147483646 w 485"/>
                <a:gd name="T51" fmla="*/ 2147483646 h 259"/>
                <a:gd name="T52" fmla="*/ 2147483646 w 485"/>
                <a:gd name="T53" fmla="*/ 2147483646 h 25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85" h="259">
                  <a:moveTo>
                    <a:pt x="152" y="39"/>
                  </a:moveTo>
                  <a:cubicBezTo>
                    <a:pt x="152" y="28"/>
                    <a:pt x="154" y="18"/>
                    <a:pt x="157" y="9"/>
                  </a:cubicBezTo>
                  <a:cubicBezTo>
                    <a:pt x="147" y="3"/>
                    <a:pt x="136" y="0"/>
                    <a:pt x="123" y="0"/>
                  </a:cubicBezTo>
                  <a:cubicBezTo>
                    <a:pt x="88" y="0"/>
                    <a:pt x="60" y="25"/>
                    <a:pt x="60" y="65"/>
                  </a:cubicBezTo>
                  <a:cubicBezTo>
                    <a:pt x="60" y="97"/>
                    <a:pt x="78" y="128"/>
                    <a:pt x="103" y="140"/>
                  </a:cubicBezTo>
                  <a:cubicBezTo>
                    <a:pt x="103" y="165"/>
                    <a:pt x="103" y="165"/>
                    <a:pt x="103" y="165"/>
                  </a:cubicBezTo>
                  <a:cubicBezTo>
                    <a:pt x="22" y="170"/>
                    <a:pt x="6" y="204"/>
                    <a:pt x="0" y="247"/>
                  </a:cubicBezTo>
                  <a:cubicBezTo>
                    <a:pt x="84" y="259"/>
                    <a:pt x="84" y="259"/>
                    <a:pt x="84" y="259"/>
                  </a:cubicBezTo>
                  <a:cubicBezTo>
                    <a:pt x="84" y="245"/>
                    <a:pt x="84" y="245"/>
                    <a:pt x="84" y="245"/>
                  </a:cubicBezTo>
                  <a:cubicBezTo>
                    <a:pt x="88" y="219"/>
                    <a:pt x="94" y="192"/>
                    <a:pt x="114" y="171"/>
                  </a:cubicBezTo>
                  <a:cubicBezTo>
                    <a:pt x="131" y="153"/>
                    <a:pt x="159" y="140"/>
                    <a:pt x="202" y="135"/>
                  </a:cubicBezTo>
                  <a:cubicBezTo>
                    <a:pt x="202" y="135"/>
                    <a:pt x="202" y="135"/>
                    <a:pt x="202" y="135"/>
                  </a:cubicBezTo>
                  <a:cubicBezTo>
                    <a:pt x="173" y="116"/>
                    <a:pt x="152" y="79"/>
                    <a:pt x="152" y="39"/>
                  </a:cubicBezTo>
                  <a:close/>
                  <a:moveTo>
                    <a:pt x="481" y="229"/>
                  </a:moveTo>
                  <a:cubicBezTo>
                    <a:pt x="472" y="194"/>
                    <a:pt x="450" y="169"/>
                    <a:pt x="382" y="165"/>
                  </a:cubicBezTo>
                  <a:cubicBezTo>
                    <a:pt x="382" y="140"/>
                    <a:pt x="382" y="140"/>
                    <a:pt x="382" y="140"/>
                  </a:cubicBezTo>
                  <a:cubicBezTo>
                    <a:pt x="407" y="128"/>
                    <a:pt x="425" y="97"/>
                    <a:pt x="425" y="65"/>
                  </a:cubicBezTo>
                  <a:cubicBezTo>
                    <a:pt x="425" y="25"/>
                    <a:pt x="397" y="0"/>
                    <a:pt x="361" y="0"/>
                  </a:cubicBezTo>
                  <a:cubicBezTo>
                    <a:pt x="349" y="0"/>
                    <a:pt x="338" y="3"/>
                    <a:pt x="328" y="9"/>
                  </a:cubicBezTo>
                  <a:cubicBezTo>
                    <a:pt x="331" y="18"/>
                    <a:pt x="333" y="28"/>
                    <a:pt x="333" y="39"/>
                  </a:cubicBezTo>
                  <a:cubicBezTo>
                    <a:pt x="333" y="79"/>
                    <a:pt x="312" y="116"/>
                    <a:pt x="283" y="135"/>
                  </a:cubicBezTo>
                  <a:cubicBezTo>
                    <a:pt x="283" y="135"/>
                    <a:pt x="283" y="135"/>
                    <a:pt x="283" y="135"/>
                  </a:cubicBezTo>
                  <a:cubicBezTo>
                    <a:pt x="324" y="139"/>
                    <a:pt x="352" y="151"/>
                    <a:pt x="369" y="168"/>
                  </a:cubicBezTo>
                  <a:cubicBezTo>
                    <a:pt x="391" y="189"/>
                    <a:pt x="397" y="218"/>
                    <a:pt x="401" y="245"/>
                  </a:cubicBezTo>
                  <a:cubicBezTo>
                    <a:pt x="401" y="259"/>
                    <a:pt x="401" y="259"/>
                    <a:pt x="401" y="259"/>
                  </a:cubicBezTo>
                  <a:cubicBezTo>
                    <a:pt x="485" y="247"/>
                    <a:pt x="485" y="247"/>
                    <a:pt x="485" y="247"/>
                  </a:cubicBezTo>
                  <a:cubicBezTo>
                    <a:pt x="484" y="241"/>
                    <a:pt x="483" y="235"/>
                    <a:pt x="481" y="2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80" name="Freeform 94">
              <a:extLst>
                <a:ext uri="{FF2B5EF4-FFF2-40B4-BE49-F238E27FC236}">
                  <a16:creationId xmlns:a16="http://schemas.microsoft.com/office/drawing/2014/main" id="{240E6FA8-226D-4225-B5E6-13C7E80F6950}"/>
                </a:ext>
              </a:extLst>
            </p:cNvPr>
            <p:cNvSpPr>
              <a:spLocks/>
            </p:cNvSpPr>
            <p:nvPr/>
          </p:nvSpPr>
          <p:spPr bwMode="auto">
            <a:xfrm>
              <a:off x="5138790" y="2057401"/>
              <a:ext cx="149225" cy="169863"/>
            </a:xfrm>
            <a:custGeom>
              <a:avLst/>
              <a:gdLst>
                <a:gd name="T0" fmla="*/ 2147483646 w 147"/>
                <a:gd name="T1" fmla="*/ 2147483646 h 166"/>
                <a:gd name="T2" fmla="*/ 2147483646 w 147"/>
                <a:gd name="T3" fmla="*/ 2147483646 h 166"/>
                <a:gd name="T4" fmla="*/ 2147483646 w 147"/>
                <a:gd name="T5" fmla="*/ 2147483646 h 166"/>
                <a:gd name="T6" fmla="*/ 2147483646 w 147"/>
                <a:gd name="T7" fmla="*/ 0 h 166"/>
                <a:gd name="T8" fmla="*/ 0 w 147"/>
                <a:gd name="T9" fmla="*/ 2147483646 h 166"/>
                <a:gd name="T10" fmla="*/ 2147483646 w 147"/>
                <a:gd name="T11" fmla="*/ 2147483646 h 166"/>
                <a:gd name="T12" fmla="*/ 2147483646 w 147"/>
                <a:gd name="T13" fmla="*/ 2147483646 h 16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7" h="166">
                  <a:moveTo>
                    <a:pt x="74" y="166"/>
                  </a:moveTo>
                  <a:cubicBezTo>
                    <a:pt x="86" y="166"/>
                    <a:pt x="97" y="160"/>
                    <a:pt x="97" y="160"/>
                  </a:cubicBezTo>
                  <a:cubicBezTo>
                    <a:pt x="126" y="147"/>
                    <a:pt x="147" y="111"/>
                    <a:pt x="147" y="74"/>
                  </a:cubicBezTo>
                  <a:cubicBezTo>
                    <a:pt x="147" y="29"/>
                    <a:pt x="114" y="0"/>
                    <a:pt x="73" y="0"/>
                  </a:cubicBezTo>
                  <a:cubicBezTo>
                    <a:pt x="33" y="0"/>
                    <a:pt x="0" y="29"/>
                    <a:pt x="0" y="74"/>
                  </a:cubicBezTo>
                  <a:cubicBezTo>
                    <a:pt x="0" y="111"/>
                    <a:pt x="21" y="147"/>
                    <a:pt x="50" y="160"/>
                  </a:cubicBezTo>
                  <a:cubicBezTo>
                    <a:pt x="50" y="160"/>
                    <a:pt x="62" y="166"/>
                    <a:pt x="74" y="1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81" name="Freeform 95">
              <a:extLst>
                <a:ext uri="{FF2B5EF4-FFF2-40B4-BE49-F238E27FC236}">
                  <a16:creationId xmlns:a16="http://schemas.microsoft.com/office/drawing/2014/main" id="{B99ECE5B-9989-4C91-9F28-A208F824D051}"/>
                </a:ext>
              </a:extLst>
            </p:cNvPr>
            <p:cNvSpPr>
              <a:spLocks/>
            </p:cNvSpPr>
            <p:nvPr/>
          </p:nvSpPr>
          <p:spPr bwMode="auto">
            <a:xfrm>
              <a:off x="5226103" y="2239963"/>
              <a:ext cx="131763" cy="133350"/>
            </a:xfrm>
            <a:custGeom>
              <a:avLst/>
              <a:gdLst>
                <a:gd name="T0" fmla="*/ 2147483646 w 129"/>
                <a:gd name="T1" fmla="*/ 2147483646 h 130"/>
                <a:gd name="T2" fmla="*/ 2147483646 w 129"/>
                <a:gd name="T3" fmla="*/ 0 h 130"/>
                <a:gd name="T4" fmla="*/ 0 w 129"/>
                <a:gd name="T5" fmla="*/ 2147483646 h 130"/>
                <a:gd name="T6" fmla="*/ 2147483646 w 129"/>
                <a:gd name="T7" fmla="*/ 2147483646 h 130"/>
                <a:gd name="T8" fmla="*/ 2147483646 w 129"/>
                <a:gd name="T9" fmla="*/ 2147483646 h 13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0">
                  <a:moveTo>
                    <a:pt x="127" y="80"/>
                  </a:moveTo>
                  <a:cubicBezTo>
                    <a:pt x="118" y="39"/>
                    <a:pt x="104" y="7"/>
                    <a:pt x="30" y="0"/>
                  </a:cubicBezTo>
                  <a:cubicBezTo>
                    <a:pt x="0" y="130"/>
                    <a:pt x="0" y="130"/>
                    <a:pt x="0" y="130"/>
                  </a:cubicBezTo>
                  <a:cubicBezTo>
                    <a:pt x="90" y="129"/>
                    <a:pt x="129" y="118"/>
                    <a:pt x="129" y="118"/>
                  </a:cubicBezTo>
                  <a:cubicBezTo>
                    <a:pt x="128" y="113"/>
                    <a:pt x="128" y="85"/>
                    <a:pt x="127"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82" name="Freeform 96">
              <a:extLst>
                <a:ext uri="{FF2B5EF4-FFF2-40B4-BE49-F238E27FC236}">
                  <a16:creationId xmlns:a16="http://schemas.microsoft.com/office/drawing/2014/main" id="{4619CC47-5A8B-4474-95EC-654368F55828}"/>
                </a:ext>
              </a:extLst>
            </p:cNvPr>
            <p:cNvSpPr>
              <a:spLocks/>
            </p:cNvSpPr>
            <p:nvPr/>
          </p:nvSpPr>
          <p:spPr bwMode="auto">
            <a:xfrm>
              <a:off x="5070528" y="2239963"/>
              <a:ext cx="130175" cy="133350"/>
            </a:xfrm>
            <a:custGeom>
              <a:avLst/>
              <a:gdLst>
                <a:gd name="T0" fmla="*/ 2147483646 w 129"/>
                <a:gd name="T1" fmla="*/ 2147483646 h 131"/>
                <a:gd name="T2" fmla="*/ 0 w 129"/>
                <a:gd name="T3" fmla="*/ 2147483646 h 131"/>
                <a:gd name="T4" fmla="*/ 2147483646 w 129"/>
                <a:gd name="T5" fmla="*/ 2147483646 h 131"/>
                <a:gd name="T6" fmla="*/ 2147483646 w 129"/>
                <a:gd name="T7" fmla="*/ 0 h 131"/>
                <a:gd name="T8" fmla="*/ 2147483646 w 129"/>
                <a:gd name="T9" fmla="*/ 2147483646 h 1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1">
                  <a:moveTo>
                    <a:pt x="2" y="82"/>
                  </a:moveTo>
                  <a:cubicBezTo>
                    <a:pt x="1" y="86"/>
                    <a:pt x="0" y="114"/>
                    <a:pt x="0" y="118"/>
                  </a:cubicBezTo>
                  <a:cubicBezTo>
                    <a:pt x="0" y="118"/>
                    <a:pt x="33" y="130"/>
                    <a:pt x="129" y="131"/>
                  </a:cubicBezTo>
                  <a:cubicBezTo>
                    <a:pt x="99" y="0"/>
                    <a:pt x="99" y="0"/>
                    <a:pt x="99" y="0"/>
                  </a:cubicBezTo>
                  <a:cubicBezTo>
                    <a:pt x="23" y="7"/>
                    <a:pt x="10" y="40"/>
                    <a:pt x="2"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83" name="Freeform 97">
              <a:extLst>
                <a:ext uri="{FF2B5EF4-FFF2-40B4-BE49-F238E27FC236}">
                  <a16:creationId xmlns:a16="http://schemas.microsoft.com/office/drawing/2014/main" id="{F86FF88B-E278-456B-B695-855F85F39783}"/>
                </a:ext>
              </a:extLst>
            </p:cNvPr>
            <p:cNvSpPr>
              <a:spLocks/>
            </p:cNvSpPr>
            <p:nvPr/>
          </p:nvSpPr>
          <p:spPr bwMode="auto">
            <a:xfrm>
              <a:off x="5197528" y="2241551"/>
              <a:ext cx="31750" cy="17463"/>
            </a:xfrm>
            <a:custGeom>
              <a:avLst/>
              <a:gdLst>
                <a:gd name="T0" fmla="*/ 2147483646 w 31"/>
                <a:gd name="T1" fmla="*/ 2147483646 h 17"/>
                <a:gd name="T2" fmla="*/ 0 w 31"/>
                <a:gd name="T3" fmla="*/ 0 h 17"/>
                <a:gd name="T4" fmla="*/ 2147483646 w 31"/>
                <a:gd name="T5" fmla="*/ 2147483646 h 17"/>
                <a:gd name="T6" fmla="*/ 2147483646 w 31"/>
                <a:gd name="T7" fmla="*/ 2147483646 h 17"/>
                <a:gd name="T8" fmla="*/ 2147483646 w 31"/>
                <a:gd name="T9" fmla="*/ 0 h 17"/>
                <a:gd name="T10" fmla="*/ 2147483646 w 31"/>
                <a:gd name="T11" fmla="*/ 2147483646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1" h="17">
                  <a:moveTo>
                    <a:pt x="15" y="1"/>
                  </a:moveTo>
                  <a:cubicBezTo>
                    <a:pt x="7" y="1"/>
                    <a:pt x="0" y="0"/>
                    <a:pt x="0" y="0"/>
                  </a:cubicBezTo>
                  <a:cubicBezTo>
                    <a:pt x="7" y="17"/>
                    <a:pt x="7" y="17"/>
                    <a:pt x="7" y="17"/>
                  </a:cubicBezTo>
                  <a:cubicBezTo>
                    <a:pt x="24" y="17"/>
                    <a:pt x="24" y="17"/>
                    <a:pt x="24" y="17"/>
                  </a:cubicBezTo>
                  <a:cubicBezTo>
                    <a:pt x="31" y="0"/>
                    <a:pt x="31" y="0"/>
                    <a:pt x="31" y="0"/>
                  </a:cubicBezTo>
                  <a:cubicBezTo>
                    <a:pt x="31" y="0"/>
                    <a:pt x="25" y="1"/>
                    <a:pt x="1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84" name="Freeform 98">
              <a:extLst>
                <a:ext uri="{FF2B5EF4-FFF2-40B4-BE49-F238E27FC236}">
                  <a16:creationId xmlns:a16="http://schemas.microsoft.com/office/drawing/2014/main" id="{0ECF6E45-DE59-4B42-A345-FBBF4FA786C4}"/>
                </a:ext>
              </a:extLst>
            </p:cNvPr>
            <p:cNvSpPr>
              <a:spLocks/>
            </p:cNvSpPr>
            <p:nvPr/>
          </p:nvSpPr>
          <p:spPr bwMode="auto">
            <a:xfrm>
              <a:off x="5197528" y="2270126"/>
              <a:ext cx="31750" cy="100013"/>
            </a:xfrm>
            <a:custGeom>
              <a:avLst/>
              <a:gdLst>
                <a:gd name="T0" fmla="*/ 2147483646 w 20"/>
                <a:gd name="T1" fmla="*/ 2147483646 h 63"/>
                <a:gd name="T2" fmla="*/ 2147483646 w 20"/>
                <a:gd name="T3" fmla="*/ 0 h 63"/>
                <a:gd name="T4" fmla="*/ 2147483646 w 20"/>
                <a:gd name="T5" fmla="*/ 0 h 63"/>
                <a:gd name="T6" fmla="*/ 0 w 20"/>
                <a:gd name="T7" fmla="*/ 2147483646 h 63"/>
                <a:gd name="T8" fmla="*/ 2147483646 w 20"/>
                <a:gd name="T9" fmla="*/ 2147483646 h 63"/>
                <a:gd name="T10" fmla="*/ 2147483646 w 20"/>
                <a:gd name="T11" fmla="*/ 2147483646 h 6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63">
                  <a:moveTo>
                    <a:pt x="20" y="19"/>
                  </a:moveTo>
                  <a:lnTo>
                    <a:pt x="16" y="0"/>
                  </a:lnTo>
                  <a:lnTo>
                    <a:pt x="6" y="0"/>
                  </a:lnTo>
                  <a:lnTo>
                    <a:pt x="0" y="19"/>
                  </a:lnTo>
                  <a:lnTo>
                    <a:pt x="10" y="63"/>
                  </a:lnTo>
                  <a:lnTo>
                    <a:pt x="2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85" name="Freeform 99">
              <a:extLst>
                <a:ext uri="{FF2B5EF4-FFF2-40B4-BE49-F238E27FC236}">
                  <a16:creationId xmlns:a16="http://schemas.microsoft.com/office/drawing/2014/main" id="{FB28D520-8B3D-4969-AC5D-7F09FC3A3B92}"/>
                </a:ext>
              </a:extLst>
            </p:cNvPr>
            <p:cNvSpPr>
              <a:spLocks/>
            </p:cNvSpPr>
            <p:nvPr/>
          </p:nvSpPr>
          <p:spPr bwMode="auto">
            <a:xfrm>
              <a:off x="5261028" y="2312988"/>
              <a:ext cx="50800" cy="12700"/>
            </a:xfrm>
            <a:custGeom>
              <a:avLst/>
              <a:gdLst>
                <a:gd name="T0" fmla="*/ 2147483646 w 32"/>
                <a:gd name="T1" fmla="*/ 2147483646 h 8"/>
                <a:gd name="T2" fmla="*/ 0 w 32"/>
                <a:gd name="T3" fmla="*/ 2147483646 h 8"/>
                <a:gd name="T4" fmla="*/ 0 w 32"/>
                <a:gd name="T5" fmla="*/ 0 h 8"/>
                <a:gd name="T6" fmla="*/ 2147483646 w 32"/>
                <a:gd name="T7" fmla="*/ 0 h 8"/>
                <a:gd name="T8" fmla="*/ 2147483646 w 32"/>
                <a:gd name="T9" fmla="*/ 0 h 8"/>
                <a:gd name="T10" fmla="*/ 2147483646 w 32"/>
                <a:gd name="T11" fmla="*/ 2147483646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 h="8">
                  <a:moveTo>
                    <a:pt x="32" y="8"/>
                  </a:moveTo>
                  <a:lnTo>
                    <a:pt x="0" y="8"/>
                  </a:lnTo>
                  <a:lnTo>
                    <a:pt x="0" y="0"/>
                  </a:lnTo>
                  <a:lnTo>
                    <a:pt x="19" y="0"/>
                  </a:lnTo>
                  <a:lnTo>
                    <a:pt x="32" y="0"/>
                  </a:lnTo>
                  <a:lnTo>
                    <a:pt x="3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grpSp>
      <p:sp>
        <p:nvSpPr>
          <p:cNvPr id="248" name="Freeform 93">
            <a:extLst>
              <a:ext uri="{FF2B5EF4-FFF2-40B4-BE49-F238E27FC236}">
                <a16:creationId xmlns:a16="http://schemas.microsoft.com/office/drawing/2014/main" id="{DFA08D17-6113-4313-A801-61891899DE14}"/>
              </a:ext>
            </a:extLst>
          </p:cNvPr>
          <p:cNvSpPr>
            <a:spLocks noEditPoints="1"/>
          </p:cNvSpPr>
          <p:nvPr/>
        </p:nvSpPr>
        <p:spPr bwMode="auto">
          <a:xfrm>
            <a:off x="19539220" y="10196515"/>
            <a:ext cx="1082437" cy="577150"/>
          </a:xfrm>
          <a:custGeom>
            <a:avLst/>
            <a:gdLst>
              <a:gd name="T0" fmla="*/ 2147483646 w 485"/>
              <a:gd name="T1" fmla="*/ 2147483646 h 259"/>
              <a:gd name="T2" fmla="*/ 2147483646 w 485"/>
              <a:gd name="T3" fmla="*/ 2147483646 h 259"/>
              <a:gd name="T4" fmla="*/ 2147483646 w 485"/>
              <a:gd name="T5" fmla="*/ 0 h 259"/>
              <a:gd name="T6" fmla="*/ 2147483646 w 485"/>
              <a:gd name="T7" fmla="*/ 2147483646 h 259"/>
              <a:gd name="T8" fmla="*/ 2147483646 w 485"/>
              <a:gd name="T9" fmla="*/ 2147483646 h 259"/>
              <a:gd name="T10" fmla="*/ 2147483646 w 485"/>
              <a:gd name="T11" fmla="*/ 2147483646 h 259"/>
              <a:gd name="T12" fmla="*/ 0 w 485"/>
              <a:gd name="T13" fmla="*/ 2147483646 h 259"/>
              <a:gd name="T14" fmla="*/ 2147483646 w 485"/>
              <a:gd name="T15" fmla="*/ 2147483646 h 259"/>
              <a:gd name="T16" fmla="*/ 2147483646 w 485"/>
              <a:gd name="T17" fmla="*/ 2147483646 h 259"/>
              <a:gd name="T18" fmla="*/ 2147483646 w 485"/>
              <a:gd name="T19" fmla="*/ 2147483646 h 259"/>
              <a:gd name="T20" fmla="*/ 2147483646 w 485"/>
              <a:gd name="T21" fmla="*/ 2147483646 h 259"/>
              <a:gd name="T22" fmla="*/ 2147483646 w 485"/>
              <a:gd name="T23" fmla="*/ 2147483646 h 259"/>
              <a:gd name="T24" fmla="*/ 2147483646 w 485"/>
              <a:gd name="T25" fmla="*/ 2147483646 h 259"/>
              <a:gd name="T26" fmla="*/ 2147483646 w 485"/>
              <a:gd name="T27" fmla="*/ 2147483646 h 259"/>
              <a:gd name="T28" fmla="*/ 2147483646 w 485"/>
              <a:gd name="T29" fmla="*/ 2147483646 h 259"/>
              <a:gd name="T30" fmla="*/ 2147483646 w 485"/>
              <a:gd name="T31" fmla="*/ 2147483646 h 259"/>
              <a:gd name="T32" fmla="*/ 2147483646 w 485"/>
              <a:gd name="T33" fmla="*/ 2147483646 h 259"/>
              <a:gd name="T34" fmla="*/ 2147483646 w 485"/>
              <a:gd name="T35" fmla="*/ 0 h 259"/>
              <a:gd name="T36" fmla="*/ 2147483646 w 485"/>
              <a:gd name="T37" fmla="*/ 2147483646 h 259"/>
              <a:gd name="T38" fmla="*/ 2147483646 w 485"/>
              <a:gd name="T39" fmla="*/ 2147483646 h 259"/>
              <a:gd name="T40" fmla="*/ 2147483646 w 485"/>
              <a:gd name="T41" fmla="*/ 2147483646 h 259"/>
              <a:gd name="T42" fmla="*/ 2147483646 w 485"/>
              <a:gd name="T43" fmla="*/ 2147483646 h 259"/>
              <a:gd name="T44" fmla="*/ 2147483646 w 485"/>
              <a:gd name="T45" fmla="*/ 2147483646 h 259"/>
              <a:gd name="T46" fmla="*/ 2147483646 w 485"/>
              <a:gd name="T47" fmla="*/ 2147483646 h 259"/>
              <a:gd name="T48" fmla="*/ 2147483646 w 485"/>
              <a:gd name="T49" fmla="*/ 2147483646 h 259"/>
              <a:gd name="T50" fmla="*/ 2147483646 w 485"/>
              <a:gd name="T51" fmla="*/ 2147483646 h 259"/>
              <a:gd name="T52" fmla="*/ 2147483646 w 485"/>
              <a:gd name="T53" fmla="*/ 2147483646 h 25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85" h="259">
                <a:moveTo>
                  <a:pt x="152" y="39"/>
                </a:moveTo>
                <a:cubicBezTo>
                  <a:pt x="152" y="28"/>
                  <a:pt x="154" y="18"/>
                  <a:pt x="157" y="9"/>
                </a:cubicBezTo>
                <a:cubicBezTo>
                  <a:pt x="147" y="3"/>
                  <a:pt x="136" y="0"/>
                  <a:pt x="123" y="0"/>
                </a:cubicBezTo>
                <a:cubicBezTo>
                  <a:pt x="88" y="0"/>
                  <a:pt x="60" y="25"/>
                  <a:pt x="60" y="65"/>
                </a:cubicBezTo>
                <a:cubicBezTo>
                  <a:pt x="60" y="97"/>
                  <a:pt x="78" y="128"/>
                  <a:pt x="103" y="140"/>
                </a:cubicBezTo>
                <a:cubicBezTo>
                  <a:pt x="103" y="165"/>
                  <a:pt x="103" y="165"/>
                  <a:pt x="103" y="165"/>
                </a:cubicBezTo>
                <a:cubicBezTo>
                  <a:pt x="22" y="170"/>
                  <a:pt x="6" y="204"/>
                  <a:pt x="0" y="247"/>
                </a:cubicBezTo>
                <a:cubicBezTo>
                  <a:pt x="84" y="259"/>
                  <a:pt x="84" y="259"/>
                  <a:pt x="84" y="259"/>
                </a:cubicBezTo>
                <a:cubicBezTo>
                  <a:pt x="84" y="245"/>
                  <a:pt x="84" y="245"/>
                  <a:pt x="84" y="245"/>
                </a:cubicBezTo>
                <a:cubicBezTo>
                  <a:pt x="88" y="219"/>
                  <a:pt x="94" y="192"/>
                  <a:pt x="114" y="171"/>
                </a:cubicBezTo>
                <a:cubicBezTo>
                  <a:pt x="131" y="153"/>
                  <a:pt x="159" y="140"/>
                  <a:pt x="202" y="135"/>
                </a:cubicBezTo>
                <a:cubicBezTo>
                  <a:pt x="202" y="135"/>
                  <a:pt x="202" y="135"/>
                  <a:pt x="202" y="135"/>
                </a:cubicBezTo>
                <a:cubicBezTo>
                  <a:pt x="173" y="116"/>
                  <a:pt x="152" y="79"/>
                  <a:pt x="152" y="39"/>
                </a:cubicBezTo>
                <a:close/>
                <a:moveTo>
                  <a:pt x="481" y="229"/>
                </a:moveTo>
                <a:cubicBezTo>
                  <a:pt x="472" y="194"/>
                  <a:pt x="450" y="169"/>
                  <a:pt x="382" y="165"/>
                </a:cubicBezTo>
                <a:cubicBezTo>
                  <a:pt x="382" y="140"/>
                  <a:pt x="382" y="140"/>
                  <a:pt x="382" y="140"/>
                </a:cubicBezTo>
                <a:cubicBezTo>
                  <a:pt x="407" y="128"/>
                  <a:pt x="425" y="97"/>
                  <a:pt x="425" y="65"/>
                </a:cubicBezTo>
                <a:cubicBezTo>
                  <a:pt x="425" y="25"/>
                  <a:pt x="397" y="0"/>
                  <a:pt x="361" y="0"/>
                </a:cubicBezTo>
                <a:cubicBezTo>
                  <a:pt x="349" y="0"/>
                  <a:pt x="338" y="3"/>
                  <a:pt x="328" y="9"/>
                </a:cubicBezTo>
                <a:cubicBezTo>
                  <a:pt x="331" y="18"/>
                  <a:pt x="333" y="28"/>
                  <a:pt x="333" y="39"/>
                </a:cubicBezTo>
                <a:cubicBezTo>
                  <a:pt x="333" y="79"/>
                  <a:pt x="312" y="116"/>
                  <a:pt x="283" y="135"/>
                </a:cubicBezTo>
                <a:cubicBezTo>
                  <a:pt x="283" y="135"/>
                  <a:pt x="283" y="135"/>
                  <a:pt x="283" y="135"/>
                </a:cubicBezTo>
                <a:cubicBezTo>
                  <a:pt x="324" y="139"/>
                  <a:pt x="352" y="151"/>
                  <a:pt x="369" y="168"/>
                </a:cubicBezTo>
                <a:cubicBezTo>
                  <a:pt x="391" y="189"/>
                  <a:pt x="397" y="218"/>
                  <a:pt x="401" y="245"/>
                </a:cubicBezTo>
                <a:cubicBezTo>
                  <a:pt x="401" y="259"/>
                  <a:pt x="401" y="259"/>
                  <a:pt x="401" y="259"/>
                </a:cubicBezTo>
                <a:cubicBezTo>
                  <a:pt x="485" y="247"/>
                  <a:pt x="485" y="247"/>
                  <a:pt x="485" y="247"/>
                </a:cubicBezTo>
                <a:cubicBezTo>
                  <a:pt x="484" y="241"/>
                  <a:pt x="483" y="235"/>
                  <a:pt x="481" y="2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49" name="Freeform 94">
            <a:extLst>
              <a:ext uri="{FF2B5EF4-FFF2-40B4-BE49-F238E27FC236}">
                <a16:creationId xmlns:a16="http://schemas.microsoft.com/office/drawing/2014/main" id="{7E380BFC-7D03-4C67-A7E7-E0C5DA2807E5}"/>
              </a:ext>
            </a:extLst>
          </p:cNvPr>
          <p:cNvSpPr>
            <a:spLocks/>
          </p:cNvSpPr>
          <p:nvPr/>
        </p:nvSpPr>
        <p:spPr bwMode="auto">
          <a:xfrm>
            <a:off x="19916327" y="10126558"/>
            <a:ext cx="328223" cy="374273"/>
          </a:xfrm>
          <a:custGeom>
            <a:avLst/>
            <a:gdLst>
              <a:gd name="T0" fmla="*/ 2147483646 w 147"/>
              <a:gd name="T1" fmla="*/ 2147483646 h 166"/>
              <a:gd name="T2" fmla="*/ 2147483646 w 147"/>
              <a:gd name="T3" fmla="*/ 2147483646 h 166"/>
              <a:gd name="T4" fmla="*/ 2147483646 w 147"/>
              <a:gd name="T5" fmla="*/ 2147483646 h 166"/>
              <a:gd name="T6" fmla="*/ 2147483646 w 147"/>
              <a:gd name="T7" fmla="*/ 0 h 166"/>
              <a:gd name="T8" fmla="*/ 0 w 147"/>
              <a:gd name="T9" fmla="*/ 2147483646 h 166"/>
              <a:gd name="T10" fmla="*/ 2147483646 w 147"/>
              <a:gd name="T11" fmla="*/ 2147483646 h 166"/>
              <a:gd name="T12" fmla="*/ 2147483646 w 147"/>
              <a:gd name="T13" fmla="*/ 2147483646 h 16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7" h="166">
                <a:moveTo>
                  <a:pt x="74" y="166"/>
                </a:moveTo>
                <a:cubicBezTo>
                  <a:pt x="86" y="166"/>
                  <a:pt x="97" y="160"/>
                  <a:pt x="97" y="160"/>
                </a:cubicBezTo>
                <a:cubicBezTo>
                  <a:pt x="126" y="147"/>
                  <a:pt x="147" y="111"/>
                  <a:pt x="147" y="74"/>
                </a:cubicBezTo>
                <a:cubicBezTo>
                  <a:pt x="147" y="29"/>
                  <a:pt x="114" y="0"/>
                  <a:pt x="73" y="0"/>
                </a:cubicBezTo>
                <a:cubicBezTo>
                  <a:pt x="33" y="0"/>
                  <a:pt x="0" y="29"/>
                  <a:pt x="0" y="74"/>
                </a:cubicBezTo>
                <a:cubicBezTo>
                  <a:pt x="0" y="111"/>
                  <a:pt x="21" y="147"/>
                  <a:pt x="50" y="160"/>
                </a:cubicBezTo>
                <a:cubicBezTo>
                  <a:pt x="50" y="160"/>
                  <a:pt x="62" y="166"/>
                  <a:pt x="74" y="16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0" name="Freeform 95">
            <a:extLst>
              <a:ext uri="{FF2B5EF4-FFF2-40B4-BE49-F238E27FC236}">
                <a16:creationId xmlns:a16="http://schemas.microsoft.com/office/drawing/2014/main" id="{CFE0C78D-9CDB-4DDD-B535-59A7535F154D}"/>
              </a:ext>
            </a:extLst>
          </p:cNvPr>
          <p:cNvSpPr>
            <a:spLocks/>
          </p:cNvSpPr>
          <p:nvPr/>
        </p:nvSpPr>
        <p:spPr bwMode="auto">
          <a:xfrm>
            <a:off x="20108373" y="10528812"/>
            <a:ext cx="289815" cy="293821"/>
          </a:xfrm>
          <a:custGeom>
            <a:avLst/>
            <a:gdLst>
              <a:gd name="T0" fmla="*/ 2147483646 w 129"/>
              <a:gd name="T1" fmla="*/ 2147483646 h 130"/>
              <a:gd name="T2" fmla="*/ 2147483646 w 129"/>
              <a:gd name="T3" fmla="*/ 0 h 130"/>
              <a:gd name="T4" fmla="*/ 0 w 129"/>
              <a:gd name="T5" fmla="*/ 2147483646 h 130"/>
              <a:gd name="T6" fmla="*/ 2147483646 w 129"/>
              <a:gd name="T7" fmla="*/ 2147483646 h 130"/>
              <a:gd name="T8" fmla="*/ 2147483646 w 129"/>
              <a:gd name="T9" fmla="*/ 2147483646 h 13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0">
                <a:moveTo>
                  <a:pt x="127" y="80"/>
                </a:moveTo>
                <a:cubicBezTo>
                  <a:pt x="118" y="39"/>
                  <a:pt x="104" y="7"/>
                  <a:pt x="30" y="0"/>
                </a:cubicBezTo>
                <a:cubicBezTo>
                  <a:pt x="0" y="130"/>
                  <a:pt x="0" y="130"/>
                  <a:pt x="0" y="130"/>
                </a:cubicBezTo>
                <a:cubicBezTo>
                  <a:pt x="90" y="129"/>
                  <a:pt x="129" y="118"/>
                  <a:pt x="129" y="118"/>
                </a:cubicBezTo>
                <a:cubicBezTo>
                  <a:pt x="128" y="113"/>
                  <a:pt x="128" y="85"/>
                  <a:pt x="127" y="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1" name="Freeform 96">
            <a:extLst>
              <a:ext uri="{FF2B5EF4-FFF2-40B4-BE49-F238E27FC236}">
                <a16:creationId xmlns:a16="http://schemas.microsoft.com/office/drawing/2014/main" id="{65534B48-27DF-4CC8-BFED-596256A0D4E4}"/>
              </a:ext>
            </a:extLst>
          </p:cNvPr>
          <p:cNvSpPr>
            <a:spLocks/>
          </p:cNvSpPr>
          <p:nvPr/>
        </p:nvSpPr>
        <p:spPr bwMode="auto">
          <a:xfrm>
            <a:off x="19766184" y="10528812"/>
            <a:ext cx="286322" cy="293821"/>
          </a:xfrm>
          <a:custGeom>
            <a:avLst/>
            <a:gdLst>
              <a:gd name="T0" fmla="*/ 2147483646 w 129"/>
              <a:gd name="T1" fmla="*/ 2147483646 h 131"/>
              <a:gd name="T2" fmla="*/ 0 w 129"/>
              <a:gd name="T3" fmla="*/ 2147483646 h 131"/>
              <a:gd name="T4" fmla="*/ 2147483646 w 129"/>
              <a:gd name="T5" fmla="*/ 2147483646 h 131"/>
              <a:gd name="T6" fmla="*/ 2147483646 w 129"/>
              <a:gd name="T7" fmla="*/ 0 h 131"/>
              <a:gd name="T8" fmla="*/ 2147483646 w 129"/>
              <a:gd name="T9" fmla="*/ 2147483646 h 1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1">
                <a:moveTo>
                  <a:pt x="2" y="82"/>
                </a:moveTo>
                <a:cubicBezTo>
                  <a:pt x="1" y="86"/>
                  <a:pt x="0" y="114"/>
                  <a:pt x="0" y="118"/>
                </a:cubicBezTo>
                <a:cubicBezTo>
                  <a:pt x="0" y="118"/>
                  <a:pt x="33" y="130"/>
                  <a:pt x="129" y="131"/>
                </a:cubicBezTo>
                <a:cubicBezTo>
                  <a:pt x="99" y="0"/>
                  <a:pt x="99" y="0"/>
                  <a:pt x="99" y="0"/>
                </a:cubicBezTo>
                <a:cubicBezTo>
                  <a:pt x="23" y="7"/>
                  <a:pt x="10" y="40"/>
                  <a:pt x="2" y="8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2" name="Freeform 97">
            <a:extLst>
              <a:ext uri="{FF2B5EF4-FFF2-40B4-BE49-F238E27FC236}">
                <a16:creationId xmlns:a16="http://schemas.microsoft.com/office/drawing/2014/main" id="{A4D6FEB1-9066-4C24-B822-75FA13D9DE25}"/>
              </a:ext>
            </a:extLst>
          </p:cNvPr>
          <p:cNvSpPr>
            <a:spLocks/>
          </p:cNvSpPr>
          <p:nvPr/>
        </p:nvSpPr>
        <p:spPr bwMode="auto">
          <a:xfrm>
            <a:off x="20045522" y="10532311"/>
            <a:ext cx="69835" cy="38478"/>
          </a:xfrm>
          <a:custGeom>
            <a:avLst/>
            <a:gdLst>
              <a:gd name="T0" fmla="*/ 2147483646 w 31"/>
              <a:gd name="T1" fmla="*/ 2147483646 h 17"/>
              <a:gd name="T2" fmla="*/ 0 w 31"/>
              <a:gd name="T3" fmla="*/ 0 h 17"/>
              <a:gd name="T4" fmla="*/ 2147483646 w 31"/>
              <a:gd name="T5" fmla="*/ 2147483646 h 17"/>
              <a:gd name="T6" fmla="*/ 2147483646 w 31"/>
              <a:gd name="T7" fmla="*/ 2147483646 h 17"/>
              <a:gd name="T8" fmla="*/ 2147483646 w 31"/>
              <a:gd name="T9" fmla="*/ 0 h 17"/>
              <a:gd name="T10" fmla="*/ 2147483646 w 31"/>
              <a:gd name="T11" fmla="*/ 2147483646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1" h="17">
                <a:moveTo>
                  <a:pt x="15" y="1"/>
                </a:moveTo>
                <a:cubicBezTo>
                  <a:pt x="7" y="1"/>
                  <a:pt x="0" y="0"/>
                  <a:pt x="0" y="0"/>
                </a:cubicBezTo>
                <a:cubicBezTo>
                  <a:pt x="7" y="17"/>
                  <a:pt x="7" y="17"/>
                  <a:pt x="7" y="17"/>
                </a:cubicBezTo>
                <a:cubicBezTo>
                  <a:pt x="24" y="17"/>
                  <a:pt x="24" y="17"/>
                  <a:pt x="24" y="17"/>
                </a:cubicBezTo>
                <a:cubicBezTo>
                  <a:pt x="31" y="0"/>
                  <a:pt x="31" y="0"/>
                  <a:pt x="31" y="0"/>
                </a:cubicBezTo>
                <a:cubicBezTo>
                  <a:pt x="31" y="0"/>
                  <a:pt x="25" y="1"/>
                  <a:pt x="15"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3" name="Freeform 98">
            <a:extLst>
              <a:ext uri="{FF2B5EF4-FFF2-40B4-BE49-F238E27FC236}">
                <a16:creationId xmlns:a16="http://schemas.microsoft.com/office/drawing/2014/main" id="{35BB263D-DEBC-4B72-8B40-B729ACB65B19}"/>
              </a:ext>
            </a:extLst>
          </p:cNvPr>
          <p:cNvSpPr>
            <a:spLocks/>
          </p:cNvSpPr>
          <p:nvPr/>
        </p:nvSpPr>
        <p:spPr bwMode="auto">
          <a:xfrm>
            <a:off x="20045522" y="10595273"/>
            <a:ext cx="69835" cy="220367"/>
          </a:xfrm>
          <a:custGeom>
            <a:avLst/>
            <a:gdLst>
              <a:gd name="T0" fmla="*/ 2147483646 w 20"/>
              <a:gd name="T1" fmla="*/ 2147483646 h 63"/>
              <a:gd name="T2" fmla="*/ 2147483646 w 20"/>
              <a:gd name="T3" fmla="*/ 0 h 63"/>
              <a:gd name="T4" fmla="*/ 2147483646 w 20"/>
              <a:gd name="T5" fmla="*/ 0 h 63"/>
              <a:gd name="T6" fmla="*/ 0 w 20"/>
              <a:gd name="T7" fmla="*/ 2147483646 h 63"/>
              <a:gd name="T8" fmla="*/ 2147483646 w 20"/>
              <a:gd name="T9" fmla="*/ 2147483646 h 63"/>
              <a:gd name="T10" fmla="*/ 2147483646 w 20"/>
              <a:gd name="T11" fmla="*/ 2147483646 h 6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63">
                <a:moveTo>
                  <a:pt x="20" y="19"/>
                </a:moveTo>
                <a:lnTo>
                  <a:pt x="16" y="0"/>
                </a:lnTo>
                <a:lnTo>
                  <a:pt x="6" y="0"/>
                </a:lnTo>
                <a:lnTo>
                  <a:pt x="0" y="19"/>
                </a:lnTo>
                <a:lnTo>
                  <a:pt x="10" y="63"/>
                </a:lnTo>
                <a:lnTo>
                  <a:pt x="2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4" name="Freeform 99">
            <a:extLst>
              <a:ext uri="{FF2B5EF4-FFF2-40B4-BE49-F238E27FC236}">
                <a16:creationId xmlns:a16="http://schemas.microsoft.com/office/drawing/2014/main" id="{C2D7F909-8A25-4F83-BE9C-6BA425FFFE3D}"/>
              </a:ext>
            </a:extLst>
          </p:cNvPr>
          <p:cNvSpPr>
            <a:spLocks/>
          </p:cNvSpPr>
          <p:nvPr/>
        </p:nvSpPr>
        <p:spPr bwMode="auto">
          <a:xfrm>
            <a:off x="20185192" y="10689714"/>
            <a:ext cx="111735" cy="27983"/>
          </a:xfrm>
          <a:custGeom>
            <a:avLst/>
            <a:gdLst>
              <a:gd name="T0" fmla="*/ 2147483646 w 32"/>
              <a:gd name="T1" fmla="*/ 2147483646 h 8"/>
              <a:gd name="T2" fmla="*/ 0 w 32"/>
              <a:gd name="T3" fmla="*/ 2147483646 h 8"/>
              <a:gd name="T4" fmla="*/ 0 w 32"/>
              <a:gd name="T5" fmla="*/ 0 h 8"/>
              <a:gd name="T6" fmla="*/ 2147483646 w 32"/>
              <a:gd name="T7" fmla="*/ 0 h 8"/>
              <a:gd name="T8" fmla="*/ 2147483646 w 32"/>
              <a:gd name="T9" fmla="*/ 0 h 8"/>
              <a:gd name="T10" fmla="*/ 2147483646 w 32"/>
              <a:gd name="T11" fmla="*/ 2147483646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 h="8">
                <a:moveTo>
                  <a:pt x="32" y="8"/>
                </a:moveTo>
                <a:lnTo>
                  <a:pt x="0" y="8"/>
                </a:lnTo>
                <a:lnTo>
                  <a:pt x="0" y="0"/>
                </a:lnTo>
                <a:lnTo>
                  <a:pt x="19" y="0"/>
                </a:lnTo>
                <a:lnTo>
                  <a:pt x="32" y="0"/>
                </a:lnTo>
                <a:lnTo>
                  <a:pt x="32"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5" name="Rounded Rectangle 82">
            <a:extLst>
              <a:ext uri="{FF2B5EF4-FFF2-40B4-BE49-F238E27FC236}">
                <a16:creationId xmlns:a16="http://schemas.microsoft.com/office/drawing/2014/main" id="{ADC44FD5-A06E-490A-BBC3-BD338AEB4E34}"/>
              </a:ext>
            </a:extLst>
          </p:cNvPr>
          <p:cNvSpPr/>
          <p:nvPr/>
        </p:nvSpPr>
        <p:spPr>
          <a:xfrm>
            <a:off x="18543672" y="7691535"/>
            <a:ext cx="3088570" cy="646263"/>
          </a:xfrm>
          <a:prstGeom prst="roundRect">
            <a:avLst/>
          </a:prstGeom>
          <a:noFill/>
          <a:ln w="25400" cap="flat" cmpd="sng" algn="ctr">
            <a:noFill/>
            <a:prstDash val="solid"/>
          </a:ln>
          <a:effectLst/>
        </p:spPr>
        <p:txBody>
          <a:bodyPr rtlCol="0" anchor="ctr"/>
          <a:lstStyle/>
          <a:p>
            <a:pPr algn="ctr" defTabSz="1097280">
              <a:defRPr/>
            </a:pPr>
            <a:r>
              <a:rPr lang="en-US" sz="1400" kern="0" dirty="0">
                <a:solidFill>
                  <a:srgbClr val="FFFFFF"/>
                </a:solidFill>
                <a:latin typeface="Calibri" panose="020F0502020204030204"/>
                <a:ea typeface="Calibri" charset="0"/>
                <a:cs typeface="Calibri" charset="0"/>
              </a:rPr>
              <a:t>Integrated Cloud Management</a:t>
            </a:r>
            <a:endParaRPr lang="en-US" sz="1400" i="1" kern="0" dirty="0">
              <a:solidFill>
                <a:srgbClr val="FFFFFF"/>
              </a:solidFill>
              <a:latin typeface="Calibri" panose="020F0502020204030204"/>
              <a:ea typeface="Calibri" charset="0"/>
              <a:cs typeface="Calibri" charset="0"/>
            </a:endParaRPr>
          </a:p>
        </p:txBody>
      </p:sp>
      <p:sp>
        <p:nvSpPr>
          <p:cNvPr id="264" name="Rectangle 499">
            <a:extLst>
              <a:ext uri="{FF2B5EF4-FFF2-40B4-BE49-F238E27FC236}">
                <a16:creationId xmlns:a16="http://schemas.microsoft.com/office/drawing/2014/main" id="{C7329E0E-E5A2-41FC-8AC0-5CE38C603EB6}"/>
              </a:ext>
            </a:extLst>
          </p:cNvPr>
          <p:cNvSpPr>
            <a:spLocks noChangeArrowheads="1"/>
          </p:cNvSpPr>
          <p:nvPr/>
        </p:nvSpPr>
        <p:spPr bwMode="auto">
          <a:xfrm>
            <a:off x="18687341" y="8021879"/>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defTabSz="912813" eaLnBrk="0" fontAlgn="base" hangingPunct="0">
              <a:spcBef>
                <a:spcPct val="0"/>
              </a:spcBef>
              <a:spcAft>
                <a:spcPct val="0"/>
              </a:spcAft>
              <a:defRPr>
                <a:solidFill>
                  <a:schemeClr val="tx1"/>
                </a:solidFill>
                <a:latin typeface="Arial" charset="0"/>
                <a:ea typeface="MS PGothic" charset="-128"/>
              </a:defRPr>
            </a:lvl6pPr>
            <a:lvl7pPr marL="2971800" indent="-228600" defTabSz="912813" eaLnBrk="0" fontAlgn="base" hangingPunct="0">
              <a:spcBef>
                <a:spcPct val="0"/>
              </a:spcBef>
              <a:spcAft>
                <a:spcPct val="0"/>
              </a:spcAft>
              <a:defRPr>
                <a:solidFill>
                  <a:schemeClr val="tx1"/>
                </a:solidFill>
                <a:latin typeface="Arial" charset="0"/>
                <a:ea typeface="MS PGothic" charset="-128"/>
              </a:defRPr>
            </a:lvl7pPr>
            <a:lvl8pPr marL="3429000" indent="-228600" defTabSz="912813" eaLnBrk="0" fontAlgn="base" hangingPunct="0">
              <a:spcBef>
                <a:spcPct val="0"/>
              </a:spcBef>
              <a:spcAft>
                <a:spcPct val="0"/>
              </a:spcAft>
              <a:defRPr>
                <a:solidFill>
                  <a:schemeClr val="tx1"/>
                </a:solidFill>
                <a:latin typeface="Arial" charset="0"/>
                <a:ea typeface="MS PGothic" charset="-128"/>
              </a:defRPr>
            </a:lvl8pPr>
            <a:lvl9pPr marL="3886200" indent="-228600" defTabSz="912813" eaLnBrk="0" fontAlgn="base" hangingPunct="0">
              <a:spcBef>
                <a:spcPct val="0"/>
              </a:spcBef>
              <a:spcAft>
                <a:spcPct val="0"/>
              </a:spcAft>
              <a:defRPr>
                <a:solidFill>
                  <a:schemeClr val="tx1"/>
                </a:solidFill>
                <a:latin typeface="Arial" charset="0"/>
                <a:ea typeface="MS PGothic" charset="-128"/>
              </a:defRPr>
            </a:lvl9pPr>
          </a:lstStyle>
          <a:p>
            <a:pPr defTabSz="1097280" fontAlgn="base">
              <a:spcBef>
                <a:spcPct val="0"/>
              </a:spcBef>
              <a:spcAft>
                <a:spcPct val="0"/>
              </a:spcAft>
              <a:defRPr/>
            </a:pPr>
            <a:r>
              <a:rPr lang="en-US" altLang="en-US" sz="1400" b="1">
                <a:solidFill>
                  <a:srgbClr val="000000"/>
                </a:solidFill>
                <a:latin typeface="Arial"/>
                <a:ea typeface="MS PGothic"/>
                <a:cs typeface="Arial"/>
              </a:rPr>
              <a:t>No Aplica a procesos en Santander España</a:t>
            </a:r>
          </a:p>
        </p:txBody>
      </p:sp>
      <p:sp>
        <p:nvSpPr>
          <p:cNvPr id="265" name="Rectangle 499">
            <a:extLst>
              <a:ext uri="{FF2B5EF4-FFF2-40B4-BE49-F238E27FC236}">
                <a16:creationId xmlns:a16="http://schemas.microsoft.com/office/drawing/2014/main" id="{AFC934BE-16F5-4205-8C53-339B66DE9448}"/>
              </a:ext>
            </a:extLst>
          </p:cNvPr>
          <p:cNvSpPr>
            <a:spLocks noChangeArrowheads="1"/>
          </p:cNvSpPr>
          <p:nvPr/>
        </p:nvSpPr>
        <p:spPr bwMode="auto">
          <a:xfrm>
            <a:off x="18687341" y="6793253"/>
            <a:ext cx="2572877" cy="973523"/>
          </a:xfrm>
          <a:prstGeom prst="rect">
            <a:avLst/>
          </a:prstGeom>
          <a:solidFill>
            <a:schemeClr val="accent1">
              <a:lumMod val="20000"/>
              <a:lumOff val="8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defTabSz="912813" eaLnBrk="0" fontAlgn="base" hangingPunct="0">
              <a:spcBef>
                <a:spcPct val="0"/>
              </a:spcBef>
              <a:spcAft>
                <a:spcPct val="0"/>
              </a:spcAft>
              <a:defRPr>
                <a:solidFill>
                  <a:schemeClr val="tx1"/>
                </a:solidFill>
                <a:latin typeface="Arial" charset="0"/>
                <a:ea typeface="MS PGothic" charset="-128"/>
              </a:defRPr>
            </a:lvl6pPr>
            <a:lvl7pPr marL="2971800" indent="-228600" defTabSz="912813" eaLnBrk="0" fontAlgn="base" hangingPunct="0">
              <a:spcBef>
                <a:spcPct val="0"/>
              </a:spcBef>
              <a:spcAft>
                <a:spcPct val="0"/>
              </a:spcAft>
              <a:defRPr>
                <a:solidFill>
                  <a:schemeClr val="tx1"/>
                </a:solidFill>
                <a:latin typeface="Arial" charset="0"/>
                <a:ea typeface="MS PGothic" charset="-128"/>
              </a:defRPr>
            </a:lvl7pPr>
            <a:lvl8pPr marL="3429000" indent="-228600" defTabSz="912813" eaLnBrk="0" fontAlgn="base" hangingPunct="0">
              <a:spcBef>
                <a:spcPct val="0"/>
              </a:spcBef>
              <a:spcAft>
                <a:spcPct val="0"/>
              </a:spcAft>
              <a:defRPr>
                <a:solidFill>
                  <a:schemeClr val="tx1"/>
                </a:solidFill>
                <a:latin typeface="Arial" charset="0"/>
                <a:ea typeface="MS PGothic" charset="-128"/>
              </a:defRPr>
            </a:lvl8pPr>
            <a:lvl9pPr marL="3886200" indent="-228600" defTabSz="912813" eaLnBrk="0" fontAlgn="base" hangingPunct="0">
              <a:spcBef>
                <a:spcPct val="0"/>
              </a:spcBef>
              <a:spcAft>
                <a:spcPct val="0"/>
              </a:spcAft>
              <a:defRPr>
                <a:solidFill>
                  <a:schemeClr val="tx1"/>
                </a:solidFill>
                <a:latin typeface="Arial" charset="0"/>
                <a:ea typeface="MS PGothic" charset="-128"/>
              </a:defRPr>
            </a:lvl9pPr>
          </a:lstStyle>
          <a:p>
            <a:pPr defTabSz="1097280" fontAlgn="base">
              <a:spcBef>
                <a:spcPct val="0"/>
              </a:spcBef>
              <a:spcAft>
                <a:spcPct val="0"/>
              </a:spcAft>
            </a:pPr>
            <a:r>
              <a:rPr lang="en-US" altLang="en-US" sz="1400" b="1">
                <a:latin typeface="Arial" panose="020B0604020202020204"/>
                <a:ea typeface="MS PGothic"/>
                <a:cs typeface="+mn-cs"/>
              </a:rPr>
              <a:t>Procesos a definir en </a:t>
            </a:r>
            <a:endParaRPr lang="en-US" altLang="en-US" sz="1400" b="1">
              <a:latin typeface="Arial" panose="020B0604020202020204"/>
              <a:ea typeface="MS PGothic"/>
            </a:endParaRPr>
          </a:p>
          <a:p>
            <a:pPr defTabSz="1097280" fontAlgn="base">
              <a:spcBef>
                <a:spcPct val="0"/>
              </a:spcBef>
              <a:spcAft>
                <a:spcPct val="0"/>
              </a:spcAft>
            </a:pPr>
            <a:r>
              <a:rPr lang="en-US" altLang="en-US" sz="1400" b="1">
                <a:latin typeface="Arial" panose="020B0604020202020204"/>
                <a:ea typeface="MS PGothic"/>
              </a:rPr>
              <a:t>Fase 2</a:t>
            </a:r>
            <a:endParaRPr lang="en-US" altLang="en-US" sz="1400" b="1">
              <a:latin typeface="Arial" panose="020B0604020202020204"/>
              <a:cs typeface="+mn-cs"/>
            </a:endParaRPr>
          </a:p>
        </p:txBody>
      </p:sp>
      <p:sp>
        <p:nvSpPr>
          <p:cNvPr id="80" name="Rectangle 491">
            <a:extLst>
              <a:ext uri="{FF2B5EF4-FFF2-40B4-BE49-F238E27FC236}">
                <a16:creationId xmlns:a16="http://schemas.microsoft.com/office/drawing/2014/main" id="{544E48D5-75BD-4816-9F30-AB122D3C358E}"/>
              </a:ext>
            </a:extLst>
          </p:cNvPr>
          <p:cNvSpPr>
            <a:spLocks noChangeArrowheads="1"/>
          </p:cNvSpPr>
          <p:nvPr/>
        </p:nvSpPr>
        <p:spPr bwMode="auto">
          <a:xfrm>
            <a:off x="9772651" y="3961914"/>
            <a:ext cx="1598400" cy="604800"/>
          </a:xfrm>
          <a:prstGeom prst="rect">
            <a:avLst/>
          </a:prstGeom>
          <a:solidFill>
            <a:schemeClr val="bg2">
              <a:lumMod val="85000"/>
            </a:schemeClr>
          </a:solidFill>
          <a:ln w="11113" cap="rnd">
            <a:solidFill>
              <a:srgbClr val="0070C0"/>
            </a:solidFill>
            <a:miter lim="800000"/>
            <a:headEnd/>
            <a:tailEnd/>
          </a:ln>
          <a:effectLst/>
        </p:spPr>
        <p:txBody>
          <a:bodyPr anchor="ctr"/>
          <a:lstStyle/>
          <a:p>
            <a:pPr algn="ctr" defTabSz="1097280" fontAlgn="base">
              <a:spcBef>
                <a:spcPct val="0"/>
              </a:spcBef>
              <a:spcAft>
                <a:spcPct val="0"/>
              </a:spcAft>
            </a:pPr>
            <a:r>
              <a:rPr lang="en-GB" altLang="en-US" sz="1026" b="1" kern="0" dirty="0">
                <a:solidFill>
                  <a:srgbClr val="000000"/>
                </a:solidFill>
                <a:latin typeface="Arial" charset="0"/>
                <a:ea typeface="MS PGothic" charset="-128"/>
              </a:rPr>
              <a:t>Sourcing and Partner Management</a:t>
            </a:r>
          </a:p>
        </p:txBody>
      </p:sp>
      <p:sp>
        <p:nvSpPr>
          <p:cNvPr id="81" name="Rectangle 80">
            <a:extLst>
              <a:ext uri="{FF2B5EF4-FFF2-40B4-BE49-F238E27FC236}">
                <a16:creationId xmlns:a16="http://schemas.microsoft.com/office/drawing/2014/main" id="{8B5D7DE5-39DD-4D3A-92DC-44A3ECFC2C3A}"/>
              </a:ext>
            </a:extLst>
          </p:cNvPr>
          <p:cNvSpPr/>
          <p:nvPr/>
        </p:nvSpPr>
        <p:spPr>
          <a:xfrm>
            <a:off x="2743953" y="4544479"/>
            <a:ext cx="14815747" cy="7138499"/>
          </a:xfrm>
          <a:prstGeom prst="rect">
            <a:avLst/>
          </a:prstGeom>
          <a:solidFill>
            <a:schemeClr val="bg1">
              <a:lumMod val="95000"/>
            </a:schemeClr>
          </a:solidFill>
          <a:ln w="25400" cap="flat" cmpd="sng" algn="ctr">
            <a:solidFill>
              <a:schemeClr val="accent1"/>
            </a:solidFill>
            <a:prstDash val="solid"/>
          </a:ln>
          <a:effectLst>
            <a:outerShdw blurRad="50800" dist="76200" dir="2700000" algn="tl" rotWithShape="0">
              <a:prstClr val="black">
                <a:alpha val="40000"/>
              </a:prstClr>
            </a:outerShdw>
          </a:effectLst>
        </p:spPr>
        <p:txBody>
          <a:bodyPr lIns="0" rIns="0" anchor="ctr"/>
          <a:lstStyle/>
          <a:p>
            <a:pPr algn="ctr" defTabSz="937937">
              <a:defRPr/>
            </a:pPr>
            <a:endParaRPr lang="en-US" sz="1400" b="1" kern="0" dirty="0">
              <a:solidFill>
                <a:srgbClr val="FFFFFF"/>
              </a:solidFill>
              <a:latin typeface="Arial" panose="020B0604020202020204"/>
            </a:endParaRPr>
          </a:p>
        </p:txBody>
      </p:sp>
      <p:sp>
        <p:nvSpPr>
          <p:cNvPr id="82" name="Rectangle 478">
            <a:extLst>
              <a:ext uri="{FF2B5EF4-FFF2-40B4-BE49-F238E27FC236}">
                <a16:creationId xmlns:a16="http://schemas.microsoft.com/office/drawing/2014/main" id="{F4A70F92-897E-4309-A1A5-E5CF71EB5E66}"/>
              </a:ext>
            </a:extLst>
          </p:cNvPr>
          <p:cNvSpPr>
            <a:spLocks noChangeArrowheads="1"/>
          </p:cNvSpPr>
          <p:nvPr/>
        </p:nvSpPr>
        <p:spPr bwMode="auto">
          <a:xfrm>
            <a:off x="14641033" y="9361317"/>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ea typeface="MS PGothic"/>
                <a:cs typeface="Arial"/>
              </a:rPr>
              <a:t>Control de seguridad &amp; Información </a:t>
            </a:r>
          </a:p>
        </p:txBody>
      </p:sp>
      <p:sp>
        <p:nvSpPr>
          <p:cNvPr id="83" name="Rectangle 483">
            <a:extLst>
              <a:ext uri="{FF2B5EF4-FFF2-40B4-BE49-F238E27FC236}">
                <a16:creationId xmlns:a16="http://schemas.microsoft.com/office/drawing/2014/main" id="{A6AE44EB-BE01-4B02-B6E9-9B8A36C96312}"/>
              </a:ext>
            </a:extLst>
          </p:cNvPr>
          <p:cNvSpPr>
            <a:spLocks noChangeArrowheads="1"/>
          </p:cNvSpPr>
          <p:nvPr/>
        </p:nvSpPr>
        <p:spPr bwMode="auto">
          <a:xfrm>
            <a:off x="5949031" y="7135450"/>
            <a:ext cx="2572877" cy="973523"/>
          </a:xfrm>
          <a:prstGeom prst="rect">
            <a:avLst/>
          </a:prstGeom>
          <a:solidFill>
            <a:schemeClr val="accent1">
              <a:lumMod val="20000"/>
              <a:lumOff val="8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a:solidFill>
                  <a:schemeClr val="tx1"/>
                </a:solidFill>
                <a:latin typeface="Arial" panose="020B0604020202020204"/>
                <a:ea typeface="MS PGothic"/>
              </a:rPr>
              <a:t>Desarrollo de releases</a:t>
            </a:r>
          </a:p>
        </p:txBody>
      </p:sp>
      <p:sp>
        <p:nvSpPr>
          <p:cNvPr id="84" name="Rectangle 491">
            <a:extLst>
              <a:ext uri="{FF2B5EF4-FFF2-40B4-BE49-F238E27FC236}">
                <a16:creationId xmlns:a16="http://schemas.microsoft.com/office/drawing/2014/main" id="{909AAAAF-6D9A-48C8-88F1-47AC1B9A9C3C}"/>
              </a:ext>
            </a:extLst>
          </p:cNvPr>
          <p:cNvSpPr>
            <a:spLocks noChangeArrowheads="1"/>
          </p:cNvSpPr>
          <p:nvPr/>
        </p:nvSpPr>
        <p:spPr bwMode="auto">
          <a:xfrm>
            <a:off x="8838007" y="10466118"/>
            <a:ext cx="2572877" cy="973523"/>
          </a:xfrm>
          <a:prstGeom prst="rect">
            <a:avLst/>
          </a:prstGeom>
          <a:solidFill>
            <a:schemeClr val="accent1">
              <a:lumMod val="20000"/>
              <a:lumOff val="8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a:solidFill>
                  <a:schemeClr val="tx1"/>
                </a:solidFill>
                <a:latin typeface="Arial" panose="020B0604020202020204"/>
                <a:ea typeface="MS PGothic"/>
                <a:cs typeface="+mn-cs"/>
              </a:rPr>
              <a:t>Formación &amp; Gestión del talento</a:t>
            </a:r>
          </a:p>
        </p:txBody>
      </p:sp>
      <p:sp>
        <p:nvSpPr>
          <p:cNvPr id="85" name="Rectangle 495">
            <a:extLst>
              <a:ext uri="{FF2B5EF4-FFF2-40B4-BE49-F238E27FC236}">
                <a16:creationId xmlns:a16="http://schemas.microsoft.com/office/drawing/2014/main" id="{F019555A-FC07-4846-BF2B-38A6E6443C22}"/>
              </a:ext>
            </a:extLst>
          </p:cNvPr>
          <p:cNvSpPr>
            <a:spLocks noChangeArrowheads="1"/>
          </p:cNvSpPr>
          <p:nvPr/>
        </p:nvSpPr>
        <p:spPr bwMode="auto">
          <a:xfrm>
            <a:off x="5949031" y="4903089"/>
            <a:ext cx="2572877" cy="973523"/>
          </a:xfrm>
          <a:prstGeom prst="rect">
            <a:avLst/>
          </a:prstGeom>
          <a:solidFill>
            <a:schemeClr val="accent1">
              <a:lumMod val="20000"/>
              <a:lumOff val="8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a:solidFill>
                  <a:schemeClr val="tx1"/>
                </a:solidFill>
                <a:latin typeface="Arial" panose="020B0604020202020204"/>
                <a:ea typeface="MS PGothic"/>
                <a:cs typeface="+mn-cs"/>
              </a:rPr>
              <a:t>Diseño &amp; Arquitectura de servicios</a:t>
            </a:r>
            <a:endParaRPr lang="en-US" sz="1400" b="1">
              <a:solidFill>
                <a:schemeClr val="tx1"/>
              </a:solidFill>
              <a:latin typeface="Arial" panose="020B0604020202020204"/>
              <a:ea typeface="MS PGothic"/>
              <a:cs typeface="+mn-cs"/>
            </a:endParaRPr>
          </a:p>
        </p:txBody>
      </p:sp>
      <p:sp>
        <p:nvSpPr>
          <p:cNvPr id="86" name="Rectangle 499">
            <a:extLst>
              <a:ext uri="{FF2B5EF4-FFF2-40B4-BE49-F238E27FC236}">
                <a16:creationId xmlns:a16="http://schemas.microsoft.com/office/drawing/2014/main" id="{600BFC6D-A501-438C-8AB9-F810367059A8}"/>
              </a:ext>
            </a:extLst>
          </p:cNvPr>
          <p:cNvSpPr>
            <a:spLocks noChangeArrowheads="1"/>
          </p:cNvSpPr>
          <p:nvPr/>
        </p:nvSpPr>
        <p:spPr bwMode="auto">
          <a:xfrm>
            <a:off x="3060054" y="4903089"/>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defTabSz="912813" eaLnBrk="0" fontAlgn="base" hangingPunct="0">
              <a:spcBef>
                <a:spcPct val="0"/>
              </a:spcBef>
              <a:spcAft>
                <a:spcPct val="0"/>
              </a:spcAft>
              <a:defRPr>
                <a:solidFill>
                  <a:schemeClr val="tx1"/>
                </a:solidFill>
                <a:latin typeface="Arial" charset="0"/>
                <a:ea typeface="MS PGothic" charset="-128"/>
              </a:defRPr>
            </a:lvl6pPr>
            <a:lvl7pPr marL="2971800" indent="-228600" defTabSz="912813" eaLnBrk="0" fontAlgn="base" hangingPunct="0">
              <a:spcBef>
                <a:spcPct val="0"/>
              </a:spcBef>
              <a:spcAft>
                <a:spcPct val="0"/>
              </a:spcAft>
              <a:defRPr>
                <a:solidFill>
                  <a:schemeClr val="tx1"/>
                </a:solidFill>
                <a:latin typeface="Arial" charset="0"/>
                <a:ea typeface="MS PGothic" charset="-128"/>
              </a:defRPr>
            </a:lvl7pPr>
            <a:lvl8pPr marL="3429000" indent="-228600" defTabSz="912813" eaLnBrk="0" fontAlgn="base" hangingPunct="0">
              <a:spcBef>
                <a:spcPct val="0"/>
              </a:spcBef>
              <a:spcAft>
                <a:spcPct val="0"/>
              </a:spcAft>
              <a:defRPr>
                <a:solidFill>
                  <a:schemeClr val="tx1"/>
                </a:solidFill>
                <a:latin typeface="Arial" charset="0"/>
                <a:ea typeface="MS PGothic" charset="-128"/>
              </a:defRPr>
            </a:lvl8pPr>
            <a:lvl9pPr marL="3886200" indent="-228600" defTabSz="912813" eaLnBrk="0" fontAlgn="base" hangingPunct="0">
              <a:spcBef>
                <a:spcPct val="0"/>
              </a:spcBef>
              <a:spcAft>
                <a:spcPct val="0"/>
              </a:spcAft>
              <a:defRPr>
                <a:solidFill>
                  <a:schemeClr val="tx1"/>
                </a:solidFill>
                <a:latin typeface="Arial" charset="0"/>
                <a:ea typeface="MS PGothic" charset="-128"/>
              </a:defRPr>
            </a:lvl9pPr>
          </a:lstStyle>
          <a:p>
            <a:pPr defTabSz="1097280" fontAlgn="base">
              <a:spcBef>
                <a:spcPct val="0"/>
              </a:spcBef>
              <a:spcAft>
                <a:spcPct val="0"/>
              </a:spcAft>
            </a:pPr>
            <a:r>
              <a:rPr lang="en-US" altLang="en-US" sz="1400" b="1">
                <a:solidFill>
                  <a:srgbClr val="000000"/>
                </a:solidFill>
                <a:latin typeface="Arial"/>
                <a:ea typeface="MS PGothic"/>
                <a:cs typeface="Arial"/>
              </a:rPr>
              <a:t>Tecnología Digital &amp; Estrategia de Servicios</a:t>
            </a:r>
            <a:endParaRPr lang="en-US" sz="1400" b="1">
              <a:solidFill>
                <a:srgbClr val="000000"/>
              </a:solidFill>
              <a:latin typeface="Arial"/>
              <a:ea typeface="MS PGothic"/>
              <a:cs typeface="Arial"/>
            </a:endParaRPr>
          </a:p>
        </p:txBody>
      </p:sp>
      <p:sp>
        <p:nvSpPr>
          <p:cNvPr id="87" name="Rectangle 503">
            <a:extLst>
              <a:ext uri="{FF2B5EF4-FFF2-40B4-BE49-F238E27FC236}">
                <a16:creationId xmlns:a16="http://schemas.microsoft.com/office/drawing/2014/main" id="{E262DCD9-CDF7-43DD-88C7-557F7A0C667A}"/>
              </a:ext>
            </a:extLst>
          </p:cNvPr>
          <p:cNvSpPr>
            <a:spLocks noChangeArrowheads="1"/>
          </p:cNvSpPr>
          <p:nvPr/>
        </p:nvSpPr>
        <p:spPr bwMode="auto">
          <a:xfrm>
            <a:off x="14641033" y="10471153"/>
            <a:ext cx="2572877" cy="973523"/>
          </a:xfrm>
          <a:prstGeom prst="rect">
            <a:avLst/>
          </a:prstGeom>
          <a:solidFill>
            <a:schemeClr val="accent1">
              <a:lumMod val="20000"/>
              <a:lumOff val="8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a:solidFill>
                  <a:schemeClr val="tx1"/>
                </a:solidFill>
                <a:latin typeface="Arial" panose="020B0604020202020204"/>
                <a:ea typeface="MS PGothic"/>
                <a:cs typeface="+mn-cs"/>
              </a:rPr>
              <a:t>Riesgo, auditoria &amp; Cumplimiento normativo</a:t>
            </a:r>
          </a:p>
        </p:txBody>
      </p:sp>
      <p:sp>
        <p:nvSpPr>
          <p:cNvPr id="88" name="Rectangle 510">
            <a:extLst>
              <a:ext uri="{FF2B5EF4-FFF2-40B4-BE49-F238E27FC236}">
                <a16:creationId xmlns:a16="http://schemas.microsoft.com/office/drawing/2014/main" id="{632026C4-D61D-4479-9CEB-0D6B3A18A940}"/>
              </a:ext>
            </a:extLst>
          </p:cNvPr>
          <p:cNvSpPr>
            <a:spLocks noChangeArrowheads="1"/>
          </p:cNvSpPr>
          <p:nvPr/>
        </p:nvSpPr>
        <p:spPr bwMode="auto">
          <a:xfrm>
            <a:off x="3060054" y="6020461"/>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solidFill>
                  <a:srgbClr val="000000"/>
                </a:solidFill>
                <a:latin typeface="Arial"/>
                <a:ea typeface="MS PGothic"/>
                <a:cs typeface="Arial"/>
              </a:rPr>
              <a:t>Gestión de la demanda</a:t>
            </a:r>
          </a:p>
        </p:txBody>
      </p:sp>
      <p:sp>
        <p:nvSpPr>
          <p:cNvPr id="89" name="Rectangle 510">
            <a:extLst>
              <a:ext uri="{FF2B5EF4-FFF2-40B4-BE49-F238E27FC236}">
                <a16:creationId xmlns:a16="http://schemas.microsoft.com/office/drawing/2014/main" id="{BA56629C-E960-41E3-BD0D-4D74F2400618}"/>
              </a:ext>
            </a:extLst>
          </p:cNvPr>
          <p:cNvSpPr>
            <a:spLocks noChangeArrowheads="1"/>
          </p:cNvSpPr>
          <p:nvPr/>
        </p:nvSpPr>
        <p:spPr bwMode="auto">
          <a:xfrm>
            <a:off x="8838007" y="6020461"/>
            <a:ext cx="2572877" cy="973523"/>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solidFill>
                <a:latin typeface="Arial" panose="020B0604020202020204"/>
                <a:ea typeface="MS PGothic"/>
              </a:rPr>
              <a:t>Aprovisionamiento de entornos de plataforma</a:t>
            </a:r>
          </a:p>
        </p:txBody>
      </p:sp>
      <p:sp>
        <p:nvSpPr>
          <p:cNvPr id="90" name="Rectangle 507">
            <a:extLst>
              <a:ext uri="{FF2B5EF4-FFF2-40B4-BE49-F238E27FC236}">
                <a16:creationId xmlns:a16="http://schemas.microsoft.com/office/drawing/2014/main" id="{F7D47B1B-6066-4A02-AC11-19D44C04A9C9}"/>
              </a:ext>
            </a:extLst>
          </p:cNvPr>
          <p:cNvSpPr>
            <a:spLocks noChangeArrowheads="1"/>
          </p:cNvSpPr>
          <p:nvPr/>
        </p:nvSpPr>
        <p:spPr bwMode="auto">
          <a:xfrm>
            <a:off x="8838007" y="7135450"/>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solidFill>
                  <a:srgbClr val="000000"/>
                </a:solidFill>
                <a:latin typeface="Arial"/>
                <a:ea typeface="MS PGothic"/>
                <a:cs typeface="Arial"/>
              </a:rPr>
              <a:t>Aprovisionamiento de aplicación &amp; Datos</a:t>
            </a:r>
          </a:p>
        </p:txBody>
      </p:sp>
      <p:sp>
        <p:nvSpPr>
          <p:cNvPr id="91" name="Rectangle 62">
            <a:extLst>
              <a:ext uri="{FF2B5EF4-FFF2-40B4-BE49-F238E27FC236}">
                <a16:creationId xmlns:a16="http://schemas.microsoft.com/office/drawing/2014/main" id="{576EDDE1-9AC6-4514-9B88-3B0C80451AB1}"/>
              </a:ext>
            </a:extLst>
          </p:cNvPr>
          <p:cNvSpPr>
            <a:spLocks noChangeArrowheads="1"/>
          </p:cNvSpPr>
          <p:nvPr/>
        </p:nvSpPr>
        <p:spPr bwMode="auto">
          <a:xfrm>
            <a:off x="11722367" y="9347019"/>
            <a:ext cx="2572877" cy="973523"/>
          </a:xfrm>
          <a:prstGeom prst="rect">
            <a:avLst/>
          </a:prstGeom>
          <a:solidFill>
            <a:schemeClr val="accent1">
              <a:lumMod val="20000"/>
              <a:lumOff val="8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a:solidFill>
                  <a:schemeClr val="tx1"/>
                </a:solidFill>
                <a:latin typeface="Arial" panose="020B0604020202020204"/>
                <a:ea typeface="MS PGothic"/>
                <a:cs typeface="+mn-cs"/>
              </a:rPr>
              <a:t>Seguridad &amp; Continuidad del negocio</a:t>
            </a:r>
          </a:p>
        </p:txBody>
      </p:sp>
      <p:sp>
        <p:nvSpPr>
          <p:cNvPr id="92" name="Rectangle 70">
            <a:extLst>
              <a:ext uri="{FF2B5EF4-FFF2-40B4-BE49-F238E27FC236}">
                <a16:creationId xmlns:a16="http://schemas.microsoft.com/office/drawing/2014/main" id="{7080BAB4-5966-4772-AF9D-647AEE341EB8}"/>
              </a:ext>
            </a:extLst>
          </p:cNvPr>
          <p:cNvSpPr>
            <a:spLocks noChangeArrowheads="1"/>
          </p:cNvSpPr>
          <p:nvPr/>
        </p:nvSpPr>
        <p:spPr bwMode="auto">
          <a:xfrm>
            <a:off x="11722367" y="8241175"/>
            <a:ext cx="2572877" cy="973523"/>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solidFill>
                <a:latin typeface="Arial" panose="020B0604020202020204"/>
                <a:ea typeface="MS PGothic"/>
                <a:cs typeface="+mn-cs"/>
              </a:rPr>
              <a:t>Gestión de Incidencias &amp; Problemas</a:t>
            </a:r>
          </a:p>
        </p:txBody>
      </p:sp>
      <p:sp>
        <p:nvSpPr>
          <p:cNvPr id="93" name="Rectangle 82">
            <a:extLst>
              <a:ext uri="{FF2B5EF4-FFF2-40B4-BE49-F238E27FC236}">
                <a16:creationId xmlns:a16="http://schemas.microsoft.com/office/drawing/2014/main" id="{616D692E-2C63-4A5F-89AA-272ECB15137D}"/>
              </a:ext>
            </a:extLst>
          </p:cNvPr>
          <p:cNvSpPr>
            <a:spLocks noChangeArrowheads="1"/>
          </p:cNvSpPr>
          <p:nvPr/>
        </p:nvSpPr>
        <p:spPr bwMode="auto">
          <a:xfrm>
            <a:off x="14641033" y="8248713"/>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latin typeface="Arial"/>
                <a:ea typeface="MS PGothic"/>
                <a:cs typeface="Arial"/>
              </a:rPr>
              <a:t>Oficina de gestión del Portfolio Cloud</a:t>
            </a:r>
            <a:endParaRPr lang="en-US" dirty="0"/>
          </a:p>
        </p:txBody>
      </p:sp>
      <p:sp>
        <p:nvSpPr>
          <p:cNvPr id="94" name="Rectangle 86">
            <a:extLst>
              <a:ext uri="{FF2B5EF4-FFF2-40B4-BE49-F238E27FC236}">
                <a16:creationId xmlns:a16="http://schemas.microsoft.com/office/drawing/2014/main" id="{EA4ABF29-EDB8-4024-BCF4-24D31A64E397}"/>
              </a:ext>
            </a:extLst>
          </p:cNvPr>
          <p:cNvSpPr>
            <a:spLocks noChangeArrowheads="1"/>
          </p:cNvSpPr>
          <p:nvPr/>
        </p:nvSpPr>
        <p:spPr bwMode="auto">
          <a:xfrm>
            <a:off x="11726984" y="4903089"/>
            <a:ext cx="2572877" cy="973523"/>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solidFill>
                <a:latin typeface="Arial" panose="020B0604020202020204"/>
                <a:ea typeface="MS PGothic"/>
                <a:cs typeface="+mn-cs"/>
              </a:rPr>
              <a:t>Gestión del nivel de servicio al cliente</a:t>
            </a:r>
          </a:p>
        </p:txBody>
      </p:sp>
      <p:sp>
        <p:nvSpPr>
          <p:cNvPr id="95" name="Rectangle 90">
            <a:extLst>
              <a:ext uri="{FF2B5EF4-FFF2-40B4-BE49-F238E27FC236}">
                <a16:creationId xmlns:a16="http://schemas.microsoft.com/office/drawing/2014/main" id="{64B86CCF-5F82-48DA-8379-966BAFBC03C5}"/>
              </a:ext>
            </a:extLst>
          </p:cNvPr>
          <p:cNvSpPr>
            <a:spLocks noChangeArrowheads="1"/>
          </p:cNvSpPr>
          <p:nvPr/>
        </p:nvSpPr>
        <p:spPr bwMode="auto">
          <a:xfrm>
            <a:off x="11732518" y="10466118"/>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a:latin typeface="Arial"/>
                <a:ea typeface="MS PGothic"/>
                <a:cs typeface="Arial"/>
              </a:rPr>
              <a:t>Gestión de Activos &amp; Información</a:t>
            </a:r>
          </a:p>
        </p:txBody>
      </p:sp>
      <p:sp>
        <p:nvSpPr>
          <p:cNvPr id="96" name="Rectangle 102">
            <a:extLst>
              <a:ext uri="{FF2B5EF4-FFF2-40B4-BE49-F238E27FC236}">
                <a16:creationId xmlns:a16="http://schemas.microsoft.com/office/drawing/2014/main" id="{15D7CEA9-F6AB-4420-8B6A-6DBE4058C1EE}"/>
              </a:ext>
            </a:extLst>
          </p:cNvPr>
          <p:cNvSpPr>
            <a:spLocks noChangeArrowheads="1"/>
          </p:cNvSpPr>
          <p:nvPr/>
        </p:nvSpPr>
        <p:spPr bwMode="auto">
          <a:xfrm>
            <a:off x="14650264" y="6020461"/>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latin typeface="Arial"/>
                <a:ea typeface="MS PGothic"/>
                <a:cs typeface="Arial"/>
              </a:rPr>
              <a:t>Plan financiero &amp; economía de la nube</a:t>
            </a:r>
          </a:p>
        </p:txBody>
      </p:sp>
      <p:sp>
        <p:nvSpPr>
          <p:cNvPr id="97" name="Rectangle 191">
            <a:extLst>
              <a:ext uri="{FF2B5EF4-FFF2-40B4-BE49-F238E27FC236}">
                <a16:creationId xmlns:a16="http://schemas.microsoft.com/office/drawing/2014/main" id="{46024779-2565-474F-BF05-306F79BD644B}"/>
              </a:ext>
            </a:extLst>
          </p:cNvPr>
          <p:cNvSpPr>
            <a:spLocks noChangeArrowheads="1"/>
          </p:cNvSpPr>
          <p:nvPr/>
        </p:nvSpPr>
        <p:spPr bwMode="auto">
          <a:xfrm>
            <a:off x="3060051" y="9360274"/>
            <a:ext cx="2572877" cy="973523"/>
          </a:xfrm>
          <a:prstGeom prst="rect">
            <a:avLst/>
          </a:prstGeom>
          <a:solidFill>
            <a:schemeClr val="accent1">
              <a:lumMod val="20000"/>
              <a:lumOff val="8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a:solidFill>
                  <a:schemeClr val="tx1"/>
                </a:solidFill>
                <a:latin typeface="Arial" panose="020B0604020202020204"/>
                <a:ea typeface="MS PGothic"/>
                <a:cs typeface="+mn-cs"/>
              </a:rPr>
              <a:t>Asistencia del servicio al cliente</a:t>
            </a:r>
          </a:p>
        </p:txBody>
      </p:sp>
      <p:sp>
        <p:nvSpPr>
          <p:cNvPr id="98" name="Rectangle 191">
            <a:extLst>
              <a:ext uri="{FF2B5EF4-FFF2-40B4-BE49-F238E27FC236}">
                <a16:creationId xmlns:a16="http://schemas.microsoft.com/office/drawing/2014/main" id="{771ABA24-D578-4630-A08D-E9C9822F2A93}"/>
              </a:ext>
            </a:extLst>
          </p:cNvPr>
          <p:cNvSpPr>
            <a:spLocks noChangeArrowheads="1"/>
          </p:cNvSpPr>
          <p:nvPr/>
        </p:nvSpPr>
        <p:spPr bwMode="auto">
          <a:xfrm>
            <a:off x="14641033" y="4903089"/>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a:latin typeface="Arial"/>
                <a:ea typeface="MS PGothic"/>
                <a:cs typeface="Arial"/>
              </a:rPr>
              <a:t>Estándares &amp; Polticas Cloud</a:t>
            </a:r>
          </a:p>
        </p:txBody>
      </p:sp>
      <p:sp>
        <p:nvSpPr>
          <p:cNvPr id="99" name="Rectangle 255">
            <a:extLst>
              <a:ext uri="{FF2B5EF4-FFF2-40B4-BE49-F238E27FC236}">
                <a16:creationId xmlns:a16="http://schemas.microsoft.com/office/drawing/2014/main" id="{06399D85-BC97-4BB4-B266-B8EA841BA52A}"/>
              </a:ext>
            </a:extLst>
          </p:cNvPr>
          <p:cNvSpPr>
            <a:spLocks noChangeArrowheads="1"/>
          </p:cNvSpPr>
          <p:nvPr/>
        </p:nvSpPr>
        <p:spPr bwMode="auto">
          <a:xfrm>
            <a:off x="11722367" y="7131339"/>
            <a:ext cx="2572877" cy="973523"/>
          </a:xfrm>
          <a:prstGeom prst="rect">
            <a:avLst/>
          </a:prstGeom>
          <a:solidFill>
            <a:schemeClr val="accent1">
              <a:lumMod val="20000"/>
              <a:lumOff val="8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US" altLang="en-US" sz="1400" b="1">
                <a:solidFill>
                  <a:schemeClr val="tx1"/>
                </a:solidFill>
                <a:latin typeface="Arial" panose="020B0604020202020204"/>
                <a:ea typeface="MS PGothic"/>
                <a:cs typeface="+mn-cs"/>
              </a:rPr>
              <a:t>Monitorización de servicios &amp; eventos API</a:t>
            </a:r>
          </a:p>
        </p:txBody>
      </p:sp>
      <p:sp>
        <p:nvSpPr>
          <p:cNvPr id="100" name="Rectangle 99">
            <a:extLst>
              <a:ext uri="{FF2B5EF4-FFF2-40B4-BE49-F238E27FC236}">
                <a16:creationId xmlns:a16="http://schemas.microsoft.com/office/drawing/2014/main" id="{5A855889-EC44-4E3F-8A36-ED0801397606}"/>
              </a:ext>
            </a:extLst>
          </p:cNvPr>
          <p:cNvSpPr/>
          <p:nvPr/>
        </p:nvSpPr>
        <p:spPr>
          <a:xfrm>
            <a:off x="14615958" y="3413988"/>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solidFill>
                <a:latin typeface="Arial" panose="020B0604020202020204"/>
                <a:ea typeface="MS PGothic" charset="-128"/>
              </a:rPr>
              <a:t>Governance</a:t>
            </a:r>
            <a:br>
              <a:rPr lang="en-GB" sz="1600" b="1" dirty="0">
                <a:solidFill>
                  <a:schemeClr val="bg1"/>
                </a:solidFill>
                <a:latin typeface="Arial" panose="020B0604020202020204"/>
                <a:ea typeface="MS PGothic" charset="-128"/>
              </a:rPr>
            </a:br>
            <a:r>
              <a:rPr lang="en-GB" sz="1600" b="1" dirty="0">
                <a:solidFill>
                  <a:schemeClr val="bg1"/>
                </a:solidFill>
                <a:latin typeface="Arial" panose="020B0604020202020204"/>
                <a:ea typeface="MS PGothic" charset="-128"/>
              </a:rPr>
              <a:t>&amp; Control</a:t>
            </a:r>
            <a:endParaRPr lang="en-US" sz="1600" b="1" dirty="0">
              <a:solidFill>
                <a:schemeClr val="bg1"/>
              </a:solidFill>
              <a:latin typeface="Arial" panose="020B0604020202020204"/>
              <a:ea typeface="MS PGothic" charset="-128"/>
            </a:endParaRPr>
          </a:p>
        </p:txBody>
      </p:sp>
      <p:sp>
        <p:nvSpPr>
          <p:cNvPr id="101" name="Rectangle 100">
            <a:extLst>
              <a:ext uri="{FF2B5EF4-FFF2-40B4-BE49-F238E27FC236}">
                <a16:creationId xmlns:a16="http://schemas.microsoft.com/office/drawing/2014/main" id="{19D5D9C9-F740-41E4-B438-F01F0FB113A4}"/>
              </a:ext>
            </a:extLst>
          </p:cNvPr>
          <p:cNvSpPr/>
          <p:nvPr/>
        </p:nvSpPr>
        <p:spPr>
          <a:xfrm>
            <a:off x="11726984" y="3413988"/>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a:spcBef>
                <a:spcPct val="0"/>
              </a:spcBef>
              <a:spcAft>
                <a:spcPct val="0"/>
              </a:spcAft>
            </a:pPr>
            <a:r>
              <a:rPr lang="en-GB" sz="1600" b="1" dirty="0">
                <a:solidFill>
                  <a:schemeClr val="bg1"/>
                </a:solidFill>
                <a:latin typeface="Arial" panose="020B0604020202020204"/>
                <a:ea typeface="MS PGothic"/>
              </a:rPr>
              <a:t>Operaciones de servicio continuas</a:t>
            </a:r>
            <a:endParaRPr lang="en-US" dirty="0">
              <a:solidFill>
                <a:schemeClr val="bg1"/>
              </a:solidFill>
            </a:endParaRPr>
          </a:p>
        </p:txBody>
      </p:sp>
      <p:sp>
        <p:nvSpPr>
          <p:cNvPr id="102" name="Rectangle 101">
            <a:extLst>
              <a:ext uri="{FF2B5EF4-FFF2-40B4-BE49-F238E27FC236}">
                <a16:creationId xmlns:a16="http://schemas.microsoft.com/office/drawing/2014/main" id="{F768933A-8FD7-4A7B-902C-3708D03DB359}"/>
              </a:ext>
            </a:extLst>
          </p:cNvPr>
          <p:cNvSpPr/>
          <p:nvPr/>
        </p:nvSpPr>
        <p:spPr>
          <a:xfrm>
            <a:off x="5949031" y="3366978"/>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solidFill>
                <a:latin typeface="Arial" panose="020B0604020202020204"/>
                <a:ea typeface="MS PGothic"/>
              </a:rPr>
              <a:t>CI / CD de releases</a:t>
            </a:r>
            <a:endParaRPr lang="en-GB" sz="1600" b="1" dirty="0">
              <a:solidFill>
                <a:schemeClr val="bg1"/>
              </a:solidFill>
              <a:latin typeface="Arial" panose="020B0604020202020204"/>
              <a:ea typeface="MS PGothic"/>
              <a:cs typeface="Arial"/>
            </a:endParaRPr>
          </a:p>
        </p:txBody>
      </p:sp>
      <p:sp>
        <p:nvSpPr>
          <p:cNvPr id="103" name="Rectangle 102">
            <a:extLst>
              <a:ext uri="{FF2B5EF4-FFF2-40B4-BE49-F238E27FC236}">
                <a16:creationId xmlns:a16="http://schemas.microsoft.com/office/drawing/2014/main" id="{C3136EE3-A32F-4680-8083-5ED869923028}"/>
              </a:ext>
            </a:extLst>
          </p:cNvPr>
          <p:cNvSpPr/>
          <p:nvPr/>
        </p:nvSpPr>
        <p:spPr>
          <a:xfrm>
            <a:off x="3060053" y="3366978"/>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solidFill>
                <a:latin typeface="Arial" panose="020B0604020202020204"/>
                <a:ea typeface="MS PGothic"/>
                <a:cs typeface="Arial"/>
              </a:rPr>
              <a:t>Servicios de demanda ágiles</a:t>
            </a:r>
            <a:endParaRPr lang="en-GB" sz="1600" b="1" dirty="0">
              <a:solidFill>
                <a:schemeClr val="bg1"/>
              </a:solidFill>
              <a:latin typeface="Arial" panose="020B0604020202020204"/>
              <a:ea typeface="MS PGothic" charset="-128"/>
              <a:cs typeface="Arial"/>
            </a:endParaRPr>
          </a:p>
        </p:txBody>
      </p:sp>
      <p:sp>
        <p:nvSpPr>
          <p:cNvPr id="104" name="Rectangle 103">
            <a:extLst>
              <a:ext uri="{FF2B5EF4-FFF2-40B4-BE49-F238E27FC236}">
                <a16:creationId xmlns:a16="http://schemas.microsoft.com/office/drawing/2014/main" id="{B5FE68CB-1866-4A47-92CE-910C3AF46AD8}"/>
              </a:ext>
            </a:extLst>
          </p:cNvPr>
          <p:cNvSpPr/>
          <p:nvPr/>
        </p:nvSpPr>
        <p:spPr>
          <a:xfrm>
            <a:off x="8838007" y="3413988"/>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solidFill>
                <a:ea typeface="MS PGothic" charset="-128"/>
              </a:rPr>
              <a:t>Aprovisionamiento &amp; Ejecución Automática</a:t>
            </a:r>
            <a:endParaRPr lang="en-US" sz="1600" b="1" dirty="0">
              <a:solidFill>
                <a:schemeClr val="bg1"/>
              </a:solidFill>
              <a:ea typeface="MS PGothic" charset="-128"/>
            </a:endParaRPr>
          </a:p>
        </p:txBody>
      </p:sp>
      <p:sp>
        <p:nvSpPr>
          <p:cNvPr id="105" name="Rectangle 491">
            <a:extLst>
              <a:ext uri="{FF2B5EF4-FFF2-40B4-BE49-F238E27FC236}">
                <a16:creationId xmlns:a16="http://schemas.microsoft.com/office/drawing/2014/main" id="{68DB9195-B3C3-46DA-A851-8DB33887CC72}"/>
              </a:ext>
            </a:extLst>
          </p:cNvPr>
          <p:cNvSpPr>
            <a:spLocks noChangeArrowheads="1"/>
          </p:cNvSpPr>
          <p:nvPr/>
        </p:nvSpPr>
        <p:spPr bwMode="auto">
          <a:xfrm>
            <a:off x="5949031" y="10466118"/>
            <a:ext cx="2572877" cy="973523"/>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solidFill>
                <a:latin typeface="Arial" panose="020B0604020202020204"/>
                <a:ea typeface="MS PGothic"/>
              </a:rPr>
              <a:t>Despliegue &amp; Empaquetado de releases</a:t>
            </a:r>
          </a:p>
        </p:txBody>
      </p:sp>
      <p:sp>
        <p:nvSpPr>
          <p:cNvPr id="106" name="Rectangle 491">
            <a:extLst>
              <a:ext uri="{FF2B5EF4-FFF2-40B4-BE49-F238E27FC236}">
                <a16:creationId xmlns:a16="http://schemas.microsoft.com/office/drawing/2014/main" id="{CFBDE762-6285-48E7-B808-AAFFEF8D3838}"/>
              </a:ext>
            </a:extLst>
          </p:cNvPr>
          <p:cNvSpPr>
            <a:spLocks noChangeArrowheads="1"/>
          </p:cNvSpPr>
          <p:nvPr/>
        </p:nvSpPr>
        <p:spPr bwMode="auto">
          <a:xfrm>
            <a:off x="5949031" y="8250439"/>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a:solidFill>
                  <a:srgbClr val="000000"/>
                </a:solidFill>
                <a:latin typeface="Arial"/>
                <a:ea typeface="MS PGothic"/>
                <a:cs typeface="Arial"/>
              </a:rPr>
              <a:t>Gestión &amp; Integración de APIs</a:t>
            </a:r>
          </a:p>
        </p:txBody>
      </p:sp>
      <p:sp>
        <p:nvSpPr>
          <p:cNvPr id="107" name="Rectangle 491">
            <a:extLst>
              <a:ext uri="{FF2B5EF4-FFF2-40B4-BE49-F238E27FC236}">
                <a16:creationId xmlns:a16="http://schemas.microsoft.com/office/drawing/2014/main" id="{464ADECC-8EA1-4FF3-99B8-87B6CCD37445}"/>
              </a:ext>
            </a:extLst>
          </p:cNvPr>
          <p:cNvSpPr>
            <a:spLocks noChangeArrowheads="1"/>
          </p:cNvSpPr>
          <p:nvPr/>
        </p:nvSpPr>
        <p:spPr bwMode="auto">
          <a:xfrm>
            <a:off x="3060051" y="10466118"/>
            <a:ext cx="2572877" cy="973523"/>
          </a:xfrm>
          <a:prstGeom prst="rect">
            <a:avLst/>
          </a:prstGeom>
          <a:solidFill>
            <a:schemeClr val="accent1">
              <a:lumMod val="20000"/>
              <a:lumOff val="8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a:solidFill>
                  <a:schemeClr val="tx1"/>
                </a:solidFill>
                <a:latin typeface="Arial" panose="020B0604020202020204"/>
                <a:ea typeface="MS PGothic"/>
                <a:cs typeface="+mn-cs"/>
              </a:rPr>
              <a:t>Estrategia</a:t>
            </a:r>
          </a:p>
          <a:p>
            <a:pPr defTabSz="1097280" fontAlgn="base">
              <a:spcBef>
                <a:spcPct val="0"/>
              </a:spcBef>
              <a:spcAft>
                <a:spcPct val="0"/>
              </a:spcAft>
            </a:pPr>
            <a:r>
              <a:rPr lang="en-GB" altLang="en-US" sz="1400" b="1">
                <a:solidFill>
                  <a:schemeClr val="tx1"/>
                </a:solidFill>
                <a:latin typeface="Arial" panose="020B0604020202020204"/>
                <a:ea typeface="MS PGothic"/>
                <a:cs typeface="+mn-cs"/>
              </a:rPr>
              <a:t>Talent &amp; Knowledge</a:t>
            </a:r>
          </a:p>
        </p:txBody>
      </p:sp>
      <p:sp>
        <p:nvSpPr>
          <p:cNvPr id="108" name="Rectangle 491">
            <a:extLst>
              <a:ext uri="{FF2B5EF4-FFF2-40B4-BE49-F238E27FC236}">
                <a16:creationId xmlns:a16="http://schemas.microsoft.com/office/drawing/2014/main" id="{96805C4C-7A18-4F0B-AF0C-9BFA5146C73B}"/>
              </a:ext>
            </a:extLst>
          </p:cNvPr>
          <p:cNvSpPr>
            <a:spLocks noChangeArrowheads="1"/>
          </p:cNvSpPr>
          <p:nvPr/>
        </p:nvSpPr>
        <p:spPr bwMode="auto">
          <a:xfrm>
            <a:off x="8838007" y="8250439"/>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latin typeface="Arial"/>
                <a:ea typeface="MS PGothic"/>
                <a:cs typeface="Arial"/>
              </a:rPr>
              <a:t>Gestión de la Capacidad</a:t>
            </a:r>
          </a:p>
        </p:txBody>
      </p:sp>
      <p:sp>
        <p:nvSpPr>
          <p:cNvPr id="109" name="Rectangle 491">
            <a:extLst>
              <a:ext uri="{FF2B5EF4-FFF2-40B4-BE49-F238E27FC236}">
                <a16:creationId xmlns:a16="http://schemas.microsoft.com/office/drawing/2014/main" id="{36861C15-C146-4A50-BEBD-B5EAF3ACAB6D}"/>
              </a:ext>
            </a:extLst>
          </p:cNvPr>
          <p:cNvSpPr>
            <a:spLocks noChangeArrowheads="1"/>
          </p:cNvSpPr>
          <p:nvPr/>
        </p:nvSpPr>
        <p:spPr bwMode="auto">
          <a:xfrm>
            <a:off x="8838007" y="9360274"/>
            <a:ext cx="2572877" cy="973523"/>
          </a:xfrm>
          <a:prstGeom prst="rect">
            <a:avLst/>
          </a:prstGeom>
          <a:solidFill>
            <a:schemeClr val="accent1">
              <a:lumMod val="20000"/>
              <a:lumOff val="8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a:solidFill>
                  <a:schemeClr val="tx1"/>
                </a:solidFill>
                <a:latin typeface="Arial" panose="020B0604020202020204"/>
                <a:ea typeface="MS PGothic"/>
                <a:cs typeface="+mn-cs"/>
              </a:rPr>
              <a:t>Disponibilidad &amp; Ingeniería de confiabilidad del servicio (SRE)</a:t>
            </a:r>
          </a:p>
        </p:txBody>
      </p:sp>
      <p:sp>
        <p:nvSpPr>
          <p:cNvPr id="110" name="Rectangle 491">
            <a:extLst>
              <a:ext uri="{FF2B5EF4-FFF2-40B4-BE49-F238E27FC236}">
                <a16:creationId xmlns:a16="http://schemas.microsoft.com/office/drawing/2014/main" id="{9AE9D117-CC55-4256-B3C6-E934259E1BC8}"/>
              </a:ext>
            </a:extLst>
          </p:cNvPr>
          <p:cNvSpPr>
            <a:spLocks noChangeArrowheads="1"/>
          </p:cNvSpPr>
          <p:nvPr/>
        </p:nvSpPr>
        <p:spPr bwMode="auto">
          <a:xfrm>
            <a:off x="3060053" y="8250439"/>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algn="ctr" defTabSz="1097280" fontAlgn="base">
              <a:spcBef>
                <a:spcPct val="0"/>
              </a:spcBef>
              <a:spcAft>
                <a:spcPct val="0"/>
              </a:spcAft>
            </a:pPr>
            <a:r>
              <a:rPr lang="en-GB" altLang="en-US" sz="1400" b="1" kern="0">
                <a:solidFill>
                  <a:srgbClr val="000000"/>
                </a:solidFill>
                <a:latin typeface="Arial"/>
                <a:ea typeface="MS PGothic"/>
                <a:cs typeface="Arial"/>
              </a:rPr>
              <a:t>Data Science </a:t>
            </a:r>
            <a:r>
              <a:rPr lang="en-GB" altLang="en-US" sz="1400" b="1">
                <a:latin typeface="Arial"/>
                <a:ea typeface="MS PGothic"/>
                <a:cs typeface="Arial"/>
              </a:rPr>
              <a:t>y</a:t>
            </a:r>
            <a:r>
              <a:rPr lang="en-GB" altLang="en-US" sz="1400" b="1" kern="0">
                <a:solidFill>
                  <a:srgbClr val="000000"/>
                </a:solidFill>
                <a:latin typeface="Arial"/>
                <a:ea typeface="MS PGothic"/>
                <a:cs typeface="Arial"/>
              </a:rPr>
              <a:t> Analytics</a:t>
            </a:r>
          </a:p>
        </p:txBody>
      </p:sp>
      <p:sp>
        <p:nvSpPr>
          <p:cNvPr id="111" name="Rectangle 254">
            <a:extLst>
              <a:ext uri="{FF2B5EF4-FFF2-40B4-BE49-F238E27FC236}">
                <a16:creationId xmlns:a16="http://schemas.microsoft.com/office/drawing/2014/main" id="{775D60D5-A625-442D-8FEE-7C2239461E2B}"/>
              </a:ext>
            </a:extLst>
          </p:cNvPr>
          <p:cNvSpPr>
            <a:spLocks noChangeArrowheads="1"/>
          </p:cNvSpPr>
          <p:nvPr/>
        </p:nvSpPr>
        <p:spPr bwMode="auto">
          <a:xfrm>
            <a:off x="11722367" y="6016351"/>
            <a:ext cx="2572877" cy="973523"/>
          </a:xfrm>
          <a:prstGeom prst="rect">
            <a:avLst/>
          </a:prstGeom>
          <a:solidFill>
            <a:schemeClr val="accent1">
              <a:lumMod val="20000"/>
              <a:lumOff val="80000"/>
            </a:schemeClr>
          </a:solidFill>
          <a:ln>
            <a:solidFill>
              <a:schemeClr val="accent1"/>
            </a:solidFill>
          </a:ln>
          <a:extLst>
            <a:ext uri="{91240B29-F687-4f45-9708-019B960494DF}">
              <a14:hiddenLine xmlns=""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a:solidFill>
                  <a:schemeClr val="tx1"/>
                </a:solidFill>
                <a:latin typeface="Arial" panose="020B0604020202020204"/>
                <a:ea typeface="MS PGothic"/>
                <a:cs typeface="+mn-cs"/>
              </a:rPr>
              <a:t>Gestión del rendimiento de la plataforma</a:t>
            </a:r>
          </a:p>
        </p:txBody>
      </p:sp>
      <p:sp>
        <p:nvSpPr>
          <p:cNvPr id="112" name="Rectangle 491">
            <a:extLst>
              <a:ext uri="{FF2B5EF4-FFF2-40B4-BE49-F238E27FC236}">
                <a16:creationId xmlns:a16="http://schemas.microsoft.com/office/drawing/2014/main" id="{D0DDA1A9-6DAC-443E-AAAF-1CA5919B284D}"/>
              </a:ext>
            </a:extLst>
          </p:cNvPr>
          <p:cNvSpPr>
            <a:spLocks noChangeArrowheads="1"/>
          </p:cNvSpPr>
          <p:nvPr/>
        </p:nvSpPr>
        <p:spPr bwMode="auto">
          <a:xfrm>
            <a:off x="3060053" y="7135450"/>
            <a:ext cx="2572877" cy="973523"/>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solidFill>
                <a:latin typeface="Arial" panose="020B0604020202020204"/>
                <a:ea typeface="MS PGothic"/>
                <a:cs typeface="+mn-cs"/>
              </a:rPr>
              <a:t>Introducción &amp; Cambio de los servicios de producto</a:t>
            </a:r>
          </a:p>
        </p:txBody>
      </p:sp>
      <p:sp>
        <p:nvSpPr>
          <p:cNvPr id="113" name="Rectangle 487">
            <a:extLst>
              <a:ext uri="{FF2B5EF4-FFF2-40B4-BE49-F238E27FC236}">
                <a16:creationId xmlns:a16="http://schemas.microsoft.com/office/drawing/2014/main" id="{79F9B8AD-182E-4E4F-97B1-B9362ED7F66A}"/>
              </a:ext>
            </a:extLst>
          </p:cNvPr>
          <p:cNvSpPr>
            <a:spLocks noChangeArrowheads="1"/>
          </p:cNvSpPr>
          <p:nvPr/>
        </p:nvSpPr>
        <p:spPr bwMode="auto">
          <a:xfrm>
            <a:off x="5949031" y="9360274"/>
            <a:ext cx="2572877" cy="973523"/>
          </a:xfrm>
          <a:prstGeom prst="rect">
            <a:avLst/>
          </a:prstGeom>
          <a:solidFill>
            <a:schemeClr val="accent1">
              <a:lumMod val="20000"/>
              <a:lumOff val="8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a:solidFill>
                  <a:schemeClr val="tx1"/>
                </a:solidFill>
                <a:latin typeface="Arial" panose="020B0604020202020204"/>
                <a:ea typeface="MS PGothic"/>
              </a:rPr>
              <a:t>Integración QA &amp; testing de releases</a:t>
            </a:r>
          </a:p>
        </p:txBody>
      </p:sp>
      <p:sp>
        <p:nvSpPr>
          <p:cNvPr id="114" name="Rectangle 491">
            <a:extLst>
              <a:ext uri="{FF2B5EF4-FFF2-40B4-BE49-F238E27FC236}">
                <a16:creationId xmlns:a16="http://schemas.microsoft.com/office/drawing/2014/main" id="{12349EAF-8A3A-4E22-8115-8C4DEB08EA59}"/>
              </a:ext>
            </a:extLst>
          </p:cNvPr>
          <p:cNvSpPr>
            <a:spLocks noChangeArrowheads="1"/>
          </p:cNvSpPr>
          <p:nvPr/>
        </p:nvSpPr>
        <p:spPr bwMode="auto">
          <a:xfrm>
            <a:off x="8838007" y="4903089"/>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latin typeface="Arial"/>
                <a:ea typeface="MS PGothic"/>
                <a:cs typeface="Arial"/>
              </a:rPr>
              <a:t>Orquestación &amp; Accesos de servicios</a:t>
            </a:r>
          </a:p>
        </p:txBody>
      </p:sp>
      <p:sp>
        <p:nvSpPr>
          <p:cNvPr id="115" name="Rectangle 491">
            <a:extLst>
              <a:ext uri="{FF2B5EF4-FFF2-40B4-BE49-F238E27FC236}">
                <a16:creationId xmlns:a16="http://schemas.microsoft.com/office/drawing/2014/main" id="{9AAD18AC-6B2E-428D-95BD-65ECFA7A261B}"/>
              </a:ext>
            </a:extLst>
          </p:cNvPr>
          <p:cNvSpPr>
            <a:spLocks noChangeArrowheads="1"/>
          </p:cNvSpPr>
          <p:nvPr/>
        </p:nvSpPr>
        <p:spPr bwMode="auto">
          <a:xfrm>
            <a:off x="5931918" y="6020461"/>
            <a:ext cx="2572877" cy="973523"/>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solidFill>
                <a:latin typeface="Arial" panose="020B0604020202020204"/>
                <a:ea typeface="MS PGothic"/>
                <a:cs typeface="+mn-cs"/>
              </a:rPr>
              <a:t>Gestión &amp; Configuración de versiones</a:t>
            </a:r>
          </a:p>
        </p:txBody>
      </p:sp>
      <p:sp>
        <p:nvSpPr>
          <p:cNvPr id="116" name="Rectangle 255">
            <a:extLst>
              <a:ext uri="{FF2B5EF4-FFF2-40B4-BE49-F238E27FC236}">
                <a16:creationId xmlns:a16="http://schemas.microsoft.com/office/drawing/2014/main" id="{A708ACBD-CA2D-4122-A21C-176DCC5D7A1E}"/>
              </a:ext>
            </a:extLst>
          </p:cNvPr>
          <p:cNvSpPr>
            <a:spLocks noChangeArrowheads="1"/>
          </p:cNvSpPr>
          <p:nvPr/>
        </p:nvSpPr>
        <p:spPr bwMode="auto">
          <a:xfrm>
            <a:off x="14658613" y="7131338"/>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a:latin typeface="Arial"/>
                <a:ea typeface="MS PGothic"/>
                <a:cs typeface="Arial"/>
              </a:rPr>
              <a:t>Abastecimiento y gestión de Partners</a:t>
            </a:r>
          </a:p>
        </p:txBody>
      </p:sp>
      <p:sp>
        <p:nvSpPr>
          <p:cNvPr id="3" name="TextBox 2">
            <a:extLst>
              <a:ext uri="{FF2B5EF4-FFF2-40B4-BE49-F238E27FC236}">
                <a16:creationId xmlns:a16="http://schemas.microsoft.com/office/drawing/2014/main" id="{7C9A69CC-954F-4269-8A2C-CF90808D4286}"/>
              </a:ext>
            </a:extLst>
          </p:cNvPr>
          <p:cNvSpPr txBox="1"/>
          <p:nvPr/>
        </p:nvSpPr>
        <p:spPr>
          <a:xfrm>
            <a:off x="701192" y="2068872"/>
            <a:ext cx="21394880" cy="5539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GB" dirty="0">
                <a:cs typeface="Arial"/>
              </a:rPr>
              <a:t> A continuación se detallan los principales </a:t>
            </a:r>
            <a:r>
              <a:rPr lang="en-GB" b="1" dirty="0">
                <a:solidFill>
                  <a:srgbClr val="C00000"/>
                </a:solidFill>
                <a:cs typeface="Arial"/>
              </a:rPr>
              <a:t>procesos operacionales </a:t>
            </a:r>
            <a:r>
              <a:rPr lang="en-GB" dirty="0">
                <a:cs typeface="Arial"/>
              </a:rPr>
              <a:t>del servicio Go Cloud.</a:t>
            </a:r>
          </a:p>
        </p:txBody>
      </p:sp>
      <p:sp>
        <p:nvSpPr>
          <p:cNvPr id="69" name="TextBox 74">
            <a:extLst>
              <a:ext uri="{FF2B5EF4-FFF2-40B4-BE49-F238E27FC236}">
                <a16:creationId xmlns:a16="http://schemas.microsoft.com/office/drawing/2014/main" id="{1453F6C6-C5BE-426B-AFB8-4B8D80126E92}"/>
              </a:ext>
            </a:extLst>
          </p:cNvPr>
          <p:cNvSpPr txBox="1"/>
          <p:nvPr/>
        </p:nvSpPr>
        <p:spPr>
          <a:xfrm>
            <a:off x="650240" y="541319"/>
            <a:ext cx="22611504" cy="1138773"/>
          </a:xfrm>
          <a:prstGeom prst="rect">
            <a:avLst/>
          </a:prstGeom>
          <a:noFill/>
        </p:spPr>
        <p:txBody>
          <a:bodyPr wrap="square" rtlCol="0" anchor="t">
            <a:spAutoFit/>
          </a:bodyPr>
          <a:lstStyle/>
          <a:p>
            <a:pPr algn="l"/>
            <a:r>
              <a:rPr lang="en-GB" sz="4000" b="1" kern="1200" dirty="0">
                <a:solidFill>
                  <a:srgbClr val="C00000"/>
                </a:solidFill>
              </a:rPr>
              <a:t>Principales procesos operativos</a:t>
            </a:r>
          </a:p>
          <a:p>
            <a:pPr algn="l"/>
            <a:r>
              <a:rPr lang="en-GB" altLang="en-US" sz="2800" kern="1200" dirty="0">
                <a:solidFill>
                  <a:schemeClr val="tx1"/>
                </a:solidFill>
              </a:rPr>
              <a:t>Procesos operativos clave</a:t>
            </a:r>
            <a:endParaRPr lang="en-US" altLang="en-US" sz="2800" kern="1200" dirty="0">
              <a:solidFill>
                <a:schemeClr val="tx1"/>
              </a:solidFill>
            </a:endParaRPr>
          </a:p>
        </p:txBody>
      </p:sp>
      <p:sp>
        <p:nvSpPr>
          <p:cNvPr id="70" name="Rectangle 499">
            <a:extLst>
              <a:ext uri="{FF2B5EF4-FFF2-40B4-BE49-F238E27FC236}">
                <a16:creationId xmlns:a16="http://schemas.microsoft.com/office/drawing/2014/main" id="{E3161C0D-491A-4058-A840-A7284B21ABA1}"/>
              </a:ext>
            </a:extLst>
          </p:cNvPr>
          <p:cNvSpPr>
            <a:spLocks noChangeArrowheads="1"/>
          </p:cNvSpPr>
          <p:nvPr/>
        </p:nvSpPr>
        <p:spPr bwMode="auto">
          <a:xfrm>
            <a:off x="18687342" y="5568588"/>
            <a:ext cx="2572877" cy="973523"/>
          </a:xfrm>
          <a:prstGeom prst="rect">
            <a:avLst/>
          </a:prstGeom>
          <a:solidFill>
            <a:schemeClr val="accent1">
              <a:lumMod val="20000"/>
              <a:lumOff val="8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defTabSz="912813" eaLnBrk="0" fontAlgn="base" hangingPunct="0">
              <a:spcBef>
                <a:spcPct val="0"/>
              </a:spcBef>
              <a:spcAft>
                <a:spcPct val="0"/>
              </a:spcAft>
              <a:defRPr>
                <a:solidFill>
                  <a:schemeClr val="tx1"/>
                </a:solidFill>
                <a:latin typeface="Arial" charset="0"/>
                <a:ea typeface="MS PGothic" charset="-128"/>
              </a:defRPr>
            </a:lvl6pPr>
            <a:lvl7pPr marL="2971800" indent="-228600" defTabSz="912813" eaLnBrk="0" fontAlgn="base" hangingPunct="0">
              <a:spcBef>
                <a:spcPct val="0"/>
              </a:spcBef>
              <a:spcAft>
                <a:spcPct val="0"/>
              </a:spcAft>
              <a:defRPr>
                <a:solidFill>
                  <a:schemeClr val="tx1"/>
                </a:solidFill>
                <a:latin typeface="Arial" charset="0"/>
                <a:ea typeface="MS PGothic" charset="-128"/>
              </a:defRPr>
            </a:lvl7pPr>
            <a:lvl8pPr marL="3429000" indent="-228600" defTabSz="912813" eaLnBrk="0" fontAlgn="base" hangingPunct="0">
              <a:spcBef>
                <a:spcPct val="0"/>
              </a:spcBef>
              <a:spcAft>
                <a:spcPct val="0"/>
              </a:spcAft>
              <a:defRPr>
                <a:solidFill>
                  <a:schemeClr val="tx1"/>
                </a:solidFill>
                <a:latin typeface="Arial" charset="0"/>
                <a:ea typeface="MS PGothic" charset="-128"/>
              </a:defRPr>
            </a:lvl8pPr>
            <a:lvl9pPr marL="3886200" indent="-228600" defTabSz="912813" eaLnBrk="0" fontAlgn="base" hangingPunct="0">
              <a:spcBef>
                <a:spcPct val="0"/>
              </a:spcBef>
              <a:spcAft>
                <a:spcPct val="0"/>
              </a:spcAft>
              <a:defRPr>
                <a:solidFill>
                  <a:schemeClr val="tx1"/>
                </a:solidFill>
                <a:latin typeface="Arial" charset="0"/>
                <a:ea typeface="MS PGothic" charset="-128"/>
              </a:defRPr>
            </a:lvl9pPr>
          </a:lstStyle>
          <a:p>
            <a:pPr defTabSz="1097280" fontAlgn="base">
              <a:spcBef>
                <a:spcPct val="0"/>
              </a:spcBef>
              <a:spcAft>
                <a:spcPct val="0"/>
              </a:spcAft>
            </a:pPr>
            <a:r>
              <a:rPr lang="en-US" altLang="en-US" sz="1400" b="1">
                <a:latin typeface="Arial" panose="020B0604020202020204"/>
                <a:ea typeface="MS PGothic"/>
              </a:rPr>
              <a:t>Procesos definidos  en</a:t>
            </a:r>
          </a:p>
          <a:p>
            <a:pPr defTabSz="1097280" fontAlgn="base">
              <a:spcBef>
                <a:spcPct val="0"/>
              </a:spcBef>
              <a:spcAft>
                <a:spcPct val="0"/>
              </a:spcAft>
            </a:pPr>
            <a:r>
              <a:rPr lang="en-US" altLang="en-US" sz="1400" b="1">
                <a:latin typeface="Arial" panose="020B0604020202020204"/>
                <a:ea typeface="MS PGothic"/>
              </a:rPr>
              <a:t>Fase 1</a:t>
            </a:r>
          </a:p>
        </p:txBody>
      </p:sp>
      <p:sp>
        <p:nvSpPr>
          <p:cNvPr id="71" name="CuadroTexto 70">
            <a:extLst>
              <a:ext uri="{FF2B5EF4-FFF2-40B4-BE49-F238E27FC236}">
                <a16:creationId xmlns:a16="http://schemas.microsoft.com/office/drawing/2014/main" id="{F676AB65-77DB-4A78-A643-4620598C8FD4}"/>
              </a:ext>
            </a:extLst>
          </p:cNvPr>
          <p:cNvSpPr txBox="1"/>
          <p:nvPr/>
        </p:nvSpPr>
        <p:spPr>
          <a:xfrm>
            <a:off x="3368857" y="11838170"/>
            <a:ext cx="11777584" cy="369332"/>
          </a:xfrm>
          <a:prstGeom prst="rect">
            <a:avLst/>
          </a:prstGeom>
          <a:noFill/>
        </p:spPr>
        <p:txBody>
          <a:bodyPr wrap="none" rtlCol="0">
            <a:spAutoFit/>
          </a:bodyPr>
          <a:lstStyle/>
          <a:p>
            <a:r>
              <a:rPr lang="es-ES" sz="1800" dirty="0"/>
              <a:t>* En algún caso la definición de los procesos no se ha podido completar por falta de información. Tarea de Fase II</a:t>
            </a:r>
          </a:p>
        </p:txBody>
      </p:sp>
      <p:sp>
        <p:nvSpPr>
          <p:cNvPr id="4" name="Elipse 3">
            <a:extLst>
              <a:ext uri="{FF2B5EF4-FFF2-40B4-BE49-F238E27FC236}">
                <a16:creationId xmlns:a16="http://schemas.microsoft.com/office/drawing/2014/main" id="{BC09FDB8-7C50-4D82-BEE6-2D5AC402DF7B}"/>
              </a:ext>
            </a:extLst>
          </p:cNvPr>
          <p:cNvSpPr/>
          <p:nvPr/>
        </p:nvSpPr>
        <p:spPr>
          <a:xfrm>
            <a:off x="18543672" y="5400216"/>
            <a:ext cx="2860218" cy="1337069"/>
          </a:xfrm>
          <a:prstGeom prst="ellipse">
            <a:avLst/>
          </a:prstGeom>
          <a:noFill/>
          <a:ln w="28575">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7" name="Rectángulo 6">
            <a:extLst>
              <a:ext uri="{FF2B5EF4-FFF2-40B4-BE49-F238E27FC236}">
                <a16:creationId xmlns:a16="http://schemas.microsoft.com/office/drawing/2014/main" id="{5DB232DE-94AF-42DE-B97E-FC0F25A8A697}"/>
              </a:ext>
            </a:extLst>
          </p:cNvPr>
          <p:cNvSpPr/>
          <p:nvPr/>
        </p:nvSpPr>
        <p:spPr>
          <a:xfrm>
            <a:off x="11997877" y="6581001"/>
            <a:ext cx="388248" cy="553998"/>
          </a:xfrm>
          <a:prstGeom prst="rect">
            <a:avLst/>
          </a:prstGeom>
        </p:spPr>
        <p:txBody>
          <a:bodyPr wrap="none">
            <a:spAutoFit/>
          </a:bodyPr>
          <a:lstStyle/>
          <a:p>
            <a:r>
              <a:rPr lang="es-ES" dirty="0">
                <a:latin typeface="Times New Roman" panose="02020603050405020304" pitchFamily="18" charset="0"/>
              </a:rPr>
              <a:t> </a:t>
            </a:r>
            <a:r>
              <a:rPr lang="es-ES" dirty="0"/>
              <a:t> </a:t>
            </a:r>
          </a:p>
        </p:txBody>
      </p:sp>
      <p:sp>
        <p:nvSpPr>
          <p:cNvPr id="74" name="Elipse 73">
            <a:extLst>
              <a:ext uri="{FF2B5EF4-FFF2-40B4-BE49-F238E27FC236}">
                <a16:creationId xmlns:a16="http://schemas.microsoft.com/office/drawing/2014/main" id="{32FBA90B-B4B0-4DB9-9904-FEF2D6ECC6CE}"/>
              </a:ext>
            </a:extLst>
          </p:cNvPr>
          <p:cNvSpPr/>
          <p:nvPr/>
        </p:nvSpPr>
        <p:spPr>
          <a:xfrm>
            <a:off x="5829971" y="10315539"/>
            <a:ext cx="2860218" cy="1337069"/>
          </a:xfrm>
          <a:prstGeom prst="ellipse">
            <a:avLst/>
          </a:prstGeom>
          <a:noFill/>
          <a:ln w="28575">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75" name="Elipse 74">
            <a:extLst>
              <a:ext uri="{FF2B5EF4-FFF2-40B4-BE49-F238E27FC236}">
                <a16:creationId xmlns:a16="http://schemas.microsoft.com/office/drawing/2014/main" id="{F6A84FF0-A497-48AE-A35A-B9CE299D0C4D}"/>
              </a:ext>
            </a:extLst>
          </p:cNvPr>
          <p:cNvSpPr/>
          <p:nvPr/>
        </p:nvSpPr>
        <p:spPr>
          <a:xfrm>
            <a:off x="5822812" y="9148021"/>
            <a:ext cx="2860218" cy="1337069"/>
          </a:xfrm>
          <a:prstGeom prst="ellipse">
            <a:avLst/>
          </a:prstGeom>
          <a:noFill/>
          <a:ln w="28575">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76" name="Elipse 75">
            <a:extLst>
              <a:ext uri="{FF2B5EF4-FFF2-40B4-BE49-F238E27FC236}">
                <a16:creationId xmlns:a16="http://schemas.microsoft.com/office/drawing/2014/main" id="{D7F53372-1B9A-4A65-BDDD-28E16B34BF7C}"/>
              </a:ext>
            </a:extLst>
          </p:cNvPr>
          <p:cNvSpPr/>
          <p:nvPr/>
        </p:nvSpPr>
        <p:spPr>
          <a:xfrm>
            <a:off x="5831811" y="6980048"/>
            <a:ext cx="2860218" cy="1337069"/>
          </a:xfrm>
          <a:prstGeom prst="ellipse">
            <a:avLst/>
          </a:prstGeom>
          <a:noFill/>
          <a:ln w="28575">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77" name="Elipse 76">
            <a:extLst>
              <a:ext uri="{FF2B5EF4-FFF2-40B4-BE49-F238E27FC236}">
                <a16:creationId xmlns:a16="http://schemas.microsoft.com/office/drawing/2014/main" id="{1563E63D-4710-4352-A6DD-8D87570B2EC2}"/>
              </a:ext>
            </a:extLst>
          </p:cNvPr>
          <p:cNvSpPr/>
          <p:nvPr/>
        </p:nvSpPr>
        <p:spPr>
          <a:xfrm>
            <a:off x="8701755" y="5887243"/>
            <a:ext cx="2860218" cy="1337069"/>
          </a:xfrm>
          <a:prstGeom prst="ellipse">
            <a:avLst/>
          </a:prstGeom>
          <a:noFill/>
          <a:ln w="28575">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Tree>
    <p:extLst>
      <p:ext uri="{BB962C8B-B14F-4D97-AF65-F5344CB8AC3E}">
        <p14:creationId xmlns:p14="http://schemas.microsoft.com/office/powerpoint/2010/main" val="338303353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grpSp>
        <p:nvGrpSpPr>
          <p:cNvPr id="170" name="Group 1452">
            <a:extLst>
              <a:ext uri="{FF2B5EF4-FFF2-40B4-BE49-F238E27FC236}">
                <a16:creationId xmlns:a16="http://schemas.microsoft.com/office/drawing/2014/main" id="{F5DDB166-B6F1-4DCA-B74F-6E3419615308}"/>
              </a:ext>
            </a:extLst>
          </p:cNvPr>
          <p:cNvGrpSpPr>
            <a:grpSpLocks noChangeAspect="1"/>
          </p:cNvGrpSpPr>
          <p:nvPr/>
        </p:nvGrpSpPr>
        <p:grpSpPr bwMode="auto">
          <a:xfrm>
            <a:off x="799542" y="3178352"/>
            <a:ext cx="672464" cy="432436"/>
            <a:chOff x="4967340" y="2057401"/>
            <a:chExt cx="492125" cy="315912"/>
          </a:xfrm>
          <a:solidFill>
            <a:srgbClr val="FFFFFF"/>
          </a:solidFill>
        </p:grpSpPr>
        <p:sp>
          <p:nvSpPr>
            <p:cNvPr id="171" name="Freeform 93">
              <a:extLst>
                <a:ext uri="{FF2B5EF4-FFF2-40B4-BE49-F238E27FC236}">
                  <a16:creationId xmlns:a16="http://schemas.microsoft.com/office/drawing/2014/main" id="{3E36C31E-E7B8-4961-9F7B-6DA4A5DE3D1C}"/>
                </a:ext>
              </a:extLst>
            </p:cNvPr>
            <p:cNvSpPr>
              <a:spLocks noEditPoints="1"/>
            </p:cNvSpPr>
            <p:nvPr/>
          </p:nvSpPr>
          <p:spPr bwMode="auto">
            <a:xfrm>
              <a:off x="4967340" y="2089151"/>
              <a:ext cx="492125" cy="261938"/>
            </a:xfrm>
            <a:custGeom>
              <a:avLst/>
              <a:gdLst>
                <a:gd name="T0" fmla="*/ 2147483646 w 485"/>
                <a:gd name="T1" fmla="*/ 2147483646 h 259"/>
                <a:gd name="T2" fmla="*/ 2147483646 w 485"/>
                <a:gd name="T3" fmla="*/ 2147483646 h 259"/>
                <a:gd name="T4" fmla="*/ 2147483646 w 485"/>
                <a:gd name="T5" fmla="*/ 0 h 259"/>
                <a:gd name="T6" fmla="*/ 2147483646 w 485"/>
                <a:gd name="T7" fmla="*/ 2147483646 h 259"/>
                <a:gd name="T8" fmla="*/ 2147483646 w 485"/>
                <a:gd name="T9" fmla="*/ 2147483646 h 259"/>
                <a:gd name="T10" fmla="*/ 2147483646 w 485"/>
                <a:gd name="T11" fmla="*/ 2147483646 h 259"/>
                <a:gd name="T12" fmla="*/ 0 w 485"/>
                <a:gd name="T13" fmla="*/ 2147483646 h 259"/>
                <a:gd name="T14" fmla="*/ 2147483646 w 485"/>
                <a:gd name="T15" fmla="*/ 2147483646 h 259"/>
                <a:gd name="T16" fmla="*/ 2147483646 w 485"/>
                <a:gd name="T17" fmla="*/ 2147483646 h 259"/>
                <a:gd name="T18" fmla="*/ 2147483646 w 485"/>
                <a:gd name="T19" fmla="*/ 2147483646 h 259"/>
                <a:gd name="T20" fmla="*/ 2147483646 w 485"/>
                <a:gd name="T21" fmla="*/ 2147483646 h 259"/>
                <a:gd name="T22" fmla="*/ 2147483646 w 485"/>
                <a:gd name="T23" fmla="*/ 2147483646 h 259"/>
                <a:gd name="T24" fmla="*/ 2147483646 w 485"/>
                <a:gd name="T25" fmla="*/ 2147483646 h 259"/>
                <a:gd name="T26" fmla="*/ 2147483646 w 485"/>
                <a:gd name="T27" fmla="*/ 2147483646 h 259"/>
                <a:gd name="T28" fmla="*/ 2147483646 w 485"/>
                <a:gd name="T29" fmla="*/ 2147483646 h 259"/>
                <a:gd name="T30" fmla="*/ 2147483646 w 485"/>
                <a:gd name="T31" fmla="*/ 2147483646 h 259"/>
                <a:gd name="T32" fmla="*/ 2147483646 w 485"/>
                <a:gd name="T33" fmla="*/ 2147483646 h 259"/>
                <a:gd name="T34" fmla="*/ 2147483646 w 485"/>
                <a:gd name="T35" fmla="*/ 0 h 259"/>
                <a:gd name="T36" fmla="*/ 2147483646 w 485"/>
                <a:gd name="T37" fmla="*/ 2147483646 h 259"/>
                <a:gd name="T38" fmla="*/ 2147483646 w 485"/>
                <a:gd name="T39" fmla="*/ 2147483646 h 259"/>
                <a:gd name="T40" fmla="*/ 2147483646 w 485"/>
                <a:gd name="T41" fmla="*/ 2147483646 h 259"/>
                <a:gd name="T42" fmla="*/ 2147483646 w 485"/>
                <a:gd name="T43" fmla="*/ 2147483646 h 259"/>
                <a:gd name="T44" fmla="*/ 2147483646 w 485"/>
                <a:gd name="T45" fmla="*/ 2147483646 h 259"/>
                <a:gd name="T46" fmla="*/ 2147483646 w 485"/>
                <a:gd name="T47" fmla="*/ 2147483646 h 259"/>
                <a:gd name="T48" fmla="*/ 2147483646 w 485"/>
                <a:gd name="T49" fmla="*/ 2147483646 h 259"/>
                <a:gd name="T50" fmla="*/ 2147483646 w 485"/>
                <a:gd name="T51" fmla="*/ 2147483646 h 259"/>
                <a:gd name="T52" fmla="*/ 2147483646 w 485"/>
                <a:gd name="T53" fmla="*/ 2147483646 h 25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85" h="259">
                  <a:moveTo>
                    <a:pt x="152" y="39"/>
                  </a:moveTo>
                  <a:cubicBezTo>
                    <a:pt x="152" y="28"/>
                    <a:pt x="154" y="18"/>
                    <a:pt x="157" y="9"/>
                  </a:cubicBezTo>
                  <a:cubicBezTo>
                    <a:pt x="147" y="3"/>
                    <a:pt x="136" y="0"/>
                    <a:pt x="123" y="0"/>
                  </a:cubicBezTo>
                  <a:cubicBezTo>
                    <a:pt x="88" y="0"/>
                    <a:pt x="60" y="25"/>
                    <a:pt x="60" y="65"/>
                  </a:cubicBezTo>
                  <a:cubicBezTo>
                    <a:pt x="60" y="97"/>
                    <a:pt x="78" y="128"/>
                    <a:pt x="103" y="140"/>
                  </a:cubicBezTo>
                  <a:cubicBezTo>
                    <a:pt x="103" y="165"/>
                    <a:pt x="103" y="165"/>
                    <a:pt x="103" y="165"/>
                  </a:cubicBezTo>
                  <a:cubicBezTo>
                    <a:pt x="22" y="170"/>
                    <a:pt x="6" y="204"/>
                    <a:pt x="0" y="247"/>
                  </a:cubicBezTo>
                  <a:cubicBezTo>
                    <a:pt x="84" y="259"/>
                    <a:pt x="84" y="259"/>
                    <a:pt x="84" y="259"/>
                  </a:cubicBezTo>
                  <a:cubicBezTo>
                    <a:pt x="84" y="245"/>
                    <a:pt x="84" y="245"/>
                    <a:pt x="84" y="245"/>
                  </a:cubicBezTo>
                  <a:cubicBezTo>
                    <a:pt x="88" y="219"/>
                    <a:pt x="94" y="192"/>
                    <a:pt x="114" y="171"/>
                  </a:cubicBezTo>
                  <a:cubicBezTo>
                    <a:pt x="131" y="153"/>
                    <a:pt x="159" y="140"/>
                    <a:pt x="202" y="135"/>
                  </a:cubicBezTo>
                  <a:cubicBezTo>
                    <a:pt x="202" y="135"/>
                    <a:pt x="202" y="135"/>
                    <a:pt x="202" y="135"/>
                  </a:cubicBezTo>
                  <a:cubicBezTo>
                    <a:pt x="173" y="116"/>
                    <a:pt x="152" y="79"/>
                    <a:pt x="152" y="39"/>
                  </a:cubicBezTo>
                  <a:close/>
                  <a:moveTo>
                    <a:pt x="481" y="229"/>
                  </a:moveTo>
                  <a:cubicBezTo>
                    <a:pt x="472" y="194"/>
                    <a:pt x="450" y="169"/>
                    <a:pt x="382" y="165"/>
                  </a:cubicBezTo>
                  <a:cubicBezTo>
                    <a:pt x="382" y="140"/>
                    <a:pt x="382" y="140"/>
                    <a:pt x="382" y="140"/>
                  </a:cubicBezTo>
                  <a:cubicBezTo>
                    <a:pt x="407" y="128"/>
                    <a:pt x="425" y="97"/>
                    <a:pt x="425" y="65"/>
                  </a:cubicBezTo>
                  <a:cubicBezTo>
                    <a:pt x="425" y="25"/>
                    <a:pt x="397" y="0"/>
                    <a:pt x="361" y="0"/>
                  </a:cubicBezTo>
                  <a:cubicBezTo>
                    <a:pt x="349" y="0"/>
                    <a:pt x="338" y="3"/>
                    <a:pt x="328" y="9"/>
                  </a:cubicBezTo>
                  <a:cubicBezTo>
                    <a:pt x="331" y="18"/>
                    <a:pt x="333" y="28"/>
                    <a:pt x="333" y="39"/>
                  </a:cubicBezTo>
                  <a:cubicBezTo>
                    <a:pt x="333" y="79"/>
                    <a:pt x="312" y="116"/>
                    <a:pt x="283" y="135"/>
                  </a:cubicBezTo>
                  <a:cubicBezTo>
                    <a:pt x="283" y="135"/>
                    <a:pt x="283" y="135"/>
                    <a:pt x="283" y="135"/>
                  </a:cubicBezTo>
                  <a:cubicBezTo>
                    <a:pt x="324" y="139"/>
                    <a:pt x="352" y="151"/>
                    <a:pt x="369" y="168"/>
                  </a:cubicBezTo>
                  <a:cubicBezTo>
                    <a:pt x="391" y="189"/>
                    <a:pt x="397" y="218"/>
                    <a:pt x="401" y="245"/>
                  </a:cubicBezTo>
                  <a:cubicBezTo>
                    <a:pt x="401" y="259"/>
                    <a:pt x="401" y="259"/>
                    <a:pt x="401" y="259"/>
                  </a:cubicBezTo>
                  <a:cubicBezTo>
                    <a:pt x="485" y="247"/>
                    <a:pt x="485" y="247"/>
                    <a:pt x="485" y="247"/>
                  </a:cubicBezTo>
                  <a:cubicBezTo>
                    <a:pt x="484" y="241"/>
                    <a:pt x="483" y="235"/>
                    <a:pt x="481" y="2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72" name="Freeform 94">
              <a:extLst>
                <a:ext uri="{FF2B5EF4-FFF2-40B4-BE49-F238E27FC236}">
                  <a16:creationId xmlns:a16="http://schemas.microsoft.com/office/drawing/2014/main" id="{365455E5-B369-46AD-AE1C-84DF6BB22B2D}"/>
                </a:ext>
              </a:extLst>
            </p:cNvPr>
            <p:cNvSpPr>
              <a:spLocks/>
            </p:cNvSpPr>
            <p:nvPr/>
          </p:nvSpPr>
          <p:spPr bwMode="auto">
            <a:xfrm>
              <a:off x="5138790" y="2057401"/>
              <a:ext cx="149225" cy="169863"/>
            </a:xfrm>
            <a:custGeom>
              <a:avLst/>
              <a:gdLst>
                <a:gd name="T0" fmla="*/ 2147483646 w 147"/>
                <a:gd name="T1" fmla="*/ 2147483646 h 166"/>
                <a:gd name="T2" fmla="*/ 2147483646 w 147"/>
                <a:gd name="T3" fmla="*/ 2147483646 h 166"/>
                <a:gd name="T4" fmla="*/ 2147483646 w 147"/>
                <a:gd name="T5" fmla="*/ 2147483646 h 166"/>
                <a:gd name="T6" fmla="*/ 2147483646 w 147"/>
                <a:gd name="T7" fmla="*/ 0 h 166"/>
                <a:gd name="T8" fmla="*/ 0 w 147"/>
                <a:gd name="T9" fmla="*/ 2147483646 h 166"/>
                <a:gd name="T10" fmla="*/ 2147483646 w 147"/>
                <a:gd name="T11" fmla="*/ 2147483646 h 166"/>
                <a:gd name="T12" fmla="*/ 2147483646 w 147"/>
                <a:gd name="T13" fmla="*/ 2147483646 h 16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7" h="166">
                  <a:moveTo>
                    <a:pt x="74" y="166"/>
                  </a:moveTo>
                  <a:cubicBezTo>
                    <a:pt x="86" y="166"/>
                    <a:pt x="97" y="160"/>
                    <a:pt x="97" y="160"/>
                  </a:cubicBezTo>
                  <a:cubicBezTo>
                    <a:pt x="126" y="147"/>
                    <a:pt x="147" y="111"/>
                    <a:pt x="147" y="74"/>
                  </a:cubicBezTo>
                  <a:cubicBezTo>
                    <a:pt x="147" y="29"/>
                    <a:pt x="114" y="0"/>
                    <a:pt x="73" y="0"/>
                  </a:cubicBezTo>
                  <a:cubicBezTo>
                    <a:pt x="33" y="0"/>
                    <a:pt x="0" y="29"/>
                    <a:pt x="0" y="74"/>
                  </a:cubicBezTo>
                  <a:cubicBezTo>
                    <a:pt x="0" y="111"/>
                    <a:pt x="21" y="147"/>
                    <a:pt x="50" y="160"/>
                  </a:cubicBezTo>
                  <a:cubicBezTo>
                    <a:pt x="50" y="160"/>
                    <a:pt x="62" y="166"/>
                    <a:pt x="74" y="1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73" name="Freeform 95">
              <a:extLst>
                <a:ext uri="{FF2B5EF4-FFF2-40B4-BE49-F238E27FC236}">
                  <a16:creationId xmlns:a16="http://schemas.microsoft.com/office/drawing/2014/main" id="{7FB9A977-7E69-49BE-8AFC-E15F75CCAA82}"/>
                </a:ext>
              </a:extLst>
            </p:cNvPr>
            <p:cNvSpPr>
              <a:spLocks/>
            </p:cNvSpPr>
            <p:nvPr/>
          </p:nvSpPr>
          <p:spPr bwMode="auto">
            <a:xfrm>
              <a:off x="5226103" y="2239963"/>
              <a:ext cx="131763" cy="133350"/>
            </a:xfrm>
            <a:custGeom>
              <a:avLst/>
              <a:gdLst>
                <a:gd name="T0" fmla="*/ 2147483646 w 129"/>
                <a:gd name="T1" fmla="*/ 2147483646 h 130"/>
                <a:gd name="T2" fmla="*/ 2147483646 w 129"/>
                <a:gd name="T3" fmla="*/ 0 h 130"/>
                <a:gd name="T4" fmla="*/ 0 w 129"/>
                <a:gd name="T5" fmla="*/ 2147483646 h 130"/>
                <a:gd name="T6" fmla="*/ 2147483646 w 129"/>
                <a:gd name="T7" fmla="*/ 2147483646 h 130"/>
                <a:gd name="T8" fmla="*/ 2147483646 w 129"/>
                <a:gd name="T9" fmla="*/ 2147483646 h 13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0">
                  <a:moveTo>
                    <a:pt x="127" y="80"/>
                  </a:moveTo>
                  <a:cubicBezTo>
                    <a:pt x="118" y="39"/>
                    <a:pt x="104" y="7"/>
                    <a:pt x="30" y="0"/>
                  </a:cubicBezTo>
                  <a:cubicBezTo>
                    <a:pt x="0" y="130"/>
                    <a:pt x="0" y="130"/>
                    <a:pt x="0" y="130"/>
                  </a:cubicBezTo>
                  <a:cubicBezTo>
                    <a:pt x="90" y="129"/>
                    <a:pt x="129" y="118"/>
                    <a:pt x="129" y="118"/>
                  </a:cubicBezTo>
                  <a:cubicBezTo>
                    <a:pt x="128" y="113"/>
                    <a:pt x="128" y="85"/>
                    <a:pt x="127"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74" name="Freeform 96">
              <a:extLst>
                <a:ext uri="{FF2B5EF4-FFF2-40B4-BE49-F238E27FC236}">
                  <a16:creationId xmlns:a16="http://schemas.microsoft.com/office/drawing/2014/main" id="{786E8F80-3B67-4685-8713-73C5C055B48A}"/>
                </a:ext>
              </a:extLst>
            </p:cNvPr>
            <p:cNvSpPr>
              <a:spLocks/>
            </p:cNvSpPr>
            <p:nvPr/>
          </p:nvSpPr>
          <p:spPr bwMode="auto">
            <a:xfrm>
              <a:off x="5070528" y="2239963"/>
              <a:ext cx="130175" cy="133350"/>
            </a:xfrm>
            <a:custGeom>
              <a:avLst/>
              <a:gdLst>
                <a:gd name="T0" fmla="*/ 2147483646 w 129"/>
                <a:gd name="T1" fmla="*/ 2147483646 h 131"/>
                <a:gd name="T2" fmla="*/ 0 w 129"/>
                <a:gd name="T3" fmla="*/ 2147483646 h 131"/>
                <a:gd name="T4" fmla="*/ 2147483646 w 129"/>
                <a:gd name="T5" fmla="*/ 2147483646 h 131"/>
                <a:gd name="T6" fmla="*/ 2147483646 w 129"/>
                <a:gd name="T7" fmla="*/ 0 h 131"/>
                <a:gd name="T8" fmla="*/ 2147483646 w 129"/>
                <a:gd name="T9" fmla="*/ 2147483646 h 1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1">
                  <a:moveTo>
                    <a:pt x="2" y="82"/>
                  </a:moveTo>
                  <a:cubicBezTo>
                    <a:pt x="1" y="86"/>
                    <a:pt x="0" y="114"/>
                    <a:pt x="0" y="118"/>
                  </a:cubicBezTo>
                  <a:cubicBezTo>
                    <a:pt x="0" y="118"/>
                    <a:pt x="33" y="130"/>
                    <a:pt x="129" y="131"/>
                  </a:cubicBezTo>
                  <a:cubicBezTo>
                    <a:pt x="99" y="0"/>
                    <a:pt x="99" y="0"/>
                    <a:pt x="99" y="0"/>
                  </a:cubicBezTo>
                  <a:cubicBezTo>
                    <a:pt x="23" y="7"/>
                    <a:pt x="10" y="40"/>
                    <a:pt x="2"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75" name="Freeform 97">
              <a:extLst>
                <a:ext uri="{FF2B5EF4-FFF2-40B4-BE49-F238E27FC236}">
                  <a16:creationId xmlns:a16="http://schemas.microsoft.com/office/drawing/2014/main" id="{5ABDBDDF-0E39-4FFE-A314-7F75E07A43CB}"/>
                </a:ext>
              </a:extLst>
            </p:cNvPr>
            <p:cNvSpPr>
              <a:spLocks/>
            </p:cNvSpPr>
            <p:nvPr/>
          </p:nvSpPr>
          <p:spPr bwMode="auto">
            <a:xfrm>
              <a:off x="5197528" y="2241551"/>
              <a:ext cx="31750" cy="17463"/>
            </a:xfrm>
            <a:custGeom>
              <a:avLst/>
              <a:gdLst>
                <a:gd name="T0" fmla="*/ 2147483646 w 31"/>
                <a:gd name="T1" fmla="*/ 2147483646 h 17"/>
                <a:gd name="T2" fmla="*/ 0 w 31"/>
                <a:gd name="T3" fmla="*/ 0 h 17"/>
                <a:gd name="T4" fmla="*/ 2147483646 w 31"/>
                <a:gd name="T5" fmla="*/ 2147483646 h 17"/>
                <a:gd name="T6" fmla="*/ 2147483646 w 31"/>
                <a:gd name="T7" fmla="*/ 2147483646 h 17"/>
                <a:gd name="T8" fmla="*/ 2147483646 w 31"/>
                <a:gd name="T9" fmla="*/ 0 h 17"/>
                <a:gd name="T10" fmla="*/ 2147483646 w 31"/>
                <a:gd name="T11" fmla="*/ 2147483646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1" h="17">
                  <a:moveTo>
                    <a:pt x="15" y="1"/>
                  </a:moveTo>
                  <a:cubicBezTo>
                    <a:pt x="7" y="1"/>
                    <a:pt x="0" y="0"/>
                    <a:pt x="0" y="0"/>
                  </a:cubicBezTo>
                  <a:cubicBezTo>
                    <a:pt x="7" y="17"/>
                    <a:pt x="7" y="17"/>
                    <a:pt x="7" y="17"/>
                  </a:cubicBezTo>
                  <a:cubicBezTo>
                    <a:pt x="24" y="17"/>
                    <a:pt x="24" y="17"/>
                    <a:pt x="24" y="17"/>
                  </a:cubicBezTo>
                  <a:cubicBezTo>
                    <a:pt x="31" y="0"/>
                    <a:pt x="31" y="0"/>
                    <a:pt x="31" y="0"/>
                  </a:cubicBezTo>
                  <a:cubicBezTo>
                    <a:pt x="31" y="0"/>
                    <a:pt x="25" y="1"/>
                    <a:pt x="1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76" name="Freeform 98">
              <a:extLst>
                <a:ext uri="{FF2B5EF4-FFF2-40B4-BE49-F238E27FC236}">
                  <a16:creationId xmlns:a16="http://schemas.microsoft.com/office/drawing/2014/main" id="{B41EAE00-0F30-48F0-9F92-5E509E596045}"/>
                </a:ext>
              </a:extLst>
            </p:cNvPr>
            <p:cNvSpPr>
              <a:spLocks/>
            </p:cNvSpPr>
            <p:nvPr/>
          </p:nvSpPr>
          <p:spPr bwMode="auto">
            <a:xfrm>
              <a:off x="5197528" y="2270126"/>
              <a:ext cx="31750" cy="100013"/>
            </a:xfrm>
            <a:custGeom>
              <a:avLst/>
              <a:gdLst>
                <a:gd name="T0" fmla="*/ 2147483646 w 20"/>
                <a:gd name="T1" fmla="*/ 2147483646 h 63"/>
                <a:gd name="T2" fmla="*/ 2147483646 w 20"/>
                <a:gd name="T3" fmla="*/ 0 h 63"/>
                <a:gd name="T4" fmla="*/ 2147483646 w 20"/>
                <a:gd name="T5" fmla="*/ 0 h 63"/>
                <a:gd name="T6" fmla="*/ 0 w 20"/>
                <a:gd name="T7" fmla="*/ 2147483646 h 63"/>
                <a:gd name="T8" fmla="*/ 2147483646 w 20"/>
                <a:gd name="T9" fmla="*/ 2147483646 h 63"/>
                <a:gd name="T10" fmla="*/ 2147483646 w 20"/>
                <a:gd name="T11" fmla="*/ 2147483646 h 6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63">
                  <a:moveTo>
                    <a:pt x="20" y="19"/>
                  </a:moveTo>
                  <a:lnTo>
                    <a:pt x="16" y="0"/>
                  </a:lnTo>
                  <a:lnTo>
                    <a:pt x="6" y="0"/>
                  </a:lnTo>
                  <a:lnTo>
                    <a:pt x="0" y="19"/>
                  </a:lnTo>
                  <a:lnTo>
                    <a:pt x="10" y="63"/>
                  </a:lnTo>
                  <a:lnTo>
                    <a:pt x="2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77" name="Freeform 99">
              <a:extLst>
                <a:ext uri="{FF2B5EF4-FFF2-40B4-BE49-F238E27FC236}">
                  <a16:creationId xmlns:a16="http://schemas.microsoft.com/office/drawing/2014/main" id="{7410FAFA-4C42-4AA6-BB12-65B473DA1E94}"/>
                </a:ext>
              </a:extLst>
            </p:cNvPr>
            <p:cNvSpPr>
              <a:spLocks/>
            </p:cNvSpPr>
            <p:nvPr/>
          </p:nvSpPr>
          <p:spPr bwMode="auto">
            <a:xfrm>
              <a:off x="5261028" y="2312988"/>
              <a:ext cx="50800" cy="12700"/>
            </a:xfrm>
            <a:custGeom>
              <a:avLst/>
              <a:gdLst>
                <a:gd name="T0" fmla="*/ 2147483646 w 32"/>
                <a:gd name="T1" fmla="*/ 2147483646 h 8"/>
                <a:gd name="T2" fmla="*/ 0 w 32"/>
                <a:gd name="T3" fmla="*/ 2147483646 h 8"/>
                <a:gd name="T4" fmla="*/ 0 w 32"/>
                <a:gd name="T5" fmla="*/ 0 h 8"/>
                <a:gd name="T6" fmla="*/ 2147483646 w 32"/>
                <a:gd name="T7" fmla="*/ 0 h 8"/>
                <a:gd name="T8" fmla="*/ 2147483646 w 32"/>
                <a:gd name="T9" fmla="*/ 0 h 8"/>
                <a:gd name="T10" fmla="*/ 2147483646 w 32"/>
                <a:gd name="T11" fmla="*/ 2147483646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 h="8">
                  <a:moveTo>
                    <a:pt x="32" y="8"/>
                  </a:moveTo>
                  <a:lnTo>
                    <a:pt x="0" y="8"/>
                  </a:lnTo>
                  <a:lnTo>
                    <a:pt x="0" y="0"/>
                  </a:lnTo>
                  <a:lnTo>
                    <a:pt x="19" y="0"/>
                  </a:lnTo>
                  <a:lnTo>
                    <a:pt x="32" y="0"/>
                  </a:lnTo>
                  <a:lnTo>
                    <a:pt x="3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grpSp>
      <p:grpSp>
        <p:nvGrpSpPr>
          <p:cNvPr id="178" name="Group 1452">
            <a:extLst>
              <a:ext uri="{FF2B5EF4-FFF2-40B4-BE49-F238E27FC236}">
                <a16:creationId xmlns:a16="http://schemas.microsoft.com/office/drawing/2014/main" id="{22078CD5-7AFF-4542-BF3A-010BAEC5D221}"/>
              </a:ext>
            </a:extLst>
          </p:cNvPr>
          <p:cNvGrpSpPr>
            <a:grpSpLocks noChangeAspect="1"/>
          </p:cNvGrpSpPr>
          <p:nvPr/>
        </p:nvGrpSpPr>
        <p:grpSpPr bwMode="auto">
          <a:xfrm>
            <a:off x="834571" y="5860793"/>
            <a:ext cx="672464" cy="432436"/>
            <a:chOff x="4967340" y="2057401"/>
            <a:chExt cx="492125" cy="315912"/>
          </a:xfrm>
          <a:solidFill>
            <a:srgbClr val="FFFFFF"/>
          </a:solidFill>
        </p:grpSpPr>
        <p:sp>
          <p:nvSpPr>
            <p:cNvPr id="179" name="Freeform 93">
              <a:extLst>
                <a:ext uri="{FF2B5EF4-FFF2-40B4-BE49-F238E27FC236}">
                  <a16:creationId xmlns:a16="http://schemas.microsoft.com/office/drawing/2014/main" id="{896621CF-ED4E-4E6D-A737-1F5A737CE1FF}"/>
                </a:ext>
              </a:extLst>
            </p:cNvPr>
            <p:cNvSpPr>
              <a:spLocks noEditPoints="1"/>
            </p:cNvSpPr>
            <p:nvPr/>
          </p:nvSpPr>
          <p:spPr bwMode="auto">
            <a:xfrm>
              <a:off x="4967340" y="2089151"/>
              <a:ext cx="492125" cy="261938"/>
            </a:xfrm>
            <a:custGeom>
              <a:avLst/>
              <a:gdLst>
                <a:gd name="T0" fmla="*/ 2147483646 w 485"/>
                <a:gd name="T1" fmla="*/ 2147483646 h 259"/>
                <a:gd name="T2" fmla="*/ 2147483646 w 485"/>
                <a:gd name="T3" fmla="*/ 2147483646 h 259"/>
                <a:gd name="T4" fmla="*/ 2147483646 w 485"/>
                <a:gd name="T5" fmla="*/ 0 h 259"/>
                <a:gd name="T6" fmla="*/ 2147483646 w 485"/>
                <a:gd name="T7" fmla="*/ 2147483646 h 259"/>
                <a:gd name="T8" fmla="*/ 2147483646 w 485"/>
                <a:gd name="T9" fmla="*/ 2147483646 h 259"/>
                <a:gd name="T10" fmla="*/ 2147483646 w 485"/>
                <a:gd name="T11" fmla="*/ 2147483646 h 259"/>
                <a:gd name="T12" fmla="*/ 0 w 485"/>
                <a:gd name="T13" fmla="*/ 2147483646 h 259"/>
                <a:gd name="T14" fmla="*/ 2147483646 w 485"/>
                <a:gd name="T15" fmla="*/ 2147483646 h 259"/>
                <a:gd name="T16" fmla="*/ 2147483646 w 485"/>
                <a:gd name="T17" fmla="*/ 2147483646 h 259"/>
                <a:gd name="T18" fmla="*/ 2147483646 w 485"/>
                <a:gd name="T19" fmla="*/ 2147483646 h 259"/>
                <a:gd name="T20" fmla="*/ 2147483646 w 485"/>
                <a:gd name="T21" fmla="*/ 2147483646 h 259"/>
                <a:gd name="T22" fmla="*/ 2147483646 w 485"/>
                <a:gd name="T23" fmla="*/ 2147483646 h 259"/>
                <a:gd name="T24" fmla="*/ 2147483646 w 485"/>
                <a:gd name="T25" fmla="*/ 2147483646 h 259"/>
                <a:gd name="T26" fmla="*/ 2147483646 w 485"/>
                <a:gd name="T27" fmla="*/ 2147483646 h 259"/>
                <a:gd name="T28" fmla="*/ 2147483646 w 485"/>
                <a:gd name="T29" fmla="*/ 2147483646 h 259"/>
                <a:gd name="T30" fmla="*/ 2147483646 w 485"/>
                <a:gd name="T31" fmla="*/ 2147483646 h 259"/>
                <a:gd name="T32" fmla="*/ 2147483646 w 485"/>
                <a:gd name="T33" fmla="*/ 2147483646 h 259"/>
                <a:gd name="T34" fmla="*/ 2147483646 w 485"/>
                <a:gd name="T35" fmla="*/ 0 h 259"/>
                <a:gd name="T36" fmla="*/ 2147483646 w 485"/>
                <a:gd name="T37" fmla="*/ 2147483646 h 259"/>
                <a:gd name="T38" fmla="*/ 2147483646 w 485"/>
                <a:gd name="T39" fmla="*/ 2147483646 h 259"/>
                <a:gd name="T40" fmla="*/ 2147483646 w 485"/>
                <a:gd name="T41" fmla="*/ 2147483646 h 259"/>
                <a:gd name="T42" fmla="*/ 2147483646 w 485"/>
                <a:gd name="T43" fmla="*/ 2147483646 h 259"/>
                <a:gd name="T44" fmla="*/ 2147483646 w 485"/>
                <a:gd name="T45" fmla="*/ 2147483646 h 259"/>
                <a:gd name="T46" fmla="*/ 2147483646 w 485"/>
                <a:gd name="T47" fmla="*/ 2147483646 h 259"/>
                <a:gd name="T48" fmla="*/ 2147483646 w 485"/>
                <a:gd name="T49" fmla="*/ 2147483646 h 259"/>
                <a:gd name="T50" fmla="*/ 2147483646 w 485"/>
                <a:gd name="T51" fmla="*/ 2147483646 h 259"/>
                <a:gd name="T52" fmla="*/ 2147483646 w 485"/>
                <a:gd name="T53" fmla="*/ 2147483646 h 25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85" h="259">
                  <a:moveTo>
                    <a:pt x="152" y="39"/>
                  </a:moveTo>
                  <a:cubicBezTo>
                    <a:pt x="152" y="28"/>
                    <a:pt x="154" y="18"/>
                    <a:pt x="157" y="9"/>
                  </a:cubicBezTo>
                  <a:cubicBezTo>
                    <a:pt x="147" y="3"/>
                    <a:pt x="136" y="0"/>
                    <a:pt x="123" y="0"/>
                  </a:cubicBezTo>
                  <a:cubicBezTo>
                    <a:pt x="88" y="0"/>
                    <a:pt x="60" y="25"/>
                    <a:pt x="60" y="65"/>
                  </a:cubicBezTo>
                  <a:cubicBezTo>
                    <a:pt x="60" y="97"/>
                    <a:pt x="78" y="128"/>
                    <a:pt x="103" y="140"/>
                  </a:cubicBezTo>
                  <a:cubicBezTo>
                    <a:pt x="103" y="165"/>
                    <a:pt x="103" y="165"/>
                    <a:pt x="103" y="165"/>
                  </a:cubicBezTo>
                  <a:cubicBezTo>
                    <a:pt x="22" y="170"/>
                    <a:pt x="6" y="204"/>
                    <a:pt x="0" y="247"/>
                  </a:cubicBezTo>
                  <a:cubicBezTo>
                    <a:pt x="84" y="259"/>
                    <a:pt x="84" y="259"/>
                    <a:pt x="84" y="259"/>
                  </a:cubicBezTo>
                  <a:cubicBezTo>
                    <a:pt x="84" y="245"/>
                    <a:pt x="84" y="245"/>
                    <a:pt x="84" y="245"/>
                  </a:cubicBezTo>
                  <a:cubicBezTo>
                    <a:pt x="88" y="219"/>
                    <a:pt x="94" y="192"/>
                    <a:pt x="114" y="171"/>
                  </a:cubicBezTo>
                  <a:cubicBezTo>
                    <a:pt x="131" y="153"/>
                    <a:pt x="159" y="140"/>
                    <a:pt x="202" y="135"/>
                  </a:cubicBezTo>
                  <a:cubicBezTo>
                    <a:pt x="202" y="135"/>
                    <a:pt x="202" y="135"/>
                    <a:pt x="202" y="135"/>
                  </a:cubicBezTo>
                  <a:cubicBezTo>
                    <a:pt x="173" y="116"/>
                    <a:pt x="152" y="79"/>
                    <a:pt x="152" y="39"/>
                  </a:cubicBezTo>
                  <a:close/>
                  <a:moveTo>
                    <a:pt x="481" y="229"/>
                  </a:moveTo>
                  <a:cubicBezTo>
                    <a:pt x="472" y="194"/>
                    <a:pt x="450" y="169"/>
                    <a:pt x="382" y="165"/>
                  </a:cubicBezTo>
                  <a:cubicBezTo>
                    <a:pt x="382" y="140"/>
                    <a:pt x="382" y="140"/>
                    <a:pt x="382" y="140"/>
                  </a:cubicBezTo>
                  <a:cubicBezTo>
                    <a:pt x="407" y="128"/>
                    <a:pt x="425" y="97"/>
                    <a:pt x="425" y="65"/>
                  </a:cubicBezTo>
                  <a:cubicBezTo>
                    <a:pt x="425" y="25"/>
                    <a:pt x="397" y="0"/>
                    <a:pt x="361" y="0"/>
                  </a:cubicBezTo>
                  <a:cubicBezTo>
                    <a:pt x="349" y="0"/>
                    <a:pt x="338" y="3"/>
                    <a:pt x="328" y="9"/>
                  </a:cubicBezTo>
                  <a:cubicBezTo>
                    <a:pt x="331" y="18"/>
                    <a:pt x="333" y="28"/>
                    <a:pt x="333" y="39"/>
                  </a:cubicBezTo>
                  <a:cubicBezTo>
                    <a:pt x="333" y="79"/>
                    <a:pt x="312" y="116"/>
                    <a:pt x="283" y="135"/>
                  </a:cubicBezTo>
                  <a:cubicBezTo>
                    <a:pt x="283" y="135"/>
                    <a:pt x="283" y="135"/>
                    <a:pt x="283" y="135"/>
                  </a:cubicBezTo>
                  <a:cubicBezTo>
                    <a:pt x="324" y="139"/>
                    <a:pt x="352" y="151"/>
                    <a:pt x="369" y="168"/>
                  </a:cubicBezTo>
                  <a:cubicBezTo>
                    <a:pt x="391" y="189"/>
                    <a:pt x="397" y="218"/>
                    <a:pt x="401" y="245"/>
                  </a:cubicBezTo>
                  <a:cubicBezTo>
                    <a:pt x="401" y="259"/>
                    <a:pt x="401" y="259"/>
                    <a:pt x="401" y="259"/>
                  </a:cubicBezTo>
                  <a:cubicBezTo>
                    <a:pt x="485" y="247"/>
                    <a:pt x="485" y="247"/>
                    <a:pt x="485" y="247"/>
                  </a:cubicBezTo>
                  <a:cubicBezTo>
                    <a:pt x="484" y="241"/>
                    <a:pt x="483" y="235"/>
                    <a:pt x="481" y="2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80" name="Freeform 94">
              <a:extLst>
                <a:ext uri="{FF2B5EF4-FFF2-40B4-BE49-F238E27FC236}">
                  <a16:creationId xmlns:a16="http://schemas.microsoft.com/office/drawing/2014/main" id="{240E6FA8-226D-4225-B5E6-13C7E80F6950}"/>
                </a:ext>
              </a:extLst>
            </p:cNvPr>
            <p:cNvSpPr>
              <a:spLocks/>
            </p:cNvSpPr>
            <p:nvPr/>
          </p:nvSpPr>
          <p:spPr bwMode="auto">
            <a:xfrm>
              <a:off x="5138790" y="2057401"/>
              <a:ext cx="149225" cy="169863"/>
            </a:xfrm>
            <a:custGeom>
              <a:avLst/>
              <a:gdLst>
                <a:gd name="T0" fmla="*/ 2147483646 w 147"/>
                <a:gd name="T1" fmla="*/ 2147483646 h 166"/>
                <a:gd name="T2" fmla="*/ 2147483646 w 147"/>
                <a:gd name="T3" fmla="*/ 2147483646 h 166"/>
                <a:gd name="T4" fmla="*/ 2147483646 w 147"/>
                <a:gd name="T5" fmla="*/ 2147483646 h 166"/>
                <a:gd name="T6" fmla="*/ 2147483646 w 147"/>
                <a:gd name="T7" fmla="*/ 0 h 166"/>
                <a:gd name="T8" fmla="*/ 0 w 147"/>
                <a:gd name="T9" fmla="*/ 2147483646 h 166"/>
                <a:gd name="T10" fmla="*/ 2147483646 w 147"/>
                <a:gd name="T11" fmla="*/ 2147483646 h 166"/>
                <a:gd name="T12" fmla="*/ 2147483646 w 147"/>
                <a:gd name="T13" fmla="*/ 2147483646 h 16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7" h="166">
                  <a:moveTo>
                    <a:pt x="74" y="166"/>
                  </a:moveTo>
                  <a:cubicBezTo>
                    <a:pt x="86" y="166"/>
                    <a:pt x="97" y="160"/>
                    <a:pt x="97" y="160"/>
                  </a:cubicBezTo>
                  <a:cubicBezTo>
                    <a:pt x="126" y="147"/>
                    <a:pt x="147" y="111"/>
                    <a:pt x="147" y="74"/>
                  </a:cubicBezTo>
                  <a:cubicBezTo>
                    <a:pt x="147" y="29"/>
                    <a:pt x="114" y="0"/>
                    <a:pt x="73" y="0"/>
                  </a:cubicBezTo>
                  <a:cubicBezTo>
                    <a:pt x="33" y="0"/>
                    <a:pt x="0" y="29"/>
                    <a:pt x="0" y="74"/>
                  </a:cubicBezTo>
                  <a:cubicBezTo>
                    <a:pt x="0" y="111"/>
                    <a:pt x="21" y="147"/>
                    <a:pt x="50" y="160"/>
                  </a:cubicBezTo>
                  <a:cubicBezTo>
                    <a:pt x="50" y="160"/>
                    <a:pt x="62" y="166"/>
                    <a:pt x="74" y="1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81" name="Freeform 95">
              <a:extLst>
                <a:ext uri="{FF2B5EF4-FFF2-40B4-BE49-F238E27FC236}">
                  <a16:creationId xmlns:a16="http://schemas.microsoft.com/office/drawing/2014/main" id="{B99ECE5B-9989-4C91-9F28-A208F824D051}"/>
                </a:ext>
              </a:extLst>
            </p:cNvPr>
            <p:cNvSpPr>
              <a:spLocks/>
            </p:cNvSpPr>
            <p:nvPr/>
          </p:nvSpPr>
          <p:spPr bwMode="auto">
            <a:xfrm>
              <a:off x="5226103" y="2239963"/>
              <a:ext cx="131763" cy="133350"/>
            </a:xfrm>
            <a:custGeom>
              <a:avLst/>
              <a:gdLst>
                <a:gd name="T0" fmla="*/ 2147483646 w 129"/>
                <a:gd name="T1" fmla="*/ 2147483646 h 130"/>
                <a:gd name="T2" fmla="*/ 2147483646 w 129"/>
                <a:gd name="T3" fmla="*/ 0 h 130"/>
                <a:gd name="T4" fmla="*/ 0 w 129"/>
                <a:gd name="T5" fmla="*/ 2147483646 h 130"/>
                <a:gd name="T6" fmla="*/ 2147483646 w 129"/>
                <a:gd name="T7" fmla="*/ 2147483646 h 130"/>
                <a:gd name="T8" fmla="*/ 2147483646 w 129"/>
                <a:gd name="T9" fmla="*/ 2147483646 h 13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0">
                  <a:moveTo>
                    <a:pt x="127" y="80"/>
                  </a:moveTo>
                  <a:cubicBezTo>
                    <a:pt x="118" y="39"/>
                    <a:pt x="104" y="7"/>
                    <a:pt x="30" y="0"/>
                  </a:cubicBezTo>
                  <a:cubicBezTo>
                    <a:pt x="0" y="130"/>
                    <a:pt x="0" y="130"/>
                    <a:pt x="0" y="130"/>
                  </a:cubicBezTo>
                  <a:cubicBezTo>
                    <a:pt x="90" y="129"/>
                    <a:pt x="129" y="118"/>
                    <a:pt x="129" y="118"/>
                  </a:cubicBezTo>
                  <a:cubicBezTo>
                    <a:pt x="128" y="113"/>
                    <a:pt x="128" y="85"/>
                    <a:pt x="127"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82" name="Freeform 96">
              <a:extLst>
                <a:ext uri="{FF2B5EF4-FFF2-40B4-BE49-F238E27FC236}">
                  <a16:creationId xmlns:a16="http://schemas.microsoft.com/office/drawing/2014/main" id="{4619CC47-5A8B-4474-95EC-654368F55828}"/>
                </a:ext>
              </a:extLst>
            </p:cNvPr>
            <p:cNvSpPr>
              <a:spLocks/>
            </p:cNvSpPr>
            <p:nvPr/>
          </p:nvSpPr>
          <p:spPr bwMode="auto">
            <a:xfrm>
              <a:off x="5070528" y="2239963"/>
              <a:ext cx="130175" cy="133350"/>
            </a:xfrm>
            <a:custGeom>
              <a:avLst/>
              <a:gdLst>
                <a:gd name="T0" fmla="*/ 2147483646 w 129"/>
                <a:gd name="T1" fmla="*/ 2147483646 h 131"/>
                <a:gd name="T2" fmla="*/ 0 w 129"/>
                <a:gd name="T3" fmla="*/ 2147483646 h 131"/>
                <a:gd name="T4" fmla="*/ 2147483646 w 129"/>
                <a:gd name="T5" fmla="*/ 2147483646 h 131"/>
                <a:gd name="T6" fmla="*/ 2147483646 w 129"/>
                <a:gd name="T7" fmla="*/ 0 h 131"/>
                <a:gd name="T8" fmla="*/ 2147483646 w 129"/>
                <a:gd name="T9" fmla="*/ 2147483646 h 1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1">
                  <a:moveTo>
                    <a:pt x="2" y="82"/>
                  </a:moveTo>
                  <a:cubicBezTo>
                    <a:pt x="1" y="86"/>
                    <a:pt x="0" y="114"/>
                    <a:pt x="0" y="118"/>
                  </a:cubicBezTo>
                  <a:cubicBezTo>
                    <a:pt x="0" y="118"/>
                    <a:pt x="33" y="130"/>
                    <a:pt x="129" y="131"/>
                  </a:cubicBezTo>
                  <a:cubicBezTo>
                    <a:pt x="99" y="0"/>
                    <a:pt x="99" y="0"/>
                    <a:pt x="99" y="0"/>
                  </a:cubicBezTo>
                  <a:cubicBezTo>
                    <a:pt x="23" y="7"/>
                    <a:pt x="10" y="40"/>
                    <a:pt x="2"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83" name="Freeform 97">
              <a:extLst>
                <a:ext uri="{FF2B5EF4-FFF2-40B4-BE49-F238E27FC236}">
                  <a16:creationId xmlns:a16="http://schemas.microsoft.com/office/drawing/2014/main" id="{F86FF88B-E278-456B-B695-855F85F39783}"/>
                </a:ext>
              </a:extLst>
            </p:cNvPr>
            <p:cNvSpPr>
              <a:spLocks/>
            </p:cNvSpPr>
            <p:nvPr/>
          </p:nvSpPr>
          <p:spPr bwMode="auto">
            <a:xfrm>
              <a:off x="5197528" y="2241551"/>
              <a:ext cx="31750" cy="17463"/>
            </a:xfrm>
            <a:custGeom>
              <a:avLst/>
              <a:gdLst>
                <a:gd name="T0" fmla="*/ 2147483646 w 31"/>
                <a:gd name="T1" fmla="*/ 2147483646 h 17"/>
                <a:gd name="T2" fmla="*/ 0 w 31"/>
                <a:gd name="T3" fmla="*/ 0 h 17"/>
                <a:gd name="T4" fmla="*/ 2147483646 w 31"/>
                <a:gd name="T5" fmla="*/ 2147483646 h 17"/>
                <a:gd name="T6" fmla="*/ 2147483646 w 31"/>
                <a:gd name="T7" fmla="*/ 2147483646 h 17"/>
                <a:gd name="T8" fmla="*/ 2147483646 w 31"/>
                <a:gd name="T9" fmla="*/ 0 h 17"/>
                <a:gd name="T10" fmla="*/ 2147483646 w 31"/>
                <a:gd name="T11" fmla="*/ 2147483646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1" h="17">
                  <a:moveTo>
                    <a:pt x="15" y="1"/>
                  </a:moveTo>
                  <a:cubicBezTo>
                    <a:pt x="7" y="1"/>
                    <a:pt x="0" y="0"/>
                    <a:pt x="0" y="0"/>
                  </a:cubicBezTo>
                  <a:cubicBezTo>
                    <a:pt x="7" y="17"/>
                    <a:pt x="7" y="17"/>
                    <a:pt x="7" y="17"/>
                  </a:cubicBezTo>
                  <a:cubicBezTo>
                    <a:pt x="24" y="17"/>
                    <a:pt x="24" y="17"/>
                    <a:pt x="24" y="17"/>
                  </a:cubicBezTo>
                  <a:cubicBezTo>
                    <a:pt x="31" y="0"/>
                    <a:pt x="31" y="0"/>
                    <a:pt x="31" y="0"/>
                  </a:cubicBezTo>
                  <a:cubicBezTo>
                    <a:pt x="31" y="0"/>
                    <a:pt x="25" y="1"/>
                    <a:pt x="1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84" name="Freeform 98">
              <a:extLst>
                <a:ext uri="{FF2B5EF4-FFF2-40B4-BE49-F238E27FC236}">
                  <a16:creationId xmlns:a16="http://schemas.microsoft.com/office/drawing/2014/main" id="{0ECF6E45-DE59-4B42-A345-FBBF4FA786C4}"/>
                </a:ext>
              </a:extLst>
            </p:cNvPr>
            <p:cNvSpPr>
              <a:spLocks/>
            </p:cNvSpPr>
            <p:nvPr/>
          </p:nvSpPr>
          <p:spPr bwMode="auto">
            <a:xfrm>
              <a:off x="5197528" y="2270126"/>
              <a:ext cx="31750" cy="100013"/>
            </a:xfrm>
            <a:custGeom>
              <a:avLst/>
              <a:gdLst>
                <a:gd name="T0" fmla="*/ 2147483646 w 20"/>
                <a:gd name="T1" fmla="*/ 2147483646 h 63"/>
                <a:gd name="T2" fmla="*/ 2147483646 w 20"/>
                <a:gd name="T3" fmla="*/ 0 h 63"/>
                <a:gd name="T4" fmla="*/ 2147483646 w 20"/>
                <a:gd name="T5" fmla="*/ 0 h 63"/>
                <a:gd name="T6" fmla="*/ 0 w 20"/>
                <a:gd name="T7" fmla="*/ 2147483646 h 63"/>
                <a:gd name="T8" fmla="*/ 2147483646 w 20"/>
                <a:gd name="T9" fmla="*/ 2147483646 h 63"/>
                <a:gd name="T10" fmla="*/ 2147483646 w 20"/>
                <a:gd name="T11" fmla="*/ 2147483646 h 6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63">
                  <a:moveTo>
                    <a:pt x="20" y="19"/>
                  </a:moveTo>
                  <a:lnTo>
                    <a:pt x="16" y="0"/>
                  </a:lnTo>
                  <a:lnTo>
                    <a:pt x="6" y="0"/>
                  </a:lnTo>
                  <a:lnTo>
                    <a:pt x="0" y="19"/>
                  </a:lnTo>
                  <a:lnTo>
                    <a:pt x="10" y="63"/>
                  </a:lnTo>
                  <a:lnTo>
                    <a:pt x="2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85" name="Freeform 99">
              <a:extLst>
                <a:ext uri="{FF2B5EF4-FFF2-40B4-BE49-F238E27FC236}">
                  <a16:creationId xmlns:a16="http://schemas.microsoft.com/office/drawing/2014/main" id="{FB28D520-8B3D-4969-AC5D-7F09FC3A3B92}"/>
                </a:ext>
              </a:extLst>
            </p:cNvPr>
            <p:cNvSpPr>
              <a:spLocks/>
            </p:cNvSpPr>
            <p:nvPr/>
          </p:nvSpPr>
          <p:spPr bwMode="auto">
            <a:xfrm>
              <a:off x="5261028" y="2312988"/>
              <a:ext cx="50800" cy="12700"/>
            </a:xfrm>
            <a:custGeom>
              <a:avLst/>
              <a:gdLst>
                <a:gd name="T0" fmla="*/ 2147483646 w 32"/>
                <a:gd name="T1" fmla="*/ 2147483646 h 8"/>
                <a:gd name="T2" fmla="*/ 0 w 32"/>
                <a:gd name="T3" fmla="*/ 2147483646 h 8"/>
                <a:gd name="T4" fmla="*/ 0 w 32"/>
                <a:gd name="T5" fmla="*/ 0 h 8"/>
                <a:gd name="T6" fmla="*/ 2147483646 w 32"/>
                <a:gd name="T7" fmla="*/ 0 h 8"/>
                <a:gd name="T8" fmla="*/ 2147483646 w 32"/>
                <a:gd name="T9" fmla="*/ 0 h 8"/>
                <a:gd name="T10" fmla="*/ 2147483646 w 32"/>
                <a:gd name="T11" fmla="*/ 2147483646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 h="8">
                  <a:moveTo>
                    <a:pt x="32" y="8"/>
                  </a:moveTo>
                  <a:lnTo>
                    <a:pt x="0" y="8"/>
                  </a:lnTo>
                  <a:lnTo>
                    <a:pt x="0" y="0"/>
                  </a:lnTo>
                  <a:lnTo>
                    <a:pt x="19" y="0"/>
                  </a:lnTo>
                  <a:lnTo>
                    <a:pt x="32" y="0"/>
                  </a:lnTo>
                  <a:lnTo>
                    <a:pt x="3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grpSp>
      <p:sp>
        <p:nvSpPr>
          <p:cNvPr id="248" name="Freeform 93">
            <a:extLst>
              <a:ext uri="{FF2B5EF4-FFF2-40B4-BE49-F238E27FC236}">
                <a16:creationId xmlns:a16="http://schemas.microsoft.com/office/drawing/2014/main" id="{DFA08D17-6113-4313-A801-61891899DE14}"/>
              </a:ext>
            </a:extLst>
          </p:cNvPr>
          <p:cNvSpPr>
            <a:spLocks noEditPoints="1"/>
          </p:cNvSpPr>
          <p:nvPr/>
        </p:nvSpPr>
        <p:spPr bwMode="auto">
          <a:xfrm>
            <a:off x="19539220" y="10196515"/>
            <a:ext cx="1082437" cy="577150"/>
          </a:xfrm>
          <a:custGeom>
            <a:avLst/>
            <a:gdLst>
              <a:gd name="T0" fmla="*/ 2147483646 w 485"/>
              <a:gd name="T1" fmla="*/ 2147483646 h 259"/>
              <a:gd name="T2" fmla="*/ 2147483646 w 485"/>
              <a:gd name="T3" fmla="*/ 2147483646 h 259"/>
              <a:gd name="T4" fmla="*/ 2147483646 w 485"/>
              <a:gd name="T5" fmla="*/ 0 h 259"/>
              <a:gd name="T6" fmla="*/ 2147483646 w 485"/>
              <a:gd name="T7" fmla="*/ 2147483646 h 259"/>
              <a:gd name="T8" fmla="*/ 2147483646 w 485"/>
              <a:gd name="T9" fmla="*/ 2147483646 h 259"/>
              <a:gd name="T10" fmla="*/ 2147483646 w 485"/>
              <a:gd name="T11" fmla="*/ 2147483646 h 259"/>
              <a:gd name="T12" fmla="*/ 0 w 485"/>
              <a:gd name="T13" fmla="*/ 2147483646 h 259"/>
              <a:gd name="T14" fmla="*/ 2147483646 w 485"/>
              <a:gd name="T15" fmla="*/ 2147483646 h 259"/>
              <a:gd name="T16" fmla="*/ 2147483646 w 485"/>
              <a:gd name="T17" fmla="*/ 2147483646 h 259"/>
              <a:gd name="T18" fmla="*/ 2147483646 w 485"/>
              <a:gd name="T19" fmla="*/ 2147483646 h 259"/>
              <a:gd name="T20" fmla="*/ 2147483646 w 485"/>
              <a:gd name="T21" fmla="*/ 2147483646 h 259"/>
              <a:gd name="T22" fmla="*/ 2147483646 w 485"/>
              <a:gd name="T23" fmla="*/ 2147483646 h 259"/>
              <a:gd name="T24" fmla="*/ 2147483646 w 485"/>
              <a:gd name="T25" fmla="*/ 2147483646 h 259"/>
              <a:gd name="T26" fmla="*/ 2147483646 w 485"/>
              <a:gd name="T27" fmla="*/ 2147483646 h 259"/>
              <a:gd name="T28" fmla="*/ 2147483646 w 485"/>
              <a:gd name="T29" fmla="*/ 2147483646 h 259"/>
              <a:gd name="T30" fmla="*/ 2147483646 w 485"/>
              <a:gd name="T31" fmla="*/ 2147483646 h 259"/>
              <a:gd name="T32" fmla="*/ 2147483646 w 485"/>
              <a:gd name="T33" fmla="*/ 2147483646 h 259"/>
              <a:gd name="T34" fmla="*/ 2147483646 w 485"/>
              <a:gd name="T35" fmla="*/ 0 h 259"/>
              <a:gd name="T36" fmla="*/ 2147483646 w 485"/>
              <a:gd name="T37" fmla="*/ 2147483646 h 259"/>
              <a:gd name="T38" fmla="*/ 2147483646 w 485"/>
              <a:gd name="T39" fmla="*/ 2147483646 h 259"/>
              <a:gd name="T40" fmla="*/ 2147483646 w 485"/>
              <a:gd name="T41" fmla="*/ 2147483646 h 259"/>
              <a:gd name="T42" fmla="*/ 2147483646 w 485"/>
              <a:gd name="T43" fmla="*/ 2147483646 h 259"/>
              <a:gd name="T44" fmla="*/ 2147483646 w 485"/>
              <a:gd name="T45" fmla="*/ 2147483646 h 259"/>
              <a:gd name="T46" fmla="*/ 2147483646 w 485"/>
              <a:gd name="T47" fmla="*/ 2147483646 h 259"/>
              <a:gd name="T48" fmla="*/ 2147483646 w 485"/>
              <a:gd name="T49" fmla="*/ 2147483646 h 259"/>
              <a:gd name="T50" fmla="*/ 2147483646 w 485"/>
              <a:gd name="T51" fmla="*/ 2147483646 h 259"/>
              <a:gd name="T52" fmla="*/ 2147483646 w 485"/>
              <a:gd name="T53" fmla="*/ 2147483646 h 25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85" h="259">
                <a:moveTo>
                  <a:pt x="152" y="39"/>
                </a:moveTo>
                <a:cubicBezTo>
                  <a:pt x="152" y="28"/>
                  <a:pt x="154" y="18"/>
                  <a:pt x="157" y="9"/>
                </a:cubicBezTo>
                <a:cubicBezTo>
                  <a:pt x="147" y="3"/>
                  <a:pt x="136" y="0"/>
                  <a:pt x="123" y="0"/>
                </a:cubicBezTo>
                <a:cubicBezTo>
                  <a:pt x="88" y="0"/>
                  <a:pt x="60" y="25"/>
                  <a:pt x="60" y="65"/>
                </a:cubicBezTo>
                <a:cubicBezTo>
                  <a:pt x="60" y="97"/>
                  <a:pt x="78" y="128"/>
                  <a:pt x="103" y="140"/>
                </a:cubicBezTo>
                <a:cubicBezTo>
                  <a:pt x="103" y="165"/>
                  <a:pt x="103" y="165"/>
                  <a:pt x="103" y="165"/>
                </a:cubicBezTo>
                <a:cubicBezTo>
                  <a:pt x="22" y="170"/>
                  <a:pt x="6" y="204"/>
                  <a:pt x="0" y="247"/>
                </a:cubicBezTo>
                <a:cubicBezTo>
                  <a:pt x="84" y="259"/>
                  <a:pt x="84" y="259"/>
                  <a:pt x="84" y="259"/>
                </a:cubicBezTo>
                <a:cubicBezTo>
                  <a:pt x="84" y="245"/>
                  <a:pt x="84" y="245"/>
                  <a:pt x="84" y="245"/>
                </a:cubicBezTo>
                <a:cubicBezTo>
                  <a:pt x="88" y="219"/>
                  <a:pt x="94" y="192"/>
                  <a:pt x="114" y="171"/>
                </a:cubicBezTo>
                <a:cubicBezTo>
                  <a:pt x="131" y="153"/>
                  <a:pt x="159" y="140"/>
                  <a:pt x="202" y="135"/>
                </a:cubicBezTo>
                <a:cubicBezTo>
                  <a:pt x="202" y="135"/>
                  <a:pt x="202" y="135"/>
                  <a:pt x="202" y="135"/>
                </a:cubicBezTo>
                <a:cubicBezTo>
                  <a:pt x="173" y="116"/>
                  <a:pt x="152" y="79"/>
                  <a:pt x="152" y="39"/>
                </a:cubicBezTo>
                <a:close/>
                <a:moveTo>
                  <a:pt x="481" y="229"/>
                </a:moveTo>
                <a:cubicBezTo>
                  <a:pt x="472" y="194"/>
                  <a:pt x="450" y="169"/>
                  <a:pt x="382" y="165"/>
                </a:cubicBezTo>
                <a:cubicBezTo>
                  <a:pt x="382" y="140"/>
                  <a:pt x="382" y="140"/>
                  <a:pt x="382" y="140"/>
                </a:cubicBezTo>
                <a:cubicBezTo>
                  <a:pt x="407" y="128"/>
                  <a:pt x="425" y="97"/>
                  <a:pt x="425" y="65"/>
                </a:cubicBezTo>
                <a:cubicBezTo>
                  <a:pt x="425" y="25"/>
                  <a:pt x="397" y="0"/>
                  <a:pt x="361" y="0"/>
                </a:cubicBezTo>
                <a:cubicBezTo>
                  <a:pt x="349" y="0"/>
                  <a:pt x="338" y="3"/>
                  <a:pt x="328" y="9"/>
                </a:cubicBezTo>
                <a:cubicBezTo>
                  <a:pt x="331" y="18"/>
                  <a:pt x="333" y="28"/>
                  <a:pt x="333" y="39"/>
                </a:cubicBezTo>
                <a:cubicBezTo>
                  <a:pt x="333" y="79"/>
                  <a:pt x="312" y="116"/>
                  <a:pt x="283" y="135"/>
                </a:cubicBezTo>
                <a:cubicBezTo>
                  <a:pt x="283" y="135"/>
                  <a:pt x="283" y="135"/>
                  <a:pt x="283" y="135"/>
                </a:cubicBezTo>
                <a:cubicBezTo>
                  <a:pt x="324" y="139"/>
                  <a:pt x="352" y="151"/>
                  <a:pt x="369" y="168"/>
                </a:cubicBezTo>
                <a:cubicBezTo>
                  <a:pt x="391" y="189"/>
                  <a:pt x="397" y="218"/>
                  <a:pt x="401" y="245"/>
                </a:cubicBezTo>
                <a:cubicBezTo>
                  <a:pt x="401" y="259"/>
                  <a:pt x="401" y="259"/>
                  <a:pt x="401" y="259"/>
                </a:cubicBezTo>
                <a:cubicBezTo>
                  <a:pt x="485" y="247"/>
                  <a:pt x="485" y="247"/>
                  <a:pt x="485" y="247"/>
                </a:cubicBezTo>
                <a:cubicBezTo>
                  <a:pt x="484" y="241"/>
                  <a:pt x="483" y="235"/>
                  <a:pt x="481" y="2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49" name="Freeform 94">
            <a:extLst>
              <a:ext uri="{FF2B5EF4-FFF2-40B4-BE49-F238E27FC236}">
                <a16:creationId xmlns:a16="http://schemas.microsoft.com/office/drawing/2014/main" id="{7E380BFC-7D03-4C67-A7E7-E0C5DA2807E5}"/>
              </a:ext>
            </a:extLst>
          </p:cNvPr>
          <p:cNvSpPr>
            <a:spLocks/>
          </p:cNvSpPr>
          <p:nvPr/>
        </p:nvSpPr>
        <p:spPr bwMode="auto">
          <a:xfrm>
            <a:off x="19916327" y="10126558"/>
            <a:ext cx="328223" cy="374273"/>
          </a:xfrm>
          <a:custGeom>
            <a:avLst/>
            <a:gdLst>
              <a:gd name="T0" fmla="*/ 2147483646 w 147"/>
              <a:gd name="T1" fmla="*/ 2147483646 h 166"/>
              <a:gd name="T2" fmla="*/ 2147483646 w 147"/>
              <a:gd name="T3" fmla="*/ 2147483646 h 166"/>
              <a:gd name="T4" fmla="*/ 2147483646 w 147"/>
              <a:gd name="T5" fmla="*/ 2147483646 h 166"/>
              <a:gd name="T6" fmla="*/ 2147483646 w 147"/>
              <a:gd name="T7" fmla="*/ 0 h 166"/>
              <a:gd name="T8" fmla="*/ 0 w 147"/>
              <a:gd name="T9" fmla="*/ 2147483646 h 166"/>
              <a:gd name="T10" fmla="*/ 2147483646 w 147"/>
              <a:gd name="T11" fmla="*/ 2147483646 h 166"/>
              <a:gd name="T12" fmla="*/ 2147483646 w 147"/>
              <a:gd name="T13" fmla="*/ 2147483646 h 16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7" h="166">
                <a:moveTo>
                  <a:pt x="74" y="166"/>
                </a:moveTo>
                <a:cubicBezTo>
                  <a:pt x="86" y="166"/>
                  <a:pt x="97" y="160"/>
                  <a:pt x="97" y="160"/>
                </a:cubicBezTo>
                <a:cubicBezTo>
                  <a:pt x="126" y="147"/>
                  <a:pt x="147" y="111"/>
                  <a:pt x="147" y="74"/>
                </a:cubicBezTo>
                <a:cubicBezTo>
                  <a:pt x="147" y="29"/>
                  <a:pt x="114" y="0"/>
                  <a:pt x="73" y="0"/>
                </a:cubicBezTo>
                <a:cubicBezTo>
                  <a:pt x="33" y="0"/>
                  <a:pt x="0" y="29"/>
                  <a:pt x="0" y="74"/>
                </a:cubicBezTo>
                <a:cubicBezTo>
                  <a:pt x="0" y="111"/>
                  <a:pt x="21" y="147"/>
                  <a:pt x="50" y="160"/>
                </a:cubicBezTo>
                <a:cubicBezTo>
                  <a:pt x="50" y="160"/>
                  <a:pt x="62" y="166"/>
                  <a:pt x="74" y="16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0" name="Freeform 95">
            <a:extLst>
              <a:ext uri="{FF2B5EF4-FFF2-40B4-BE49-F238E27FC236}">
                <a16:creationId xmlns:a16="http://schemas.microsoft.com/office/drawing/2014/main" id="{CFE0C78D-9CDB-4DDD-B535-59A7535F154D}"/>
              </a:ext>
            </a:extLst>
          </p:cNvPr>
          <p:cNvSpPr>
            <a:spLocks/>
          </p:cNvSpPr>
          <p:nvPr/>
        </p:nvSpPr>
        <p:spPr bwMode="auto">
          <a:xfrm>
            <a:off x="20108373" y="10528812"/>
            <a:ext cx="289815" cy="293821"/>
          </a:xfrm>
          <a:custGeom>
            <a:avLst/>
            <a:gdLst>
              <a:gd name="T0" fmla="*/ 2147483646 w 129"/>
              <a:gd name="T1" fmla="*/ 2147483646 h 130"/>
              <a:gd name="T2" fmla="*/ 2147483646 w 129"/>
              <a:gd name="T3" fmla="*/ 0 h 130"/>
              <a:gd name="T4" fmla="*/ 0 w 129"/>
              <a:gd name="T5" fmla="*/ 2147483646 h 130"/>
              <a:gd name="T6" fmla="*/ 2147483646 w 129"/>
              <a:gd name="T7" fmla="*/ 2147483646 h 130"/>
              <a:gd name="T8" fmla="*/ 2147483646 w 129"/>
              <a:gd name="T9" fmla="*/ 2147483646 h 13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0">
                <a:moveTo>
                  <a:pt x="127" y="80"/>
                </a:moveTo>
                <a:cubicBezTo>
                  <a:pt x="118" y="39"/>
                  <a:pt x="104" y="7"/>
                  <a:pt x="30" y="0"/>
                </a:cubicBezTo>
                <a:cubicBezTo>
                  <a:pt x="0" y="130"/>
                  <a:pt x="0" y="130"/>
                  <a:pt x="0" y="130"/>
                </a:cubicBezTo>
                <a:cubicBezTo>
                  <a:pt x="90" y="129"/>
                  <a:pt x="129" y="118"/>
                  <a:pt x="129" y="118"/>
                </a:cubicBezTo>
                <a:cubicBezTo>
                  <a:pt x="128" y="113"/>
                  <a:pt x="128" y="85"/>
                  <a:pt x="127" y="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1" name="Freeform 96">
            <a:extLst>
              <a:ext uri="{FF2B5EF4-FFF2-40B4-BE49-F238E27FC236}">
                <a16:creationId xmlns:a16="http://schemas.microsoft.com/office/drawing/2014/main" id="{65534B48-27DF-4CC8-BFED-596256A0D4E4}"/>
              </a:ext>
            </a:extLst>
          </p:cNvPr>
          <p:cNvSpPr>
            <a:spLocks/>
          </p:cNvSpPr>
          <p:nvPr/>
        </p:nvSpPr>
        <p:spPr bwMode="auto">
          <a:xfrm>
            <a:off x="19766184" y="10528812"/>
            <a:ext cx="286322" cy="293821"/>
          </a:xfrm>
          <a:custGeom>
            <a:avLst/>
            <a:gdLst>
              <a:gd name="T0" fmla="*/ 2147483646 w 129"/>
              <a:gd name="T1" fmla="*/ 2147483646 h 131"/>
              <a:gd name="T2" fmla="*/ 0 w 129"/>
              <a:gd name="T3" fmla="*/ 2147483646 h 131"/>
              <a:gd name="T4" fmla="*/ 2147483646 w 129"/>
              <a:gd name="T5" fmla="*/ 2147483646 h 131"/>
              <a:gd name="T6" fmla="*/ 2147483646 w 129"/>
              <a:gd name="T7" fmla="*/ 0 h 131"/>
              <a:gd name="T8" fmla="*/ 2147483646 w 129"/>
              <a:gd name="T9" fmla="*/ 2147483646 h 1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1">
                <a:moveTo>
                  <a:pt x="2" y="82"/>
                </a:moveTo>
                <a:cubicBezTo>
                  <a:pt x="1" y="86"/>
                  <a:pt x="0" y="114"/>
                  <a:pt x="0" y="118"/>
                </a:cubicBezTo>
                <a:cubicBezTo>
                  <a:pt x="0" y="118"/>
                  <a:pt x="33" y="130"/>
                  <a:pt x="129" y="131"/>
                </a:cubicBezTo>
                <a:cubicBezTo>
                  <a:pt x="99" y="0"/>
                  <a:pt x="99" y="0"/>
                  <a:pt x="99" y="0"/>
                </a:cubicBezTo>
                <a:cubicBezTo>
                  <a:pt x="23" y="7"/>
                  <a:pt x="10" y="40"/>
                  <a:pt x="2" y="8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2" name="Freeform 97">
            <a:extLst>
              <a:ext uri="{FF2B5EF4-FFF2-40B4-BE49-F238E27FC236}">
                <a16:creationId xmlns:a16="http://schemas.microsoft.com/office/drawing/2014/main" id="{A4D6FEB1-9066-4C24-B822-75FA13D9DE25}"/>
              </a:ext>
            </a:extLst>
          </p:cNvPr>
          <p:cNvSpPr>
            <a:spLocks/>
          </p:cNvSpPr>
          <p:nvPr/>
        </p:nvSpPr>
        <p:spPr bwMode="auto">
          <a:xfrm>
            <a:off x="20045522" y="10532311"/>
            <a:ext cx="69835" cy="38478"/>
          </a:xfrm>
          <a:custGeom>
            <a:avLst/>
            <a:gdLst>
              <a:gd name="T0" fmla="*/ 2147483646 w 31"/>
              <a:gd name="T1" fmla="*/ 2147483646 h 17"/>
              <a:gd name="T2" fmla="*/ 0 w 31"/>
              <a:gd name="T3" fmla="*/ 0 h 17"/>
              <a:gd name="T4" fmla="*/ 2147483646 w 31"/>
              <a:gd name="T5" fmla="*/ 2147483646 h 17"/>
              <a:gd name="T6" fmla="*/ 2147483646 w 31"/>
              <a:gd name="T7" fmla="*/ 2147483646 h 17"/>
              <a:gd name="T8" fmla="*/ 2147483646 w 31"/>
              <a:gd name="T9" fmla="*/ 0 h 17"/>
              <a:gd name="T10" fmla="*/ 2147483646 w 31"/>
              <a:gd name="T11" fmla="*/ 2147483646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1" h="17">
                <a:moveTo>
                  <a:pt x="15" y="1"/>
                </a:moveTo>
                <a:cubicBezTo>
                  <a:pt x="7" y="1"/>
                  <a:pt x="0" y="0"/>
                  <a:pt x="0" y="0"/>
                </a:cubicBezTo>
                <a:cubicBezTo>
                  <a:pt x="7" y="17"/>
                  <a:pt x="7" y="17"/>
                  <a:pt x="7" y="17"/>
                </a:cubicBezTo>
                <a:cubicBezTo>
                  <a:pt x="24" y="17"/>
                  <a:pt x="24" y="17"/>
                  <a:pt x="24" y="17"/>
                </a:cubicBezTo>
                <a:cubicBezTo>
                  <a:pt x="31" y="0"/>
                  <a:pt x="31" y="0"/>
                  <a:pt x="31" y="0"/>
                </a:cubicBezTo>
                <a:cubicBezTo>
                  <a:pt x="31" y="0"/>
                  <a:pt x="25" y="1"/>
                  <a:pt x="15"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3" name="Freeform 98">
            <a:extLst>
              <a:ext uri="{FF2B5EF4-FFF2-40B4-BE49-F238E27FC236}">
                <a16:creationId xmlns:a16="http://schemas.microsoft.com/office/drawing/2014/main" id="{35BB263D-DEBC-4B72-8B40-B729ACB65B19}"/>
              </a:ext>
            </a:extLst>
          </p:cNvPr>
          <p:cNvSpPr>
            <a:spLocks/>
          </p:cNvSpPr>
          <p:nvPr/>
        </p:nvSpPr>
        <p:spPr bwMode="auto">
          <a:xfrm>
            <a:off x="20045522" y="10595273"/>
            <a:ext cx="69835" cy="220367"/>
          </a:xfrm>
          <a:custGeom>
            <a:avLst/>
            <a:gdLst>
              <a:gd name="T0" fmla="*/ 2147483646 w 20"/>
              <a:gd name="T1" fmla="*/ 2147483646 h 63"/>
              <a:gd name="T2" fmla="*/ 2147483646 w 20"/>
              <a:gd name="T3" fmla="*/ 0 h 63"/>
              <a:gd name="T4" fmla="*/ 2147483646 w 20"/>
              <a:gd name="T5" fmla="*/ 0 h 63"/>
              <a:gd name="T6" fmla="*/ 0 w 20"/>
              <a:gd name="T7" fmla="*/ 2147483646 h 63"/>
              <a:gd name="T8" fmla="*/ 2147483646 w 20"/>
              <a:gd name="T9" fmla="*/ 2147483646 h 63"/>
              <a:gd name="T10" fmla="*/ 2147483646 w 20"/>
              <a:gd name="T11" fmla="*/ 2147483646 h 6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63">
                <a:moveTo>
                  <a:pt x="20" y="19"/>
                </a:moveTo>
                <a:lnTo>
                  <a:pt x="16" y="0"/>
                </a:lnTo>
                <a:lnTo>
                  <a:pt x="6" y="0"/>
                </a:lnTo>
                <a:lnTo>
                  <a:pt x="0" y="19"/>
                </a:lnTo>
                <a:lnTo>
                  <a:pt x="10" y="63"/>
                </a:lnTo>
                <a:lnTo>
                  <a:pt x="2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4" name="Freeform 99">
            <a:extLst>
              <a:ext uri="{FF2B5EF4-FFF2-40B4-BE49-F238E27FC236}">
                <a16:creationId xmlns:a16="http://schemas.microsoft.com/office/drawing/2014/main" id="{C2D7F909-8A25-4F83-BE9C-6BA425FFFE3D}"/>
              </a:ext>
            </a:extLst>
          </p:cNvPr>
          <p:cNvSpPr>
            <a:spLocks/>
          </p:cNvSpPr>
          <p:nvPr/>
        </p:nvSpPr>
        <p:spPr bwMode="auto">
          <a:xfrm>
            <a:off x="20185192" y="10689714"/>
            <a:ext cx="111735" cy="27983"/>
          </a:xfrm>
          <a:custGeom>
            <a:avLst/>
            <a:gdLst>
              <a:gd name="T0" fmla="*/ 2147483646 w 32"/>
              <a:gd name="T1" fmla="*/ 2147483646 h 8"/>
              <a:gd name="T2" fmla="*/ 0 w 32"/>
              <a:gd name="T3" fmla="*/ 2147483646 h 8"/>
              <a:gd name="T4" fmla="*/ 0 w 32"/>
              <a:gd name="T5" fmla="*/ 0 h 8"/>
              <a:gd name="T6" fmla="*/ 2147483646 w 32"/>
              <a:gd name="T7" fmla="*/ 0 h 8"/>
              <a:gd name="T8" fmla="*/ 2147483646 w 32"/>
              <a:gd name="T9" fmla="*/ 0 h 8"/>
              <a:gd name="T10" fmla="*/ 2147483646 w 32"/>
              <a:gd name="T11" fmla="*/ 2147483646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 h="8">
                <a:moveTo>
                  <a:pt x="32" y="8"/>
                </a:moveTo>
                <a:lnTo>
                  <a:pt x="0" y="8"/>
                </a:lnTo>
                <a:lnTo>
                  <a:pt x="0" y="0"/>
                </a:lnTo>
                <a:lnTo>
                  <a:pt x="19" y="0"/>
                </a:lnTo>
                <a:lnTo>
                  <a:pt x="32" y="0"/>
                </a:lnTo>
                <a:lnTo>
                  <a:pt x="32"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81" name="Rectangle 80">
            <a:extLst>
              <a:ext uri="{FF2B5EF4-FFF2-40B4-BE49-F238E27FC236}">
                <a16:creationId xmlns:a16="http://schemas.microsoft.com/office/drawing/2014/main" id="{8B5D7DE5-39DD-4D3A-92DC-44A3ECFC2C3A}"/>
              </a:ext>
            </a:extLst>
          </p:cNvPr>
          <p:cNvSpPr/>
          <p:nvPr/>
        </p:nvSpPr>
        <p:spPr>
          <a:xfrm>
            <a:off x="2743953" y="4544479"/>
            <a:ext cx="14815747" cy="7138499"/>
          </a:xfrm>
          <a:prstGeom prst="rect">
            <a:avLst/>
          </a:prstGeom>
          <a:solidFill>
            <a:schemeClr val="bg1">
              <a:lumMod val="95000"/>
              <a:alpha val="40000"/>
            </a:schemeClr>
          </a:solidFill>
          <a:ln w="25400" cap="flat" cmpd="sng" algn="ctr">
            <a:noFill/>
            <a:prstDash val="solid"/>
          </a:ln>
          <a:effectLst>
            <a:outerShdw blurRad="50800" dist="76200" dir="2700000" algn="tl" rotWithShape="0">
              <a:prstClr val="black">
                <a:alpha val="40000"/>
              </a:prstClr>
            </a:outerShdw>
          </a:effectLst>
        </p:spPr>
        <p:txBody>
          <a:bodyPr lIns="0" rIns="0" anchor="ctr"/>
          <a:lstStyle/>
          <a:p>
            <a:pPr algn="ctr" defTabSz="937937">
              <a:defRPr/>
            </a:pPr>
            <a:endParaRPr lang="en-US" sz="1400" b="1" kern="0" dirty="0">
              <a:solidFill>
                <a:srgbClr val="FFFFFF"/>
              </a:solidFill>
              <a:latin typeface="Arial" panose="020B0604020202020204"/>
            </a:endParaRPr>
          </a:p>
        </p:txBody>
      </p:sp>
      <p:sp>
        <p:nvSpPr>
          <p:cNvPr id="82" name="Rectangle 478">
            <a:extLst>
              <a:ext uri="{FF2B5EF4-FFF2-40B4-BE49-F238E27FC236}">
                <a16:creationId xmlns:a16="http://schemas.microsoft.com/office/drawing/2014/main" id="{F4A70F92-897E-4309-A1A5-E5CF71EB5E66}"/>
              </a:ext>
            </a:extLst>
          </p:cNvPr>
          <p:cNvSpPr>
            <a:spLocks noChangeArrowheads="1"/>
          </p:cNvSpPr>
          <p:nvPr/>
        </p:nvSpPr>
        <p:spPr bwMode="auto">
          <a:xfrm>
            <a:off x="14641033" y="9361317"/>
            <a:ext cx="2572877" cy="973523"/>
          </a:xfrm>
          <a:prstGeom prst="rect">
            <a:avLst/>
          </a:prstGeom>
          <a:solidFill>
            <a:schemeClr val="bg2">
              <a:lumMod val="85000"/>
              <a:alpha val="40000"/>
            </a:schemeClr>
          </a:solidFill>
          <a:ln w="11113" cap="rnd">
            <a:noFill/>
            <a:miter lim="800000"/>
            <a:headEnd/>
            <a:tailEnd/>
          </a:ln>
          <a:effectLst/>
        </p:spPr>
        <p:txBody>
          <a:bodyPr anchor="ctr"/>
          <a:lstStyle/>
          <a:p>
            <a:pPr defTabSz="1097280" fontAlgn="base">
              <a:spcBef>
                <a:spcPct val="0"/>
              </a:spcBef>
              <a:spcAft>
                <a:spcPct val="0"/>
              </a:spcAft>
            </a:pPr>
            <a:r>
              <a:rPr lang="en-GB" altLang="en-US" sz="1400" b="1" dirty="0">
                <a:solidFill>
                  <a:srgbClr val="000000">
                    <a:alpha val="40000"/>
                  </a:srgbClr>
                </a:solidFill>
                <a:ea typeface="MS PGothic"/>
                <a:cs typeface="Arial"/>
              </a:rPr>
              <a:t>Control de seguridad &amp; Información </a:t>
            </a:r>
          </a:p>
        </p:txBody>
      </p:sp>
      <p:sp>
        <p:nvSpPr>
          <p:cNvPr id="83" name="Rectangle 483">
            <a:extLst>
              <a:ext uri="{FF2B5EF4-FFF2-40B4-BE49-F238E27FC236}">
                <a16:creationId xmlns:a16="http://schemas.microsoft.com/office/drawing/2014/main" id="{A6AE44EB-BE01-4B02-B6E9-9B8A36C96312}"/>
              </a:ext>
            </a:extLst>
          </p:cNvPr>
          <p:cNvSpPr>
            <a:spLocks noChangeArrowheads="1"/>
          </p:cNvSpPr>
          <p:nvPr/>
        </p:nvSpPr>
        <p:spPr bwMode="auto">
          <a:xfrm>
            <a:off x="5949031" y="7135450"/>
            <a:ext cx="2572877" cy="973523"/>
          </a:xfrm>
          <a:prstGeom prst="rect">
            <a:avLst/>
          </a:prstGeom>
          <a:solidFill>
            <a:schemeClr val="accent1">
              <a:lumMod val="20000"/>
              <a:lumOff val="8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a:solidFill>
                  <a:schemeClr val="tx1"/>
                </a:solidFill>
                <a:latin typeface="Arial" panose="020B0604020202020204"/>
                <a:ea typeface="MS PGothic"/>
              </a:rPr>
              <a:t>Desarrollo de releases</a:t>
            </a:r>
          </a:p>
        </p:txBody>
      </p:sp>
      <p:sp>
        <p:nvSpPr>
          <p:cNvPr id="84" name="Rectangle 491">
            <a:extLst>
              <a:ext uri="{FF2B5EF4-FFF2-40B4-BE49-F238E27FC236}">
                <a16:creationId xmlns:a16="http://schemas.microsoft.com/office/drawing/2014/main" id="{909AAAAF-6D9A-48C8-88F1-47AC1B9A9C3C}"/>
              </a:ext>
            </a:extLst>
          </p:cNvPr>
          <p:cNvSpPr>
            <a:spLocks noChangeArrowheads="1"/>
          </p:cNvSpPr>
          <p:nvPr/>
        </p:nvSpPr>
        <p:spPr bwMode="auto">
          <a:xfrm>
            <a:off x="8838007" y="10466118"/>
            <a:ext cx="2572877" cy="973523"/>
          </a:xfrm>
          <a:prstGeom prst="rect">
            <a:avLst/>
          </a:prstGeom>
          <a:solidFill>
            <a:schemeClr val="accent1">
              <a:lumMod val="20000"/>
              <a:lumOff val="80000"/>
              <a:alpha val="40000"/>
            </a:schemeClr>
          </a:solidFill>
          <a:ln>
            <a:no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a:solidFill>
                  <a:schemeClr val="tx1">
                    <a:alpha val="40000"/>
                  </a:schemeClr>
                </a:solidFill>
                <a:latin typeface="Arial" panose="020B0604020202020204"/>
                <a:ea typeface="MS PGothic"/>
                <a:cs typeface="+mn-cs"/>
              </a:rPr>
              <a:t>Formación &amp; Gestión del talento</a:t>
            </a:r>
          </a:p>
        </p:txBody>
      </p:sp>
      <p:sp>
        <p:nvSpPr>
          <p:cNvPr id="85" name="Rectangle 495">
            <a:extLst>
              <a:ext uri="{FF2B5EF4-FFF2-40B4-BE49-F238E27FC236}">
                <a16:creationId xmlns:a16="http://schemas.microsoft.com/office/drawing/2014/main" id="{F019555A-FC07-4846-BF2B-38A6E6443C22}"/>
              </a:ext>
            </a:extLst>
          </p:cNvPr>
          <p:cNvSpPr>
            <a:spLocks noChangeArrowheads="1"/>
          </p:cNvSpPr>
          <p:nvPr/>
        </p:nvSpPr>
        <p:spPr bwMode="auto">
          <a:xfrm>
            <a:off x="5949031" y="4903089"/>
            <a:ext cx="2572877" cy="973523"/>
          </a:xfrm>
          <a:prstGeom prst="rect">
            <a:avLst/>
          </a:prstGeom>
          <a:solidFill>
            <a:schemeClr val="accent1">
              <a:lumMod val="20000"/>
              <a:lumOff val="8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a:solidFill>
                  <a:schemeClr val="tx1"/>
                </a:solidFill>
                <a:latin typeface="Arial" panose="020B0604020202020204"/>
                <a:ea typeface="MS PGothic"/>
                <a:cs typeface="+mn-cs"/>
              </a:rPr>
              <a:t>Diseño &amp; Arquitectura de servicios</a:t>
            </a:r>
            <a:endParaRPr lang="en-US" sz="1400" b="1">
              <a:solidFill>
                <a:schemeClr val="tx1"/>
              </a:solidFill>
              <a:latin typeface="Arial" panose="020B0604020202020204"/>
              <a:ea typeface="MS PGothic"/>
              <a:cs typeface="+mn-cs"/>
            </a:endParaRPr>
          </a:p>
        </p:txBody>
      </p:sp>
      <p:sp>
        <p:nvSpPr>
          <p:cNvPr id="86" name="Rectangle 499">
            <a:extLst>
              <a:ext uri="{FF2B5EF4-FFF2-40B4-BE49-F238E27FC236}">
                <a16:creationId xmlns:a16="http://schemas.microsoft.com/office/drawing/2014/main" id="{600BFC6D-A501-438C-8AB9-F810367059A8}"/>
              </a:ext>
            </a:extLst>
          </p:cNvPr>
          <p:cNvSpPr>
            <a:spLocks noChangeArrowheads="1"/>
          </p:cNvSpPr>
          <p:nvPr/>
        </p:nvSpPr>
        <p:spPr bwMode="auto">
          <a:xfrm>
            <a:off x="3060054" y="4903089"/>
            <a:ext cx="2572877" cy="973523"/>
          </a:xfrm>
          <a:prstGeom prst="rect">
            <a:avLst/>
          </a:prstGeom>
          <a:solidFill>
            <a:schemeClr val="bg2">
              <a:lumMod val="85000"/>
              <a:alpha val="40000"/>
            </a:schemeClr>
          </a:solidFill>
          <a:ln w="11113" cap="rnd">
            <a:no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defTabSz="912813" eaLnBrk="0" fontAlgn="base" hangingPunct="0">
              <a:spcBef>
                <a:spcPct val="0"/>
              </a:spcBef>
              <a:spcAft>
                <a:spcPct val="0"/>
              </a:spcAft>
              <a:defRPr>
                <a:solidFill>
                  <a:schemeClr val="tx1"/>
                </a:solidFill>
                <a:latin typeface="Arial" charset="0"/>
                <a:ea typeface="MS PGothic" charset="-128"/>
              </a:defRPr>
            </a:lvl6pPr>
            <a:lvl7pPr marL="2971800" indent="-228600" defTabSz="912813" eaLnBrk="0" fontAlgn="base" hangingPunct="0">
              <a:spcBef>
                <a:spcPct val="0"/>
              </a:spcBef>
              <a:spcAft>
                <a:spcPct val="0"/>
              </a:spcAft>
              <a:defRPr>
                <a:solidFill>
                  <a:schemeClr val="tx1"/>
                </a:solidFill>
                <a:latin typeface="Arial" charset="0"/>
                <a:ea typeface="MS PGothic" charset="-128"/>
              </a:defRPr>
            </a:lvl7pPr>
            <a:lvl8pPr marL="3429000" indent="-228600" defTabSz="912813" eaLnBrk="0" fontAlgn="base" hangingPunct="0">
              <a:spcBef>
                <a:spcPct val="0"/>
              </a:spcBef>
              <a:spcAft>
                <a:spcPct val="0"/>
              </a:spcAft>
              <a:defRPr>
                <a:solidFill>
                  <a:schemeClr val="tx1"/>
                </a:solidFill>
                <a:latin typeface="Arial" charset="0"/>
                <a:ea typeface="MS PGothic" charset="-128"/>
              </a:defRPr>
            </a:lvl8pPr>
            <a:lvl9pPr marL="3886200" indent="-228600" defTabSz="912813" eaLnBrk="0" fontAlgn="base" hangingPunct="0">
              <a:spcBef>
                <a:spcPct val="0"/>
              </a:spcBef>
              <a:spcAft>
                <a:spcPct val="0"/>
              </a:spcAft>
              <a:defRPr>
                <a:solidFill>
                  <a:schemeClr val="tx1"/>
                </a:solidFill>
                <a:latin typeface="Arial" charset="0"/>
                <a:ea typeface="MS PGothic" charset="-128"/>
              </a:defRPr>
            </a:lvl9pPr>
          </a:lstStyle>
          <a:p>
            <a:pPr defTabSz="1097280" fontAlgn="base">
              <a:spcBef>
                <a:spcPct val="0"/>
              </a:spcBef>
              <a:spcAft>
                <a:spcPct val="0"/>
              </a:spcAft>
            </a:pPr>
            <a:r>
              <a:rPr lang="en-US" altLang="en-US" sz="1400" b="1">
                <a:solidFill>
                  <a:srgbClr val="000000">
                    <a:alpha val="40000"/>
                  </a:srgbClr>
                </a:solidFill>
                <a:latin typeface="Arial"/>
                <a:ea typeface="MS PGothic"/>
                <a:cs typeface="Arial"/>
              </a:rPr>
              <a:t>Tecnología Digital &amp; Estrategia de Servicios</a:t>
            </a:r>
            <a:endParaRPr lang="en-US" sz="1400" b="1">
              <a:solidFill>
                <a:srgbClr val="000000">
                  <a:alpha val="40000"/>
                </a:srgbClr>
              </a:solidFill>
              <a:latin typeface="Arial"/>
              <a:ea typeface="MS PGothic"/>
              <a:cs typeface="Arial"/>
            </a:endParaRPr>
          </a:p>
        </p:txBody>
      </p:sp>
      <p:sp>
        <p:nvSpPr>
          <p:cNvPr id="87" name="Rectangle 503">
            <a:extLst>
              <a:ext uri="{FF2B5EF4-FFF2-40B4-BE49-F238E27FC236}">
                <a16:creationId xmlns:a16="http://schemas.microsoft.com/office/drawing/2014/main" id="{E262DCD9-CDF7-43DD-88C7-557F7A0C667A}"/>
              </a:ext>
            </a:extLst>
          </p:cNvPr>
          <p:cNvSpPr>
            <a:spLocks noChangeArrowheads="1"/>
          </p:cNvSpPr>
          <p:nvPr/>
        </p:nvSpPr>
        <p:spPr bwMode="auto">
          <a:xfrm>
            <a:off x="14641033" y="10471153"/>
            <a:ext cx="2572877" cy="973523"/>
          </a:xfrm>
          <a:prstGeom prst="rect">
            <a:avLst/>
          </a:prstGeom>
          <a:solidFill>
            <a:schemeClr val="accent1">
              <a:lumMod val="20000"/>
              <a:lumOff val="80000"/>
              <a:alpha val="40000"/>
            </a:schemeClr>
          </a:solidFill>
          <a:ln>
            <a:no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a:solidFill>
                  <a:schemeClr val="tx1">
                    <a:alpha val="40000"/>
                  </a:schemeClr>
                </a:solidFill>
                <a:latin typeface="Arial" panose="020B0604020202020204"/>
                <a:ea typeface="MS PGothic"/>
                <a:cs typeface="+mn-cs"/>
              </a:rPr>
              <a:t>Riesgo, auditoria &amp; Cumplimiento normativo</a:t>
            </a:r>
          </a:p>
        </p:txBody>
      </p:sp>
      <p:sp>
        <p:nvSpPr>
          <p:cNvPr id="88" name="Rectangle 510">
            <a:extLst>
              <a:ext uri="{FF2B5EF4-FFF2-40B4-BE49-F238E27FC236}">
                <a16:creationId xmlns:a16="http://schemas.microsoft.com/office/drawing/2014/main" id="{632026C4-D61D-4479-9CEB-0D6B3A18A940}"/>
              </a:ext>
            </a:extLst>
          </p:cNvPr>
          <p:cNvSpPr>
            <a:spLocks noChangeArrowheads="1"/>
          </p:cNvSpPr>
          <p:nvPr/>
        </p:nvSpPr>
        <p:spPr bwMode="auto">
          <a:xfrm>
            <a:off x="3060054" y="6020461"/>
            <a:ext cx="2572877" cy="973523"/>
          </a:xfrm>
          <a:prstGeom prst="rect">
            <a:avLst/>
          </a:prstGeom>
          <a:solidFill>
            <a:schemeClr val="bg2">
              <a:lumMod val="85000"/>
              <a:alpha val="40000"/>
            </a:schemeClr>
          </a:solidFill>
          <a:ln w="11113" cap="rnd">
            <a:noFill/>
            <a:miter lim="800000"/>
            <a:headEnd/>
            <a:tailEnd/>
          </a:ln>
          <a:effectLst/>
        </p:spPr>
        <p:txBody>
          <a:bodyPr anchor="ctr"/>
          <a:lstStyle/>
          <a:p>
            <a:pPr defTabSz="1097280" fontAlgn="base">
              <a:spcBef>
                <a:spcPct val="0"/>
              </a:spcBef>
              <a:spcAft>
                <a:spcPct val="0"/>
              </a:spcAft>
            </a:pPr>
            <a:r>
              <a:rPr lang="en-GB" altLang="en-US" sz="1400" b="1" dirty="0">
                <a:solidFill>
                  <a:srgbClr val="000000">
                    <a:alpha val="40000"/>
                  </a:srgbClr>
                </a:solidFill>
                <a:latin typeface="Arial"/>
                <a:ea typeface="MS PGothic"/>
                <a:cs typeface="Arial"/>
              </a:rPr>
              <a:t>Gestión de la demanda</a:t>
            </a:r>
          </a:p>
        </p:txBody>
      </p:sp>
      <p:sp>
        <p:nvSpPr>
          <p:cNvPr id="89" name="Rectangle 510">
            <a:extLst>
              <a:ext uri="{FF2B5EF4-FFF2-40B4-BE49-F238E27FC236}">
                <a16:creationId xmlns:a16="http://schemas.microsoft.com/office/drawing/2014/main" id="{BA56629C-E960-41E3-BD0D-4D74F2400618}"/>
              </a:ext>
            </a:extLst>
          </p:cNvPr>
          <p:cNvSpPr>
            <a:spLocks noChangeArrowheads="1"/>
          </p:cNvSpPr>
          <p:nvPr/>
        </p:nvSpPr>
        <p:spPr bwMode="auto">
          <a:xfrm>
            <a:off x="8838007" y="6020461"/>
            <a:ext cx="2572877" cy="973523"/>
          </a:xfrm>
          <a:prstGeom prst="rect">
            <a:avLst/>
          </a:prstGeom>
          <a:solidFill>
            <a:schemeClr val="accent1">
              <a:lumMod val="20000"/>
              <a:lumOff val="80000"/>
              <a:alpha val="40000"/>
            </a:schemeClr>
          </a:solidFill>
          <a:ln w="1016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alpha val="40000"/>
                  </a:schemeClr>
                </a:solidFill>
                <a:latin typeface="Arial" panose="020B0604020202020204"/>
                <a:ea typeface="MS PGothic"/>
              </a:rPr>
              <a:t>Aprovisionamiento de entornos de plataforma</a:t>
            </a:r>
            <a:endParaRPr lang="en-GB" altLang="en-US" sz="1400" b="1" dirty="0">
              <a:solidFill>
                <a:schemeClr val="tx1">
                  <a:alpha val="40000"/>
                </a:schemeClr>
              </a:solidFill>
              <a:latin typeface="Arial" panose="020B0604020202020204"/>
              <a:ea typeface="MS PGothic"/>
              <a:cs typeface="Arial"/>
            </a:endParaRPr>
          </a:p>
        </p:txBody>
      </p:sp>
      <p:sp>
        <p:nvSpPr>
          <p:cNvPr id="90" name="Rectangle 507">
            <a:extLst>
              <a:ext uri="{FF2B5EF4-FFF2-40B4-BE49-F238E27FC236}">
                <a16:creationId xmlns:a16="http://schemas.microsoft.com/office/drawing/2014/main" id="{F7D47B1B-6066-4A02-AC11-19D44C04A9C9}"/>
              </a:ext>
            </a:extLst>
          </p:cNvPr>
          <p:cNvSpPr>
            <a:spLocks noChangeArrowheads="1"/>
          </p:cNvSpPr>
          <p:nvPr/>
        </p:nvSpPr>
        <p:spPr bwMode="auto">
          <a:xfrm>
            <a:off x="8838007" y="7135450"/>
            <a:ext cx="2572877" cy="973523"/>
          </a:xfrm>
          <a:prstGeom prst="rect">
            <a:avLst/>
          </a:prstGeom>
          <a:solidFill>
            <a:schemeClr val="bg2">
              <a:lumMod val="85000"/>
              <a:alpha val="40000"/>
            </a:schemeClr>
          </a:solidFill>
          <a:ln w="11113" cap="rnd">
            <a:noFill/>
            <a:miter lim="800000"/>
            <a:headEnd/>
            <a:tailEnd/>
          </a:ln>
          <a:effectLst/>
        </p:spPr>
        <p:txBody>
          <a:bodyPr anchor="ctr"/>
          <a:lstStyle/>
          <a:p>
            <a:pPr defTabSz="1097280" fontAlgn="base">
              <a:spcBef>
                <a:spcPct val="0"/>
              </a:spcBef>
              <a:spcAft>
                <a:spcPct val="0"/>
              </a:spcAft>
            </a:pPr>
            <a:r>
              <a:rPr lang="en-GB" altLang="en-US" sz="1400" b="1" dirty="0">
                <a:solidFill>
                  <a:srgbClr val="000000">
                    <a:alpha val="40000"/>
                  </a:srgbClr>
                </a:solidFill>
                <a:latin typeface="Arial"/>
                <a:ea typeface="MS PGothic"/>
                <a:cs typeface="Arial"/>
              </a:rPr>
              <a:t>Aprovisionamiento de aplicación &amp; Datos</a:t>
            </a:r>
          </a:p>
        </p:txBody>
      </p:sp>
      <p:sp>
        <p:nvSpPr>
          <p:cNvPr id="91" name="Rectangle 62">
            <a:extLst>
              <a:ext uri="{FF2B5EF4-FFF2-40B4-BE49-F238E27FC236}">
                <a16:creationId xmlns:a16="http://schemas.microsoft.com/office/drawing/2014/main" id="{576EDDE1-9AC6-4514-9B88-3B0C80451AB1}"/>
              </a:ext>
            </a:extLst>
          </p:cNvPr>
          <p:cNvSpPr>
            <a:spLocks noChangeArrowheads="1"/>
          </p:cNvSpPr>
          <p:nvPr/>
        </p:nvSpPr>
        <p:spPr bwMode="auto">
          <a:xfrm>
            <a:off x="11722367" y="9347019"/>
            <a:ext cx="2572877" cy="973523"/>
          </a:xfrm>
          <a:prstGeom prst="rect">
            <a:avLst/>
          </a:prstGeom>
          <a:solidFill>
            <a:schemeClr val="accent1">
              <a:lumMod val="20000"/>
              <a:lumOff val="80000"/>
              <a:alpha val="40000"/>
            </a:schemeClr>
          </a:solidFill>
          <a:ln>
            <a:no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a:solidFill>
                  <a:schemeClr val="tx1">
                    <a:alpha val="40000"/>
                  </a:schemeClr>
                </a:solidFill>
                <a:latin typeface="Arial" panose="020B0604020202020204"/>
                <a:ea typeface="MS PGothic"/>
                <a:cs typeface="+mn-cs"/>
              </a:rPr>
              <a:t>Seguridad &amp; Continuidad del negocio</a:t>
            </a:r>
          </a:p>
        </p:txBody>
      </p:sp>
      <p:sp>
        <p:nvSpPr>
          <p:cNvPr id="92" name="Rectangle 70">
            <a:extLst>
              <a:ext uri="{FF2B5EF4-FFF2-40B4-BE49-F238E27FC236}">
                <a16:creationId xmlns:a16="http://schemas.microsoft.com/office/drawing/2014/main" id="{7080BAB4-5966-4772-AF9D-647AEE341EB8}"/>
              </a:ext>
            </a:extLst>
          </p:cNvPr>
          <p:cNvSpPr>
            <a:spLocks noChangeArrowheads="1"/>
          </p:cNvSpPr>
          <p:nvPr/>
        </p:nvSpPr>
        <p:spPr bwMode="auto">
          <a:xfrm>
            <a:off x="11722367" y="8241175"/>
            <a:ext cx="2572877" cy="973523"/>
          </a:xfrm>
          <a:prstGeom prst="rect">
            <a:avLst/>
          </a:prstGeom>
          <a:solidFill>
            <a:schemeClr val="accent1">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alpha val="40000"/>
                  </a:schemeClr>
                </a:solidFill>
                <a:latin typeface="Arial" panose="020B0604020202020204"/>
                <a:ea typeface="MS PGothic"/>
                <a:cs typeface="+mn-cs"/>
              </a:rPr>
              <a:t>Gestión de Incidencias &amp; Problemas</a:t>
            </a:r>
          </a:p>
        </p:txBody>
      </p:sp>
      <p:sp>
        <p:nvSpPr>
          <p:cNvPr id="93" name="Rectangle 82">
            <a:extLst>
              <a:ext uri="{FF2B5EF4-FFF2-40B4-BE49-F238E27FC236}">
                <a16:creationId xmlns:a16="http://schemas.microsoft.com/office/drawing/2014/main" id="{616D692E-2C63-4A5F-89AA-272ECB15137D}"/>
              </a:ext>
            </a:extLst>
          </p:cNvPr>
          <p:cNvSpPr>
            <a:spLocks noChangeArrowheads="1"/>
          </p:cNvSpPr>
          <p:nvPr/>
        </p:nvSpPr>
        <p:spPr bwMode="auto">
          <a:xfrm>
            <a:off x="14641033" y="8248713"/>
            <a:ext cx="2572877" cy="973523"/>
          </a:xfrm>
          <a:prstGeom prst="rect">
            <a:avLst/>
          </a:prstGeom>
          <a:solidFill>
            <a:schemeClr val="bg2">
              <a:lumMod val="85000"/>
              <a:alpha val="40000"/>
            </a:schemeClr>
          </a:solidFill>
          <a:ln w="11113" cap="rnd">
            <a:noFill/>
            <a:miter lim="800000"/>
            <a:headEnd/>
            <a:tailEnd/>
          </a:ln>
          <a:effectLst/>
        </p:spPr>
        <p:txBody>
          <a:bodyPr anchor="ctr"/>
          <a:lstStyle/>
          <a:p>
            <a:pPr defTabSz="1097280" fontAlgn="base">
              <a:spcBef>
                <a:spcPct val="0"/>
              </a:spcBef>
              <a:spcAft>
                <a:spcPct val="0"/>
              </a:spcAft>
            </a:pPr>
            <a:r>
              <a:rPr lang="en-GB" altLang="en-US" sz="1400" b="1" dirty="0">
                <a:solidFill>
                  <a:srgbClr val="000000">
                    <a:alpha val="40000"/>
                  </a:srgbClr>
                </a:solidFill>
                <a:latin typeface="Arial"/>
                <a:ea typeface="MS PGothic"/>
                <a:cs typeface="Arial"/>
              </a:rPr>
              <a:t>Oficina de gestión del Portfolio Cloud</a:t>
            </a:r>
            <a:endParaRPr lang="en-US" dirty="0">
              <a:solidFill>
                <a:srgbClr val="000000">
                  <a:alpha val="40000"/>
                </a:srgbClr>
              </a:solidFill>
            </a:endParaRPr>
          </a:p>
        </p:txBody>
      </p:sp>
      <p:sp>
        <p:nvSpPr>
          <p:cNvPr id="94" name="Rectangle 86">
            <a:extLst>
              <a:ext uri="{FF2B5EF4-FFF2-40B4-BE49-F238E27FC236}">
                <a16:creationId xmlns:a16="http://schemas.microsoft.com/office/drawing/2014/main" id="{EA4ABF29-EDB8-4024-BCF4-24D31A64E397}"/>
              </a:ext>
            </a:extLst>
          </p:cNvPr>
          <p:cNvSpPr>
            <a:spLocks noChangeArrowheads="1"/>
          </p:cNvSpPr>
          <p:nvPr/>
        </p:nvSpPr>
        <p:spPr bwMode="auto">
          <a:xfrm>
            <a:off x="11726984" y="4903089"/>
            <a:ext cx="2572877" cy="973523"/>
          </a:xfrm>
          <a:prstGeom prst="rect">
            <a:avLst/>
          </a:prstGeom>
          <a:solidFill>
            <a:schemeClr val="accent1">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alpha val="40000"/>
                  </a:schemeClr>
                </a:solidFill>
                <a:latin typeface="Arial" panose="020B0604020202020204"/>
                <a:ea typeface="MS PGothic"/>
                <a:cs typeface="+mn-cs"/>
              </a:rPr>
              <a:t>Gestión del nivel de servicio al cliente</a:t>
            </a:r>
          </a:p>
        </p:txBody>
      </p:sp>
      <p:sp>
        <p:nvSpPr>
          <p:cNvPr id="95" name="Rectangle 90">
            <a:extLst>
              <a:ext uri="{FF2B5EF4-FFF2-40B4-BE49-F238E27FC236}">
                <a16:creationId xmlns:a16="http://schemas.microsoft.com/office/drawing/2014/main" id="{64B86CCF-5F82-48DA-8379-966BAFBC03C5}"/>
              </a:ext>
            </a:extLst>
          </p:cNvPr>
          <p:cNvSpPr>
            <a:spLocks noChangeArrowheads="1"/>
          </p:cNvSpPr>
          <p:nvPr/>
        </p:nvSpPr>
        <p:spPr bwMode="auto">
          <a:xfrm>
            <a:off x="11732518" y="10466118"/>
            <a:ext cx="2572877" cy="973523"/>
          </a:xfrm>
          <a:prstGeom prst="rect">
            <a:avLst/>
          </a:prstGeom>
          <a:solidFill>
            <a:schemeClr val="bg2">
              <a:lumMod val="85000"/>
              <a:alpha val="40000"/>
            </a:schemeClr>
          </a:solidFill>
          <a:ln w="11113" cap="rnd">
            <a:no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a:solidFill>
                  <a:srgbClr val="000000">
                    <a:alpha val="40000"/>
                  </a:srgbClr>
                </a:solidFill>
                <a:latin typeface="Arial"/>
                <a:ea typeface="MS PGothic"/>
                <a:cs typeface="Arial"/>
              </a:rPr>
              <a:t>Gestión de Activos &amp; Información</a:t>
            </a:r>
          </a:p>
        </p:txBody>
      </p:sp>
      <p:sp>
        <p:nvSpPr>
          <p:cNvPr id="96" name="Rectangle 102">
            <a:extLst>
              <a:ext uri="{FF2B5EF4-FFF2-40B4-BE49-F238E27FC236}">
                <a16:creationId xmlns:a16="http://schemas.microsoft.com/office/drawing/2014/main" id="{15D7CEA9-F6AB-4420-8B6A-6DBE4058C1EE}"/>
              </a:ext>
            </a:extLst>
          </p:cNvPr>
          <p:cNvSpPr>
            <a:spLocks noChangeArrowheads="1"/>
          </p:cNvSpPr>
          <p:nvPr/>
        </p:nvSpPr>
        <p:spPr bwMode="auto">
          <a:xfrm>
            <a:off x="14650264" y="6020461"/>
            <a:ext cx="2572877" cy="973523"/>
          </a:xfrm>
          <a:prstGeom prst="rect">
            <a:avLst/>
          </a:prstGeom>
          <a:solidFill>
            <a:schemeClr val="bg2">
              <a:lumMod val="85000"/>
              <a:alpha val="40000"/>
            </a:schemeClr>
          </a:solidFill>
          <a:ln w="11113" cap="rnd">
            <a:noFill/>
            <a:miter lim="800000"/>
            <a:headEnd/>
            <a:tailEnd/>
          </a:ln>
          <a:effectLst/>
        </p:spPr>
        <p:txBody>
          <a:bodyPr anchor="ctr"/>
          <a:lstStyle/>
          <a:p>
            <a:pPr defTabSz="1097280" fontAlgn="base">
              <a:spcBef>
                <a:spcPct val="0"/>
              </a:spcBef>
              <a:spcAft>
                <a:spcPct val="0"/>
              </a:spcAft>
            </a:pPr>
            <a:r>
              <a:rPr lang="en-GB" altLang="en-US" sz="1400" b="1" dirty="0">
                <a:solidFill>
                  <a:srgbClr val="000000">
                    <a:alpha val="40000"/>
                  </a:srgbClr>
                </a:solidFill>
                <a:latin typeface="Arial"/>
                <a:ea typeface="MS PGothic"/>
                <a:cs typeface="Arial"/>
              </a:rPr>
              <a:t>Plan financiero &amp; economía de la nube</a:t>
            </a:r>
          </a:p>
        </p:txBody>
      </p:sp>
      <p:sp>
        <p:nvSpPr>
          <p:cNvPr id="97" name="Rectangle 191">
            <a:extLst>
              <a:ext uri="{FF2B5EF4-FFF2-40B4-BE49-F238E27FC236}">
                <a16:creationId xmlns:a16="http://schemas.microsoft.com/office/drawing/2014/main" id="{46024779-2565-474F-BF05-306F79BD644B}"/>
              </a:ext>
            </a:extLst>
          </p:cNvPr>
          <p:cNvSpPr>
            <a:spLocks noChangeArrowheads="1"/>
          </p:cNvSpPr>
          <p:nvPr/>
        </p:nvSpPr>
        <p:spPr bwMode="auto">
          <a:xfrm>
            <a:off x="3060051" y="9360274"/>
            <a:ext cx="2572877" cy="973523"/>
          </a:xfrm>
          <a:prstGeom prst="rect">
            <a:avLst/>
          </a:prstGeom>
          <a:solidFill>
            <a:schemeClr val="accent1">
              <a:lumMod val="20000"/>
              <a:lumOff val="80000"/>
              <a:alpha val="40000"/>
            </a:schemeClr>
          </a:solidFill>
          <a:ln>
            <a:no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a:solidFill>
                  <a:schemeClr val="tx1">
                    <a:alpha val="40000"/>
                  </a:schemeClr>
                </a:solidFill>
                <a:latin typeface="Arial" panose="020B0604020202020204"/>
                <a:ea typeface="MS PGothic"/>
                <a:cs typeface="+mn-cs"/>
              </a:rPr>
              <a:t>Asistencia del servicio al cliente</a:t>
            </a:r>
          </a:p>
        </p:txBody>
      </p:sp>
      <p:sp>
        <p:nvSpPr>
          <p:cNvPr id="98" name="Rectangle 191">
            <a:extLst>
              <a:ext uri="{FF2B5EF4-FFF2-40B4-BE49-F238E27FC236}">
                <a16:creationId xmlns:a16="http://schemas.microsoft.com/office/drawing/2014/main" id="{771ABA24-D578-4630-A08D-E9C9822F2A93}"/>
              </a:ext>
            </a:extLst>
          </p:cNvPr>
          <p:cNvSpPr>
            <a:spLocks noChangeArrowheads="1"/>
          </p:cNvSpPr>
          <p:nvPr/>
        </p:nvSpPr>
        <p:spPr bwMode="auto">
          <a:xfrm>
            <a:off x="14641033" y="4903089"/>
            <a:ext cx="2572877" cy="973523"/>
          </a:xfrm>
          <a:prstGeom prst="rect">
            <a:avLst/>
          </a:prstGeom>
          <a:solidFill>
            <a:schemeClr val="bg2">
              <a:lumMod val="85000"/>
              <a:alpha val="40000"/>
            </a:schemeClr>
          </a:solidFill>
          <a:ln w="11113" cap="rnd">
            <a:no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a:solidFill>
                  <a:srgbClr val="000000">
                    <a:alpha val="40000"/>
                  </a:srgbClr>
                </a:solidFill>
                <a:latin typeface="Arial"/>
                <a:ea typeface="MS PGothic"/>
                <a:cs typeface="Arial"/>
              </a:rPr>
              <a:t>Estándares &amp; Polticas Cloud</a:t>
            </a:r>
          </a:p>
        </p:txBody>
      </p:sp>
      <p:sp>
        <p:nvSpPr>
          <p:cNvPr id="99" name="Rectangle 255">
            <a:extLst>
              <a:ext uri="{FF2B5EF4-FFF2-40B4-BE49-F238E27FC236}">
                <a16:creationId xmlns:a16="http://schemas.microsoft.com/office/drawing/2014/main" id="{06399D85-BC97-4BB4-B266-B8EA841BA52A}"/>
              </a:ext>
            </a:extLst>
          </p:cNvPr>
          <p:cNvSpPr>
            <a:spLocks noChangeArrowheads="1"/>
          </p:cNvSpPr>
          <p:nvPr/>
        </p:nvSpPr>
        <p:spPr bwMode="auto">
          <a:xfrm>
            <a:off x="11722367" y="7131339"/>
            <a:ext cx="2572877" cy="973523"/>
          </a:xfrm>
          <a:prstGeom prst="rect">
            <a:avLst/>
          </a:prstGeom>
          <a:solidFill>
            <a:schemeClr val="accent1">
              <a:lumMod val="20000"/>
              <a:lumOff val="80000"/>
              <a:alpha val="40000"/>
            </a:schemeClr>
          </a:solidFill>
          <a:ln>
            <a:no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US" altLang="en-US" sz="1400" b="1">
                <a:solidFill>
                  <a:schemeClr val="tx1">
                    <a:alpha val="40000"/>
                  </a:schemeClr>
                </a:solidFill>
                <a:latin typeface="Arial" panose="020B0604020202020204"/>
                <a:ea typeface="MS PGothic"/>
                <a:cs typeface="+mn-cs"/>
              </a:rPr>
              <a:t>Monitorización de servicios &amp; eventos API</a:t>
            </a:r>
          </a:p>
        </p:txBody>
      </p:sp>
      <p:sp>
        <p:nvSpPr>
          <p:cNvPr id="100" name="Rectangle 99">
            <a:extLst>
              <a:ext uri="{FF2B5EF4-FFF2-40B4-BE49-F238E27FC236}">
                <a16:creationId xmlns:a16="http://schemas.microsoft.com/office/drawing/2014/main" id="{5A855889-EC44-4E3F-8A36-ED0801397606}"/>
              </a:ext>
            </a:extLst>
          </p:cNvPr>
          <p:cNvSpPr/>
          <p:nvPr/>
        </p:nvSpPr>
        <p:spPr>
          <a:xfrm>
            <a:off x="14615958" y="3413988"/>
            <a:ext cx="2572877" cy="1321210"/>
          </a:xfrm>
          <a:prstGeom prst="rect">
            <a:avLst/>
          </a:prstGeom>
          <a:solidFill>
            <a:srgbClr val="C00000">
              <a:alpha val="40000"/>
            </a:srgb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alpha val="40000"/>
                  </a:schemeClr>
                </a:solidFill>
                <a:latin typeface="Arial" panose="020B0604020202020204"/>
                <a:ea typeface="MS PGothic" charset="-128"/>
              </a:rPr>
              <a:t>Governance</a:t>
            </a:r>
            <a:br>
              <a:rPr lang="en-GB" sz="1600" b="1" dirty="0">
                <a:solidFill>
                  <a:schemeClr val="bg1">
                    <a:alpha val="40000"/>
                  </a:schemeClr>
                </a:solidFill>
                <a:latin typeface="Arial" panose="020B0604020202020204"/>
                <a:ea typeface="MS PGothic" charset="-128"/>
              </a:rPr>
            </a:br>
            <a:r>
              <a:rPr lang="en-GB" sz="1600" b="1" dirty="0">
                <a:solidFill>
                  <a:schemeClr val="bg1">
                    <a:alpha val="40000"/>
                  </a:schemeClr>
                </a:solidFill>
                <a:latin typeface="Arial" panose="020B0604020202020204"/>
                <a:ea typeface="MS PGothic" charset="-128"/>
              </a:rPr>
              <a:t>&amp; Control</a:t>
            </a:r>
            <a:endParaRPr lang="en-US" sz="1600" b="1" dirty="0">
              <a:solidFill>
                <a:schemeClr val="bg1">
                  <a:alpha val="40000"/>
                </a:schemeClr>
              </a:solidFill>
              <a:latin typeface="Arial" panose="020B0604020202020204"/>
              <a:ea typeface="MS PGothic" charset="-128"/>
            </a:endParaRPr>
          </a:p>
        </p:txBody>
      </p:sp>
      <p:sp>
        <p:nvSpPr>
          <p:cNvPr id="101" name="Rectangle 100">
            <a:extLst>
              <a:ext uri="{FF2B5EF4-FFF2-40B4-BE49-F238E27FC236}">
                <a16:creationId xmlns:a16="http://schemas.microsoft.com/office/drawing/2014/main" id="{19D5D9C9-F740-41E4-B438-F01F0FB113A4}"/>
              </a:ext>
            </a:extLst>
          </p:cNvPr>
          <p:cNvSpPr/>
          <p:nvPr/>
        </p:nvSpPr>
        <p:spPr>
          <a:xfrm>
            <a:off x="11726984" y="3413988"/>
            <a:ext cx="2572877" cy="1321210"/>
          </a:xfrm>
          <a:prstGeom prst="rect">
            <a:avLst/>
          </a:prstGeom>
          <a:solidFill>
            <a:srgbClr val="C00000">
              <a:alpha val="40000"/>
            </a:srgb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a:spcBef>
                <a:spcPct val="0"/>
              </a:spcBef>
              <a:spcAft>
                <a:spcPct val="0"/>
              </a:spcAft>
            </a:pPr>
            <a:r>
              <a:rPr lang="en-GB" sz="1600" b="1" dirty="0">
                <a:solidFill>
                  <a:schemeClr val="bg1">
                    <a:alpha val="40000"/>
                  </a:schemeClr>
                </a:solidFill>
                <a:latin typeface="Arial" panose="020B0604020202020204"/>
                <a:ea typeface="MS PGothic"/>
              </a:rPr>
              <a:t>Operaciones de servicio continuas</a:t>
            </a:r>
            <a:endParaRPr lang="en-US" dirty="0">
              <a:solidFill>
                <a:schemeClr val="bg1">
                  <a:alpha val="40000"/>
                </a:schemeClr>
              </a:solidFill>
            </a:endParaRPr>
          </a:p>
        </p:txBody>
      </p:sp>
      <p:sp>
        <p:nvSpPr>
          <p:cNvPr id="102" name="Rectangle 101">
            <a:extLst>
              <a:ext uri="{FF2B5EF4-FFF2-40B4-BE49-F238E27FC236}">
                <a16:creationId xmlns:a16="http://schemas.microsoft.com/office/drawing/2014/main" id="{F768933A-8FD7-4A7B-902C-3708D03DB359}"/>
              </a:ext>
            </a:extLst>
          </p:cNvPr>
          <p:cNvSpPr/>
          <p:nvPr/>
        </p:nvSpPr>
        <p:spPr>
          <a:xfrm>
            <a:off x="5949031" y="3366978"/>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solidFill>
                <a:latin typeface="Arial" panose="020B0604020202020204"/>
                <a:ea typeface="MS PGothic"/>
              </a:rPr>
              <a:t>CI / CD de releases</a:t>
            </a:r>
            <a:endParaRPr lang="en-GB" sz="1600" b="1" dirty="0">
              <a:solidFill>
                <a:schemeClr val="bg1"/>
              </a:solidFill>
              <a:latin typeface="Arial" panose="020B0604020202020204"/>
              <a:ea typeface="MS PGothic"/>
              <a:cs typeface="Arial"/>
            </a:endParaRPr>
          </a:p>
        </p:txBody>
      </p:sp>
      <p:sp>
        <p:nvSpPr>
          <p:cNvPr id="103" name="Rectangle 102">
            <a:extLst>
              <a:ext uri="{FF2B5EF4-FFF2-40B4-BE49-F238E27FC236}">
                <a16:creationId xmlns:a16="http://schemas.microsoft.com/office/drawing/2014/main" id="{C3136EE3-A32F-4680-8083-5ED869923028}"/>
              </a:ext>
            </a:extLst>
          </p:cNvPr>
          <p:cNvSpPr/>
          <p:nvPr/>
        </p:nvSpPr>
        <p:spPr>
          <a:xfrm>
            <a:off x="3060053" y="3366978"/>
            <a:ext cx="2572877" cy="1321210"/>
          </a:xfrm>
          <a:prstGeom prst="rect">
            <a:avLst/>
          </a:prstGeom>
          <a:solidFill>
            <a:srgbClr val="C00000">
              <a:alpha val="40000"/>
            </a:srgb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alpha val="40000"/>
                  </a:schemeClr>
                </a:solidFill>
                <a:latin typeface="Arial" panose="020B0604020202020204"/>
                <a:ea typeface="MS PGothic"/>
                <a:cs typeface="Arial"/>
              </a:rPr>
              <a:t>Servicios de demanda ágiles</a:t>
            </a:r>
            <a:endParaRPr lang="en-GB" sz="1600" b="1" dirty="0">
              <a:solidFill>
                <a:schemeClr val="bg1">
                  <a:alpha val="40000"/>
                </a:schemeClr>
              </a:solidFill>
              <a:latin typeface="Arial" panose="020B0604020202020204"/>
              <a:ea typeface="MS PGothic" charset="-128"/>
              <a:cs typeface="Arial"/>
            </a:endParaRPr>
          </a:p>
        </p:txBody>
      </p:sp>
      <p:sp>
        <p:nvSpPr>
          <p:cNvPr id="105" name="Rectangle 491">
            <a:extLst>
              <a:ext uri="{FF2B5EF4-FFF2-40B4-BE49-F238E27FC236}">
                <a16:creationId xmlns:a16="http://schemas.microsoft.com/office/drawing/2014/main" id="{68DB9195-B3C3-46DA-A851-8DB33887CC72}"/>
              </a:ext>
            </a:extLst>
          </p:cNvPr>
          <p:cNvSpPr>
            <a:spLocks noChangeArrowheads="1"/>
          </p:cNvSpPr>
          <p:nvPr/>
        </p:nvSpPr>
        <p:spPr bwMode="auto">
          <a:xfrm>
            <a:off x="5949031" y="10466118"/>
            <a:ext cx="2572877" cy="973523"/>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solidFill>
                <a:latin typeface="Arial" panose="020B0604020202020204"/>
                <a:ea typeface="MS PGothic"/>
              </a:rPr>
              <a:t>Despliegue &amp; Empaquetado de releases</a:t>
            </a:r>
          </a:p>
        </p:txBody>
      </p:sp>
      <p:sp>
        <p:nvSpPr>
          <p:cNvPr id="106" name="Rectangle 491">
            <a:extLst>
              <a:ext uri="{FF2B5EF4-FFF2-40B4-BE49-F238E27FC236}">
                <a16:creationId xmlns:a16="http://schemas.microsoft.com/office/drawing/2014/main" id="{CFBDE762-6285-48E7-B808-AAFFEF8D3838}"/>
              </a:ext>
            </a:extLst>
          </p:cNvPr>
          <p:cNvSpPr>
            <a:spLocks noChangeArrowheads="1"/>
          </p:cNvSpPr>
          <p:nvPr/>
        </p:nvSpPr>
        <p:spPr bwMode="auto">
          <a:xfrm>
            <a:off x="5949031" y="8250439"/>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a:solidFill>
                  <a:srgbClr val="000000"/>
                </a:solidFill>
                <a:latin typeface="Arial"/>
                <a:ea typeface="MS PGothic"/>
                <a:cs typeface="Arial"/>
              </a:rPr>
              <a:t>Gestión &amp; Integración de APIs</a:t>
            </a:r>
          </a:p>
        </p:txBody>
      </p:sp>
      <p:sp>
        <p:nvSpPr>
          <p:cNvPr id="107" name="Rectangle 491">
            <a:extLst>
              <a:ext uri="{FF2B5EF4-FFF2-40B4-BE49-F238E27FC236}">
                <a16:creationId xmlns:a16="http://schemas.microsoft.com/office/drawing/2014/main" id="{464ADECC-8EA1-4FF3-99B8-87B6CCD37445}"/>
              </a:ext>
            </a:extLst>
          </p:cNvPr>
          <p:cNvSpPr>
            <a:spLocks noChangeArrowheads="1"/>
          </p:cNvSpPr>
          <p:nvPr/>
        </p:nvSpPr>
        <p:spPr bwMode="auto">
          <a:xfrm>
            <a:off x="3060051" y="10466118"/>
            <a:ext cx="2572877" cy="973523"/>
          </a:xfrm>
          <a:prstGeom prst="rect">
            <a:avLst/>
          </a:prstGeom>
          <a:solidFill>
            <a:schemeClr val="accent1">
              <a:lumMod val="20000"/>
              <a:lumOff val="80000"/>
              <a:alpha val="40000"/>
            </a:schemeClr>
          </a:solidFill>
          <a:ln>
            <a:no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a:solidFill>
                  <a:schemeClr val="tx1">
                    <a:alpha val="40000"/>
                  </a:schemeClr>
                </a:solidFill>
                <a:latin typeface="Arial" panose="020B0604020202020204"/>
                <a:ea typeface="MS PGothic"/>
                <a:cs typeface="+mn-cs"/>
              </a:rPr>
              <a:t>Estrategia</a:t>
            </a:r>
          </a:p>
          <a:p>
            <a:pPr defTabSz="1097280" fontAlgn="base">
              <a:spcBef>
                <a:spcPct val="0"/>
              </a:spcBef>
              <a:spcAft>
                <a:spcPct val="0"/>
              </a:spcAft>
            </a:pPr>
            <a:r>
              <a:rPr lang="en-GB" altLang="en-US" sz="1400" b="1">
                <a:solidFill>
                  <a:schemeClr val="tx1">
                    <a:alpha val="40000"/>
                  </a:schemeClr>
                </a:solidFill>
                <a:latin typeface="Arial" panose="020B0604020202020204"/>
                <a:ea typeface="MS PGothic"/>
                <a:cs typeface="+mn-cs"/>
              </a:rPr>
              <a:t>Talent &amp; Knowledge</a:t>
            </a:r>
          </a:p>
        </p:txBody>
      </p:sp>
      <p:sp>
        <p:nvSpPr>
          <p:cNvPr id="108" name="Rectangle 491">
            <a:extLst>
              <a:ext uri="{FF2B5EF4-FFF2-40B4-BE49-F238E27FC236}">
                <a16:creationId xmlns:a16="http://schemas.microsoft.com/office/drawing/2014/main" id="{96805C4C-7A18-4F0B-AF0C-9BFA5146C73B}"/>
              </a:ext>
            </a:extLst>
          </p:cNvPr>
          <p:cNvSpPr>
            <a:spLocks noChangeArrowheads="1"/>
          </p:cNvSpPr>
          <p:nvPr/>
        </p:nvSpPr>
        <p:spPr bwMode="auto">
          <a:xfrm>
            <a:off x="8838007" y="8250439"/>
            <a:ext cx="2572877" cy="973523"/>
          </a:xfrm>
          <a:prstGeom prst="rect">
            <a:avLst/>
          </a:prstGeom>
          <a:solidFill>
            <a:schemeClr val="bg2">
              <a:lumMod val="85000"/>
              <a:alpha val="40000"/>
            </a:schemeClr>
          </a:solidFill>
          <a:ln w="11113" cap="rnd">
            <a:noFill/>
            <a:miter lim="800000"/>
            <a:headEnd/>
            <a:tailEnd/>
          </a:ln>
          <a:effectLst/>
        </p:spPr>
        <p:txBody>
          <a:bodyPr anchor="ctr"/>
          <a:lstStyle/>
          <a:p>
            <a:pPr defTabSz="1097280" fontAlgn="base">
              <a:spcBef>
                <a:spcPct val="0"/>
              </a:spcBef>
              <a:spcAft>
                <a:spcPct val="0"/>
              </a:spcAft>
            </a:pPr>
            <a:r>
              <a:rPr lang="en-GB" altLang="en-US" sz="1400" b="1" dirty="0">
                <a:solidFill>
                  <a:srgbClr val="000000">
                    <a:alpha val="40000"/>
                  </a:srgbClr>
                </a:solidFill>
                <a:latin typeface="Arial"/>
                <a:ea typeface="MS PGothic"/>
                <a:cs typeface="Arial"/>
              </a:rPr>
              <a:t>Gestión de la Capacidad</a:t>
            </a:r>
          </a:p>
        </p:txBody>
      </p:sp>
      <p:sp>
        <p:nvSpPr>
          <p:cNvPr id="109" name="Rectangle 491">
            <a:extLst>
              <a:ext uri="{FF2B5EF4-FFF2-40B4-BE49-F238E27FC236}">
                <a16:creationId xmlns:a16="http://schemas.microsoft.com/office/drawing/2014/main" id="{36861C15-C146-4A50-BEBD-B5EAF3ACAB6D}"/>
              </a:ext>
            </a:extLst>
          </p:cNvPr>
          <p:cNvSpPr>
            <a:spLocks noChangeArrowheads="1"/>
          </p:cNvSpPr>
          <p:nvPr/>
        </p:nvSpPr>
        <p:spPr bwMode="auto">
          <a:xfrm>
            <a:off x="8838007" y="9360274"/>
            <a:ext cx="2572877" cy="973523"/>
          </a:xfrm>
          <a:prstGeom prst="rect">
            <a:avLst/>
          </a:prstGeom>
          <a:solidFill>
            <a:schemeClr val="accent1">
              <a:lumMod val="20000"/>
              <a:lumOff val="80000"/>
              <a:alpha val="40000"/>
            </a:schemeClr>
          </a:solidFill>
          <a:ln>
            <a:no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a:solidFill>
                  <a:schemeClr val="tx1">
                    <a:alpha val="40000"/>
                  </a:schemeClr>
                </a:solidFill>
                <a:latin typeface="Arial" panose="020B0604020202020204"/>
                <a:ea typeface="MS PGothic"/>
                <a:cs typeface="+mn-cs"/>
              </a:rPr>
              <a:t>Disponibilidad &amp; Ingeniería de confiabilidad del servicio (SRE)</a:t>
            </a:r>
          </a:p>
        </p:txBody>
      </p:sp>
      <p:sp>
        <p:nvSpPr>
          <p:cNvPr id="110" name="Rectangle 491">
            <a:extLst>
              <a:ext uri="{FF2B5EF4-FFF2-40B4-BE49-F238E27FC236}">
                <a16:creationId xmlns:a16="http://schemas.microsoft.com/office/drawing/2014/main" id="{9AE9D117-CC55-4256-B3C6-E934259E1BC8}"/>
              </a:ext>
            </a:extLst>
          </p:cNvPr>
          <p:cNvSpPr>
            <a:spLocks noChangeArrowheads="1"/>
          </p:cNvSpPr>
          <p:nvPr/>
        </p:nvSpPr>
        <p:spPr bwMode="auto">
          <a:xfrm>
            <a:off x="3060053" y="8250439"/>
            <a:ext cx="2572877" cy="973523"/>
          </a:xfrm>
          <a:prstGeom prst="rect">
            <a:avLst/>
          </a:prstGeom>
          <a:solidFill>
            <a:schemeClr val="bg2">
              <a:lumMod val="85000"/>
              <a:alpha val="40000"/>
            </a:schemeClr>
          </a:solidFill>
          <a:ln w="11113" cap="rnd">
            <a:no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algn="ctr" defTabSz="1097280" fontAlgn="base">
              <a:spcBef>
                <a:spcPct val="0"/>
              </a:spcBef>
              <a:spcAft>
                <a:spcPct val="0"/>
              </a:spcAft>
            </a:pPr>
            <a:r>
              <a:rPr lang="en-GB" altLang="en-US" sz="1400" b="1" kern="0">
                <a:solidFill>
                  <a:srgbClr val="000000">
                    <a:alpha val="40000"/>
                  </a:srgbClr>
                </a:solidFill>
                <a:latin typeface="Arial"/>
                <a:ea typeface="MS PGothic"/>
                <a:cs typeface="Arial"/>
              </a:rPr>
              <a:t>Data Science </a:t>
            </a:r>
            <a:r>
              <a:rPr lang="en-GB" altLang="en-US" sz="1400" b="1">
                <a:solidFill>
                  <a:srgbClr val="000000">
                    <a:alpha val="40000"/>
                  </a:srgbClr>
                </a:solidFill>
                <a:latin typeface="Arial"/>
                <a:ea typeface="MS PGothic"/>
                <a:cs typeface="Arial"/>
              </a:rPr>
              <a:t>y</a:t>
            </a:r>
            <a:r>
              <a:rPr lang="en-GB" altLang="en-US" sz="1400" b="1" kern="0">
                <a:solidFill>
                  <a:srgbClr val="000000">
                    <a:alpha val="40000"/>
                  </a:srgbClr>
                </a:solidFill>
                <a:latin typeface="Arial"/>
                <a:ea typeface="MS PGothic"/>
                <a:cs typeface="Arial"/>
              </a:rPr>
              <a:t> Analytics</a:t>
            </a:r>
          </a:p>
        </p:txBody>
      </p:sp>
      <p:sp>
        <p:nvSpPr>
          <p:cNvPr id="111" name="Rectangle 254">
            <a:extLst>
              <a:ext uri="{FF2B5EF4-FFF2-40B4-BE49-F238E27FC236}">
                <a16:creationId xmlns:a16="http://schemas.microsoft.com/office/drawing/2014/main" id="{775D60D5-A625-442D-8FEE-7C2239461E2B}"/>
              </a:ext>
            </a:extLst>
          </p:cNvPr>
          <p:cNvSpPr>
            <a:spLocks noChangeArrowheads="1"/>
          </p:cNvSpPr>
          <p:nvPr/>
        </p:nvSpPr>
        <p:spPr bwMode="auto">
          <a:xfrm>
            <a:off x="11722367" y="6016351"/>
            <a:ext cx="2572877" cy="973523"/>
          </a:xfrm>
          <a:prstGeom prst="rect">
            <a:avLst/>
          </a:prstGeom>
          <a:solidFill>
            <a:schemeClr val="accent1">
              <a:lumMod val="20000"/>
              <a:lumOff val="80000"/>
              <a:alpha val="40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a:solidFill>
                  <a:schemeClr val="tx1">
                    <a:alpha val="40000"/>
                  </a:schemeClr>
                </a:solidFill>
                <a:latin typeface="Arial" panose="020B0604020202020204"/>
                <a:ea typeface="MS PGothic"/>
                <a:cs typeface="+mn-cs"/>
              </a:rPr>
              <a:t>Gestión del rendimiento de la plataforma</a:t>
            </a:r>
          </a:p>
        </p:txBody>
      </p:sp>
      <p:sp>
        <p:nvSpPr>
          <p:cNvPr id="112" name="Rectangle 491">
            <a:extLst>
              <a:ext uri="{FF2B5EF4-FFF2-40B4-BE49-F238E27FC236}">
                <a16:creationId xmlns:a16="http://schemas.microsoft.com/office/drawing/2014/main" id="{D0DDA1A9-6DAC-443E-AAAF-1CA5919B284D}"/>
              </a:ext>
            </a:extLst>
          </p:cNvPr>
          <p:cNvSpPr>
            <a:spLocks noChangeArrowheads="1"/>
          </p:cNvSpPr>
          <p:nvPr/>
        </p:nvSpPr>
        <p:spPr bwMode="auto">
          <a:xfrm>
            <a:off x="3060053" y="7135450"/>
            <a:ext cx="2572877" cy="973523"/>
          </a:xfrm>
          <a:prstGeom prst="rect">
            <a:avLst/>
          </a:prstGeom>
          <a:solidFill>
            <a:schemeClr val="accent1">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alpha val="40000"/>
                  </a:schemeClr>
                </a:solidFill>
                <a:latin typeface="Arial" panose="020B0604020202020204"/>
                <a:ea typeface="MS PGothic"/>
                <a:cs typeface="+mn-cs"/>
              </a:rPr>
              <a:t>Introducción &amp; Cambio de los servicios de producto</a:t>
            </a:r>
          </a:p>
        </p:txBody>
      </p:sp>
      <p:sp>
        <p:nvSpPr>
          <p:cNvPr id="113" name="Rectangle 487">
            <a:extLst>
              <a:ext uri="{FF2B5EF4-FFF2-40B4-BE49-F238E27FC236}">
                <a16:creationId xmlns:a16="http://schemas.microsoft.com/office/drawing/2014/main" id="{79F9B8AD-182E-4E4F-97B1-B9362ED7F66A}"/>
              </a:ext>
            </a:extLst>
          </p:cNvPr>
          <p:cNvSpPr>
            <a:spLocks noChangeArrowheads="1"/>
          </p:cNvSpPr>
          <p:nvPr/>
        </p:nvSpPr>
        <p:spPr bwMode="auto">
          <a:xfrm>
            <a:off x="5949031" y="9360274"/>
            <a:ext cx="2572877" cy="973523"/>
          </a:xfrm>
          <a:prstGeom prst="rect">
            <a:avLst/>
          </a:prstGeom>
          <a:solidFill>
            <a:schemeClr val="accent1">
              <a:lumMod val="20000"/>
              <a:lumOff val="8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a:solidFill>
                  <a:schemeClr val="tx1"/>
                </a:solidFill>
                <a:latin typeface="Arial" panose="020B0604020202020204"/>
                <a:ea typeface="MS PGothic"/>
              </a:rPr>
              <a:t>Integración QA &amp; testing de releases</a:t>
            </a:r>
          </a:p>
        </p:txBody>
      </p:sp>
      <p:sp>
        <p:nvSpPr>
          <p:cNvPr id="114" name="Rectangle 491">
            <a:extLst>
              <a:ext uri="{FF2B5EF4-FFF2-40B4-BE49-F238E27FC236}">
                <a16:creationId xmlns:a16="http://schemas.microsoft.com/office/drawing/2014/main" id="{12349EAF-8A3A-4E22-8115-8C4DEB08EA59}"/>
              </a:ext>
            </a:extLst>
          </p:cNvPr>
          <p:cNvSpPr>
            <a:spLocks noChangeArrowheads="1"/>
          </p:cNvSpPr>
          <p:nvPr/>
        </p:nvSpPr>
        <p:spPr bwMode="auto">
          <a:xfrm>
            <a:off x="8838007" y="4903089"/>
            <a:ext cx="2572877" cy="973523"/>
          </a:xfrm>
          <a:prstGeom prst="rect">
            <a:avLst/>
          </a:prstGeom>
          <a:solidFill>
            <a:schemeClr val="bg2">
              <a:lumMod val="85000"/>
              <a:alpha val="40000"/>
            </a:schemeClr>
          </a:solidFill>
          <a:ln w="11113" cap="rnd">
            <a:noFill/>
            <a:miter lim="800000"/>
            <a:headEnd/>
            <a:tailEnd/>
          </a:ln>
          <a:effectLst/>
        </p:spPr>
        <p:txBody>
          <a:bodyPr anchor="ctr"/>
          <a:lstStyle/>
          <a:p>
            <a:pPr defTabSz="1097280" fontAlgn="base">
              <a:spcBef>
                <a:spcPct val="0"/>
              </a:spcBef>
              <a:spcAft>
                <a:spcPct val="0"/>
              </a:spcAft>
            </a:pPr>
            <a:r>
              <a:rPr lang="en-GB" altLang="en-US" sz="1400" b="1" dirty="0">
                <a:solidFill>
                  <a:srgbClr val="000000">
                    <a:alpha val="40000"/>
                  </a:srgbClr>
                </a:solidFill>
                <a:latin typeface="Arial"/>
                <a:ea typeface="MS PGothic"/>
                <a:cs typeface="Arial"/>
              </a:rPr>
              <a:t>Orquestación &amp; Accesos de servicios</a:t>
            </a:r>
          </a:p>
        </p:txBody>
      </p:sp>
      <p:sp>
        <p:nvSpPr>
          <p:cNvPr id="115" name="Rectangle 491">
            <a:extLst>
              <a:ext uri="{FF2B5EF4-FFF2-40B4-BE49-F238E27FC236}">
                <a16:creationId xmlns:a16="http://schemas.microsoft.com/office/drawing/2014/main" id="{9AAD18AC-6B2E-428D-95BD-65ECFA7A261B}"/>
              </a:ext>
            </a:extLst>
          </p:cNvPr>
          <p:cNvSpPr>
            <a:spLocks noChangeArrowheads="1"/>
          </p:cNvSpPr>
          <p:nvPr/>
        </p:nvSpPr>
        <p:spPr bwMode="auto">
          <a:xfrm>
            <a:off x="5931918" y="6020461"/>
            <a:ext cx="2572877" cy="973523"/>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solidFill>
                <a:latin typeface="Arial" panose="020B0604020202020204"/>
                <a:ea typeface="MS PGothic"/>
                <a:cs typeface="+mn-cs"/>
              </a:rPr>
              <a:t>Gestión &amp; Configuración de versiones</a:t>
            </a:r>
          </a:p>
        </p:txBody>
      </p:sp>
      <p:sp>
        <p:nvSpPr>
          <p:cNvPr id="116" name="Rectangle 255">
            <a:extLst>
              <a:ext uri="{FF2B5EF4-FFF2-40B4-BE49-F238E27FC236}">
                <a16:creationId xmlns:a16="http://schemas.microsoft.com/office/drawing/2014/main" id="{A708ACBD-CA2D-4122-A21C-176DCC5D7A1E}"/>
              </a:ext>
            </a:extLst>
          </p:cNvPr>
          <p:cNvSpPr>
            <a:spLocks noChangeArrowheads="1"/>
          </p:cNvSpPr>
          <p:nvPr/>
        </p:nvSpPr>
        <p:spPr bwMode="auto">
          <a:xfrm>
            <a:off x="14658613" y="7131338"/>
            <a:ext cx="2572877" cy="973523"/>
          </a:xfrm>
          <a:prstGeom prst="rect">
            <a:avLst/>
          </a:prstGeom>
          <a:solidFill>
            <a:schemeClr val="bg2">
              <a:lumMod val="85000"/>
              <a:alpha val="40000"/>
            </a:schemeClr>
          </a:solidFill>
          <a:ln w="11113" cap="rnd">
            <a:no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a:solidFill>
                  <a:srgbClr val="000000">
                    <a:alpha val="40000"/>
                  </a:srgbClr>
                </a:solidFill>
                <a:latin typeface="Arial"/>
                <a:ea typeface="MS PGothic"/>
                <a:cs typeface="Arial"/>
              </a:rPr>
              <a:t>Abastecimiento y gestión de Partners</a:t>
            </a:r>
          </a:p>
        </p:txBody>
      </p:sp>
      <p:sp>
        <p:nvSpPr>
          <p:cNvPr id="69" name="TextBox 74">
            <a:extLst>
              <a:ext uri="{FF2B5EF4-FFF2-40B4-BE49-F238E27FC236}">
                <a16:creationId xmlns:a16="http://schemas.microsoft.com/office/drawing/2014/main" id="{1453F6C6-C5BE-426B-AFB8-4B8D80126E92}"/>
              </a:ext>
            </a:extLst>
          </p:cNvPr>
          <p:cNvSpPr txBox="1"/>
          <p:nvPr/>
        </p:nvSpPr>
        <p:spPr>
          <a:xfrm>
            <a:off x="650240" y="541319"/>
            <a:ext cx="22611504" cy="1138773"/>
          </a:xfrm>
          <a:prstGeom prst="rect">
            <a:avLst/>
          </a:prstGeom>
          <a:noFill/>
        </p:spPr>
        <p:txBody>
          <a:bodyPr wrap="square" rtlCol="0" anchor="t">
            <a:spAutoFit/>
          </a:bodyPr>
          <a:lstStyle/>
          <a:p>
            <a:pPr algn="l"/>
            <a:r>
              <a:rPr lang="en-GB" sz="4000" b="1" kern="1200" dirty="0">
                <a:solidFill>
                  <a:srgbClr val="C00000"/>
                </a:solidFill>
              </a:rPr>
              <a:t>Principales procesos operativos</a:t>
            </a:r>
          </a:p>
          <a:p>
            <a:pPr algn="l"/>
            <a:r>
              <a:rPr lang="en-GB" altLang="en-US" sz="2800" kern="1200" dirty="0">
                <a:solidFill>
                  <a:schemeClr val="tx1"/>
                </a:solidFill>
              </a:rPr>
              <a:t>CI/CD de releases</a:t>
            </a:r>
            <a:endParaRPr lang="en-US" altLang="en-US" sz="2800" kern="1200" dirty="0">
              <a:solidFill>
                <a:schemeClr val="tx1"/>
              </a:solidFill>
            </a:endParaRPr>
          </a:p>
        </p:txBody>
      </p:sp>
      <p:sp>
        <p:nvSpPr>
          <p:cNvPr id="72" name="Rectangle 103">
            <a:extLst>
              <a:ext uri="{FF2B5EF4-FFF2-40B4-BE49-F238E27FC236}">
                <a16:creationId xmlns:a16="http://schemas.microsoft.com/office/drawing/2014/main" id="{B5B721D4-0245-4B94-AE1F-A05E315233B6}"/>
              </a:ext>
            </a:extLst>
          </p:cNvPr>
          <p:cNvSpPr/>
          <p:nvPr/>
        </p:nvSpPr>
        <p:spPr>
          <a:xfrm>
            <a:off x="8838007" y="3413988"/>
            <a:ext cx="2572877" cy="1321210"/>
          </a:xfrm>
          <a:prstGeom prst="rect">
            <a:avLst/>
          </a:prstGeom>
          <a:solidFill>
            <a:srgbClr val="C00000">
              <a:alpha val="40000"/>
            </a:srgb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alpha val="40000"/>
                  </a:schemeClr>
                </a:solidFill>
                <a:ea typeface="MS PGothic" charset="-128"/>
              </a:rPr>
              <a:t>Aprovisionamiento &amp; Ejecución Automática</a:t>
            </a:r>
            <a:endParaRPr lang="en-US" sz="1600" b="1" dirty="0">
              <a:solidFill>
                <a:schemeClr val="bg1">
                  <a:alpha val="40000"/>
                </a:schemeClr>
              </a:solidFill>
              <a:ea typeface="MS PGothic" charset="-128"/>
            </a:endParaRPr>
          </a:p>
        </p:txBody>
      </p:sp>
      <p:sp>
        <p:nvSpPr>
          <p:cNvPr id="67" name="Rounded Rectangle 82">
            <a:extLst>
              <a:ext uri="{FF2B5EF4-FFF2-40B4-BE49-F238E27FC236}">
                <a16:creationId xmlns:a16="http://schemas.microsoft.com/office/drawing/2014/main" id="{A60451F1-8A5D-4681-9B6E-181A0D759ECD}"/>
              </a:ext>
            </a:extLst>
          </p:cNvPr>
          <p:cNvSpPr/>
          <p:nvPr/>
        </p:nvSpPr>
        <p:spPr>
          <a:xfrm>
            <a:off x="18543672" y="7691535"/>
            <a:ext cx="3088570" cy="646263"/>
          </a:xfrm>
          <a:prstGeom prst="roundRect">
            <a:avLst/>
          </a:prstGeom>
          <a:noFill/>
          <a:ln w="25400" cap="flat" cmpd="sng" algn="ctr">
            <a:noFill/>
            <a:prstDash val="solid"/>
          </a:ln>
          <a:effectLst/>
        </p:spPr>
        <p:txBody>
          <a:bodyPr rtlCol="0" anchor="ctr"/>
          <a:lstStyle/>
          <a:p>
            <a:pPr algn="ctr" defTabSz="1097280">
              <a:defRPr/>
            </a:pPr>
            <a:r>
              <a:rPr lang="en-US" sz="1400" kern="0" dirty="0">
                <a:solidFill>
                  <a:srgbClr val="FFFFFF"/>
                </a:solidFill>
                <a:latin typeface="Calibri" panose="020F0502020204030204"/>
                <a:ea typeface="Calibri" charset="0"/>
                <a:cs typeface="Calibri" charset="0"/>
              </a:rPr>
              <a:t>Integrated Cloud Management</a:t>
            </a:r>
            <a:endParaRPr lang="en-US" sz="1400" i="1" kern="0" dirty="0">
              <a:solidFill>
                <a:srgbClr val="FFFFFF"/>
              </a:solidFill>
              <a:latin typeface="Calibri" panose="020F0502020204030204"/>
              <a:ea typeface="Calibri" charset="0"/>
              <a:cs typeface="Calibri" charset="0"/>
            </a:endParaRPr>
          </a:p>
        </p:txBody>
      </p:sp>
      <p:sp>
        <p:nvSpPr>
          <p:cNvPr id="68" name="Rectangle 499">
            <a:extLst>
              <a:ext uri="{FF2B5EF4-FFF2-40B4-BE49-F238E27FC236}">
                <a16:creationId xmlns:a16="http://schemas.microsoft.com/office/drawing/2014/main" id="{CF5CB1E2-D20E-4732-928D-77BBA9AB7D17}"/>
              </a:ext>
            </a:extLst>
          </p:cNvPr>
          <p:cNvSpPr>
            <a:spLocks noChangeArrowheads="1"/>
          </p:cNvSpPr>
          <p:nvPr/>
        </p:nvSpPr>
        <p:spPr bwMode="auto">
          <a:xfrm>
            <a:off x="18687341" y="8021879"/>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defTabSz="912813" eaLnBrk="0" fontAlgn="base" hangingPunct="0">
              <a:spcBef>
                <a:spcPct val="0"/>
              </a:spcBef>
              <a:spcAft>
                <a:spcPct val="0"/>
              </a:spcAft>
              <a:defRPr>
                <a:solidFill>
                  <a:schemeClr val="tx1"/>
                </a:solidFill>
                <a:latin typeface="Arial" charset="0"/>
                <a:ea typeface="MS PGothic" charset="-128"/>
              </a:defRPr>
            </a:lvl6pPr>
            <a:lvl7pPr marL="2971800" indent="-228600" defTabSz="912813" eaLnBrk="0" fontAlgn="base" hangingPunct="0">
              <a:spcBef>
                <a:spcPct val="0"/>
              </a:spcBef>
              <a:spcAft>
                <a:spcPct val="0"/>
              </a:spcAft>
              <a:defRPr>
                <a:solidFill>
                  <a:schemeClr val="tx1"/>
                </a:solidFill>
                <a:latin typeface="Arial" charset="0"/>
                <a:ea typeface="MS PGothic" charset="-128"/>
              </a:defRPr>
            </a:lvl7pPr>
            <a:lvl8pPr marL="3429000" indent="-228600" defTabSz="912813" eaLnBrk="0" fontAlgn="base" hangingPunct="0">
              <a:spcBef>
                <a:spcPct val="0"/>
              </a:spcBef>
              <a:spcAft>
                <a:spcPct val="0"/>
              </a:spcAft>
              <a:defRPr>
                <a:solidFill>
                  <a:schemeClr val="tx1"/>
                </a:solidFill>
                <a:latin typeface="Arial" charset="0"/>
                <a:ea typeface="MS PGothic" charset="-128"/>
              </a:defRPr>
            </a:lvl8pPr>
            <a:lvl9pPr marL="3886200" indent="-228600" defTabSz="912813" eaLnBrk="0" fontAlgn="base" hangingPunct="0">
              <a:spcBef>
                <a:spcPct val="0"/>
              </a:spcBef>
              <a:spcAft>
                <a:spcPct val="0"/>
              </a:spcAft>
              <a:defRPr>
                <a:solidFill>
                  <a:schemeClr val="tx1"/>
                </a:solidFill>
                <a:latin typeface="Arial" charset="0"/>
                <a:ea typeface="MS PGothic" charset="-128"/>
              </a:defRPr>
            </a:lvl9pPr>
          </a:lstStyle>
          <a:p>
            <a:pPr defTabSz="1097280" fontAlgn="base">
              <a:spcBef>
                <a:spcPct val="0"/>
              </a:spcBef>
              <a:spcAft>
                <a:spcPct val="0"/>
              </a:spcAft>
              <a:defRPr/>
            </a:pPr>
            <a:r>
              <a:rPr lang="en-US" altLang="en-US" sz="1400" b="1">
                <a:solidFill>
                  <a:srgbClr val="000000"/>
                </a:solidFill>
                <a:latin typeface="Arial"/>
                <a:ea typeface="MS PGothic"/>
                <a:cs typeface="Arial"/>
              </a:rPr>
              <a:t>No Aplica a procesos en Santander España</a:t>
            </a:r>
          </a:p>
        </p:txBody>
      </p:sp>
      <p:sp>
        <p:nvSpPr>
          <p:cNvPr id="70" name="Rectangle 499">
            <a:extLst>
              <a:ext uri="{FF2B5EF4-FFF2-40B4-BE49-F238E27FC236}">
                <a16:creationId xmlns:a16="http://schemas.microsoft.com/office/drawing/2014/main" id="{6E7BD291-63B1-437B-B7E3-7F818C15ABB9}"/>
              </a:ext>
            </a:extLst>
          </p:cNvPr>
          <p:cNvSpPr>
            <a:spLocks noChangeArrowheads="1"/>
          </p:cNvSpPr>
          <p:nvPr/>
        </p:nvSpPr>
        <p:spPr bwMode="auto">
          <a:xfrm>
            <a:off x="18687341" y="6793253"/>
            <a:ext cx="2572877" cy="973523"/>
          </a:xfrm>
          <a:prstGeom prst="rect">
            <a:avLst/>
          </a:prstGeom>
          <a:solidFill>
            <a:schemeClr val="accent1">
              <a:lumMod val="20000"/>
              <a:lumOff val="8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defTabSz="912813" eaLnBrk="0" fontAlgn="base" hangingPunct="0">
              <a:spcBef>
                <a:spcPct val="0"/>
              </a:spcBef>
              <a:spcAft>
                <a:spcPct val="0"/>
              </a:spcAft>
              <a:defRPr>
                <a:solidFill>
                  <a:schemeClr val="tx1"/>
                </a:solidFill>
                <a:latin typeface="Arial" charset="0"/>
                <a:ea typeface="MS PGothic" charset="-128"/>
              </a:defRPr>
            </a:lvl6pPr>
            <a:lvl7pPr marL="2971800" indent="-228600" defTabSz="912813" eaLnBrk="0" fontAlgn="base" hangingPunct="0">
              <a:spcBef>
                <a:spcPct val="0"/>
              </a:spcBef>
              <a:spcAft>
                <a:spcPct val="0"/>
              </a:spcAft>
              <a:defRPr>
                <a:solidFill>
                  <a:schemeClr val="tx1"/>
                </a:solidFill>
                <a:latin typeface="Arial" charset="0"/>
                <a:ea typeface="MS PGothic" charset="-128"/>
              </a:defRPr>
            </a:lvl7pPr>
            <a:lvl8pPr marL="3429000" indent="-228600" defTabSz="912813" eaLnBrk="0" fontAlgn="base" hangingPunct="0">
              <a:spcBef>
                <a:spcPct val="0"/>
              </a:spcBef>
              <a:spcAft>
                <a:spcPct val="0"/>
              </a:spcAft>
              <a:defRPr>
                <a:solidFill>
                  <a:schemeClr val="tx1"/>
                </a:solidFill>
                <a:latin typeface="Arial" charset="0"/>
                <a:ea typeface="MS PGothic" charset="-128"/>
              </a:defRPr>
            </a:lvl8pPr>
            <a:lvl9pPr marL="3886200" indent="-228600" defTabSz="912813" eaLnBrk="0" fontAlgn="base" hangingPunct="0">
              <a:spcBef>
                <a:spcPct val="0"/>
              </a:spcBef>
              <a:spcAft>
                <a:spcPct val="0"/>
              </a:spcAft>
              <a:defRPr>
                <a:solidFill>
                  <a:schemeClr val="tx1"/>
                </a:solidFill>
                <a:latin typeface="Arial" charset="0"/>
                <a:ea typeface="MS PGothic" charset="-128"/>
              </a:defRPr>
            </a:lvl9pPr>
          </a:lstStyle>
          <a:p>
            <a:pPr defTabSz="1097280" fontAlgn="base">
              <a:spcBef>
                <a:spcPct val="0"/>
              </a:spcBef>
              <a:spcAft>
                <a:spcPct val="0"/>
              </a:spcAft>
            </a:pPr>
            <a:r>
              <a:rPr lang="en-US" altLang="en-US" sz="1400" b="1">
                <a:latin typeface="Arial" panose="020B0604020202020204"/>
                <a:ea typeface="MS PGothic"/>
                <a:cs typeface="+mn-cs"/>
              </a:rPr>
              <a:t>Procesos a definir en </a:t>
            </a:r>
            <a:endParaRPr lang="en-US" altLang="en-US" sz="1400" b="1">
              <a:latin typeface="Arial" panose="020B0604020202020204"/>
              <a:ea typeface="MS PGothic"/>
            </a:endParaRPr>
          </a:p>
          <a:p>
            <a:pPr defTabSz="1097280" fontAlgn="base">
              <a:spcBef>
                <a:spcPct val="0"/>
              </a:spcBef>
              <a:spcAft>
                <a:spcPct val="0"/>
              </a:spcAft>
            </a:pPr>
            <a:r>
              <a:rPr lang="en-US" altLang="en-US" sz="1400" b="1">
                <a:latin typeface="Arial" panose="020B0604020202020204"/>
                <a:ea typeface="MS PGothic"/>
              </a:rPr>
              <a:t>Fase 2</a:t>
            </a:r>
            <a:endParaRPr lang="en-US" altLang="en-US" sz="1400" b="1">
              <a:latin typeface="Arial" panose="020B0604020202020204"/>
              <a:cs typeface="+mn-cs"/>
            </a:endParaRPr>
          </a:p>
        </p:txBody>
      </p:sp>
      <p:sp>
        <p:nvSpPr>
          <p:cNvPr id="71" name="Rectangle 499">
            <a:extLst>
              <a:ext uri="{FF2B5EF4-FFF2-40B4-BE49-F238E27FC236}">
                <a16:creationId xmlns:a16="http://schemas.microsoft.com/office/drawing/2014/main" id="{99422EED-9D1D-4511-AF12-6ADBA6DBD082}"/>
              </a:ext>
            </a:extLst>
          </p:cNvPr>
          <p:cNvSpPr>
            <a:spLocks noChangeArrowheads="1"/>
          </p:cNvSpPr>
          <p:nvPr/>
        </p:nvSpPr>
        <p:spPr bwMode="auto">
          <a:xfrm>
            <a:off x="18687342" y="5568588"/>
            <a:ext cx="2572877" cy="973523"/>
          </a:xfrm>
          <a:prstGeom prst="rect">
            <a:avLst/>
          </a:prstGeom>
          <a:solidFill>
            <a:schemeClr val="accent1">
              <a:lumMod val="20000"/>
              <a:lumOff val="8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defTabSz="912813" eaLnBrk="0" fontAlgn="base" hangingPunct="0">
              <a:spcBef>
                <a:spcPct val="0"/>
              </a:spcBef>
              <a:spcAft>
                <a:spcPct val="0"/>
              </a:spcAft>
              <a:defRPr>
                <a:solidFill>
                  <a:schemeClr val="tx1"/>
                </a:solidFill>
                <a:latin typeface="Arial" charset="0"/>
                <a:ea typeface="MS PGothic" charset="-128"/>
              </a:defRPr>
            </a:lvl6pPr>
            <a:lvl7pPr marL="2971800" indent="-228600" defTabSz="912813" eaLnBrk="0" fontAlgn="base" hangingPunct="0">
              <a:spcBef>
                <a:spcPct val="0"/>
              </a:spcBef>
              <a:spcAft>
                <a:spcPct val="0"/>
              </a:spcAft>
              <a:defRPr>
                <a:solidFill>
                  <a:schemeClr val="tx1"/>
                </a:solidFill>
                <a:latin typeface="Arial" charset="0"/>
                <a:ea typeface="MS PGothic" charset="-128"/>
              </a:defRPr>
            </a:lvl7pPr>
            <a:lvl8pPr marL="3429000" indent="-228600" defTabSz="912813" eaLnBrk="0" fontAlgn="base" hangingPunct="0">
              <a:spcBef>
                <a:spcPct val="0"/>
              </a:spcBef>
              <a:spcAft>
                <a:spcPct val="0"/>
              </a:spcAft>
              <a:defRPr>
                <a:solidFill>
                  <a:schemeClr val="tx1"/>
                </a:solidFill>
                <a:latin typeface="Arial" charset="0"/>
                <a:ea typeface="MS PGothic" charset="-128"/>
              </a:defRPr>
            </a:lvl8pPr>
            <a:lvl9pPr marL="3886200" indent="-228600" defTabSz="912813" eaLnBrk="0" fontAlgn="base" hangingPunct="0">
              <a:spcBef>
                <a:spcPct val="0"/>
              </a:spcBef>
              <a:spcAft>
                <a:spcPct val="0"/>
              </a:spcAft>
              <a:defRPr>
                <a:solidFill>
                  <a:schemeClr val="tx1"/>
                </a:solidFill>
                <a:latin typeface="Arial" charset="0"/>
                <a:ea typeface="MS PGothic" charset="-128"/>
              </a:defRPr>
            </a:lvl9pPr>
          </a:lstStyle>
          <a:p>
            <a:pPr defTabSz="1097280" fontAlgn="base">
              <a:spcBef>
                <a:spcPct val="0"/>
              </a:spcBef>
              <a:spcAft>
                <a:spcPct val="0"/>
              </a:spcAft>
            </a:pPr>
            <a:r>
              <a:rPr lang="en-US" altLang="en-US" sz="1400" b="1">
                <a:latin typeface="Arial" panose="020B0604020202020204"/>
                <a:ea typeface="MS PGothic"/>
              </a:rPr>
              <a:t>Procesos definidos  en</a:t>
            </a:r>
          </a:p>
          <a:p>
            <a:pPr defTabSz="1097280" fontAlgn="base">
              <a:spcBef>
                <a:spcPct val="0"/>
              </a:spcBef>
              <a:spcAft>
                <a:spcPct val="0"/>
              </a:spcAft>
            </a:pPr>
            <a:r>
              <a:rPr lang="en-US" altLang="en-US" sz="1400" b="1">
                <a:latin typeface="Arial" panose="020B0604020202020204"/>
                <a:ea typeface="MS PGothic"/>
              </a:rPr>
              <a:t>Fase 1</a:t>
            </a:r>
          </a:p>
        </p:txBody>
      </p:sp>
      <p:sp>
        <p:nvSpPr>
          <p:cNvPr id="73" name="Elipse 72">
            <a:extLst>
              <a:ext uri="{FF2B5EF4-FFF2-40B4-BE49-F238E27FC236}">
                <a16:creationId xmlns:a16="http://schemas.microsoft.com/office/drawing/2014/main" id="{9E054390-C14E-4DA0-9A6F-C8CB196BCFB6}"/>
              </a:ext>
            </a:extLst>
          </p:cNvPr>
          <p:cNvSpPr/>
          <p:nvPr/>
        </p:nvSpPr>
        <p:spPr>
          <a:xfrm>
            <a:off x="18543672" y="5400216"/>
            <a:ext cx="2860218" cy="1337069"/>
          </a:xfrm>
          <a:prstGeom prst="ellipse">
            <a:avLst/>
          </a:prstGeom>
          <a:noFill/>
          <a:ln w="28575">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74" name="Elipse 73">
            <a:extLst>
              <a:ext uri="{FF2B5EF4-FFF2-40B4-BE49-F238E27FC236}">
                <a16:creationId xmlns:a16="http://schemas.microsoft.com/office/drawing/2014/main" id="{69B1A9C6-3C18-4184-9609-FF89A548D67E}"/>
              </a:ext>
            </a:extLst>
          </p:cNvPr>
          <p:cNvSpPr/>
          <p:nvPr/>
        </p:nvSpPr>
        <p:spPr>
          <a:xfrm>
            <a:off x="5829971" y="10315539"/>
            <a:ext cx="2860218" cy="1337069"/>
          </a:xfrm>
          <a:prstGeom prst="ellipse">
            <a:avLst/>
          </a:prstGeom>
          <a:noFill/>
          <a:ln w="28575">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75" name="Elipse 74">
            <a:extLst>
              <a:ext uri="{FF2B5EF4-FFF2-40B4-BE49-F238E27FC236}">
                <a16:creationId xmlns:a16="http://schemas.microsoft.com/office/drawing/2014/main" id="{DA8E2313-9E84-401C-8095-1B47B50382C6}"/>
              </a:ext>
            </a:extLst>
          </p:cNvPr>
          <p:cNvSpPr/>
          <p:nvPr/>
        </p:nvSpPr>
        <p:spPr>
          <a:xfrm>
            <a:off x="5822812" y="9148021"/>
            <a:ext cx="2860218" cy="1337069"/>
          </a:xfrm>
          <a:prstGeom prst="ellipse">
            <a:avLst/>
          </a:prstGeom>
          <a:noFill/>
          <a:ln w="28575">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76" name="Elipse 75">
            <a:extLst>
              <a:ext uri="{FF2B5EF4-FFF2-40B4-BE49-F238E27FC236}">
                <a16:creationId xmlns:a16="http://schemas.microsoft.com/office/drawing/2014/main" id="{D7E91F0F-8B8C-4760-AE1B-196233105044}"/>
              </a:ext>
            </a:extLst>
          </p:cNvPr>
          <p:cNvSpPr/>
          <p:nvPr/>
        </p:nvSpPr>
        <p:spPr>
          <a:xfrm>
            <a:off x="5831811" y="6980048"/>
            <a:ext cx="2860218" cy="1337069"/>
          </a:xfrm>
          <a:prstGeom prst="ellipse">
            <a:avLst/>
          </a:prstGeom>
          <a:noFill/>
          <a:ln w="28575">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Tree>
    <p:extLst>
      <p:ext uri="{BB962C8B-B14F-4D97-AF65-F5344CB8AC3E}">
        <p14:creationId xmlns:p14="http://schemas.microsoft.com/office/powerpoint/2010/main" val="386338774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sp>
        <p:nvSpPr>
          <p:cNvPr id="42" name="TextBox 41">
            <a:extLst>
              <a:ext uri="{FF2B5EF4-FFF2-40B4-BE49-F238E27FC236}">
                <a16:creationId xmlns:a16="http://schemas.microsoft.com/office/drawing/2014/main" id="{9856064B-55C3-42E8-A4B0-E96580BF58E8}"/>
              </a:ext>
            </a:extLst>
          </p:cNvPr>
          <p:cNvSpPr txBox="1"/>
          <p:nvPr/>
        </p:nvSpPr>
        <p:spPr>
          <a:xfrm>
            <a:off x="650240" y="541319"/>
            <a:ext cx="22611504" cy="1754326"/>
          </a:xfrm>
          <a:prstGeom prst="rect">
            <a:avLst/>
          </a:prstGeom>
          <a:noFill/>
        </p:spPr>
        <p:txBody>
          <a:bodyPr wrap="square" rtlCol="0" anchor="t">
            <a:spAutoFit/>
          </a:bodyPr>
          <a:lstStyle/>
          <a:p>
            <a:pPr algn="l"/>
            <a:r>
              <a:rPr lang="en-GB" sz="4000" b="1" kern="1200" dirty="0">
                <a:solidFill>
                  <a:srgbClr val="C00000"/>
                </a:solidFill>
              </a:rPr>
              <a:t>CI / CD de releases</a:t>
            </a:r>
            <a:r>
              <a:rPr lang="en-US" sz="4000" b="1" kern="1200" dirty="0">
                <a:solidFill>
                  <a:srgbClr val="C00000"/>
                </a:solidFill>
              </a:rPr>
              <a:t>  </a:t>
            </a:r>
            <a:r>
              <a:rPr lang="en-US" sz="2800" kern="1200" dirty="0">
                <a:solidFill>
                  <a:srgbClr val="C00000"/>
                </a:solidFill>
              </a:rPr>
              <a:t>Desarrollo de Releases</a:t>
            </a:r>
          </a:p>
          <a:p>
            <a:pPr algn="l"/>
            <a:r>
              <a:rPr lang="es-ES" altLang="en-US" sz="2800" kern="1200" dirty="0">
                <a:solidFill>
                  <a:schemeClr val="tx1"/>
                </a:solidFill>
              </a:rPr>
              <a:t>Descripción del proceso</a:t>
            </a:r>
            <a:endParaRPr lang="en-US" altLang="en-US" sz="2800" kern="1200" dirty="0">
              <a:solidFill>
                <a:schemeClr val="tx1"/>
              </a:solidFill>
            </a:endParaRPr>
          </a:p>
          <a:p>
            <a:pPr algn="l"/>
            <a:endParaRPr lang="en-US" altLang="en-US" sz="4000" kern="1200" dirty="0">
              <a:solidFill>
                <a:srgbClr val="C00000"/>
              </a:solidFill>
              <a:latin typeface="IBM Plex Sans" panose="020B0503050203000203" pitchFamily="34" charset="77"/>
            </a:endParaRPr>
          </a:p>
        </p:txBody>
      </p:sp>
      <p:sp>
        <p:nvSpPr>
          <p:cNvPr id="25" name="Rectangle 24">
            <a:extLst>
              <a:ext uri="{FF2B5EF4-FFF2-40B4-BE49-F238E27FC236}">
                <a16:creationId xmlns:a16="http://schemas.microsoft.com/office/drawing/2014/main" id="{AF0FFEF6-9DA4-4CB1-A9CE-759B657D4B09}"/>
              </a:ext>
            </a:extLst>
          </p:cNvPr>
          <p:cNvSpPr/>
          <p:nvPr/>
        </p:nvSpPr>
        <p:spPr bwMode="auto">
          <a:xfrm>
            <a:off x="563153" y="1808121"/>
            <a:ext cx="23225760" cy="1896342"/>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l" defTabSz="1097280" fontAlgn="base">
              <a:spcBef>
                <a:spcPct val="0"/>
              </a:spcBef>
              <a:spcAft>
                <a:spcPct val="0"/>
              </a:spcAft>
            </a:pPr>
            <a:endParaRPr lang="en-US" sz="1600" b="1" dirty="0">
              <a:solidFill>
                <a:schemeClr val="bg1"/>
              </a:solidFill>
              <a:latin typeface="Arial" panose="020B0604020202020204"/>
              <a:ea typeface="MS PGothic" charset="-128"/>
            </a:endParaRPr>
          </a:p>
        </p:txBody>
      </p:sp>
      <p:sp>
        <p:nvSpPr>
          <p:cNvPr id="26" name="Rectangle: Diagonal Corners Snipped 25">
            <a:extLst>
              <a:ext uri="{FF2B5EF4-FFF2-40B4-BE49-F238E27FC236}">
                <a16:creationId xmlns:a16="http://schemas.microsoft.com/office/drawing/2014/main" id="{80C9FB52-201F-4064-9CF6-97890002C118}"/>
              </a:ext>
            </a:extLst>
          </p:cNvPr>
          <p:cNvSpPr/>
          <p:nvPr/>
        </p:nvSpPr>
        <p:spPr>
          <a:xfrm>
            <a:off x="563153" y="3801678"/>
            <a:ext cx="23225760" cy="7235977"/>
          </a:xfrm>
          <a:prstGeom prst="snip2DiagRect">
            <a:avLst>
              <a:gd name="adj1" fmla="val 0"/>
              <a:gd name="adj2" fmla="val 4798"/>
            </a:avLst>
          </a:prstGeom>
          <a:noFill/>
          <a:ln w="6350" cap="flat" cmpd="sng">
            <a:solidFill>
              <a:schemeClr val="accent1"/>
            </a:solidFill>
            <a:prstDash val="solid"/>
            <a:round/>
            <a:headEnd type="none" w="med" len="med"/>
            <a:tailEnd type="none" w="med" len="med"/>
          </a:ln>
        </p:spPr>
        <p:txBody>
          <a:bodyPr lIns="0" tIns="91400" rIns="0" bIns="91400" rtlCol="0" anchor="ctr" anchorCtr="0">
            <a:noAutofit/>
          </a:bodyPr>
          <a:lstStyle/>
          <a:p>
            <a:pPr defTabSz="1828837">
              <a:buClr>
                <a:srgbClr val="000000"/>
              </a:buClr>
              <a:buSzPct val="25000"/>
              <a:defRPr/>
            </a:pPr>
            <a:endParaRPr lang="en-US" sz="2000" dirty="0">
              <a:solidFill>
                <a:srgbClr val="FFFFFF"/>
              </a:solidFill>
              <a:latin typeface="Century Gothic"/>
              <a:ea typeface="Century Gothic"/>
              <a:cs typeface="Century Gothic"/>
              <a:sym typeface="Century Gothic"/>
            </a:endParaRPr>
          </a:p>
        </p:txBody>
      </p:sp>
      <p:sp>
        <p:nvSpPr>
          <p:cNvPr id="27" name="Content Placeholder 2">
            <a:extLst>
              <a:ext uri="{FF2B5EF4-FFF2-40B4-BE49-F238E27FC236}">
                <a16:creationId xmlns:a16="http://schemas.microsoft.com/office/drawing/2014/main" id="{9B54C4E6-8E1F-4BE2-9682-ED825E1D490A}"/>
              </a:ext>
            </a:extLst>
          </p:cNvPr>
          <p:cNvSpPr txBox="1">
            <a:spLocks/>
          </p:cNvSpPr>
          <p:nvPr/>
        </p:nvSpPr>
        <p:spPr bwMode="auto">
          <a:xfrm>
            <a:off x="12065122" y="3846423"/>
            <a:ext cx="11250032" cy="3543077"/>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243808" tIns="121907" rIns="243808" bIns="121907" numCol="1" anchor="t" anchorCtr="0" compatLnSpc="1">
            <a:prstTxWarp prst="textNoShape">
              <a:avLst/>
            </a:prstTxWarp>
          </a:bodyPr>
          <a:lstStyle>
            <a:lvl1pPr marL="257143" indent="-257143" algn="l" rtl="0" eaLnBrk="0" fontAlgn="base" hangingPunct="0">
              <a:spcBef>
                <a:spcPct val="50000"/>
              </a:spcBef>
              <a:spcAft>
                <a:spcPct val="0"/>
              </a:spcAft>
              <a:buClr>
                <a:schemeClr val="tx1"/>
              </a:buClr>
              <a:buFont typeface="Wingdings" pitchFamily="2" charset="2"/>
              <a:buChar char="§"/>
              <a:defRPr sz="1200" kern="1200">
                <a:solidFill>
                  <a:schemeClr val="tx1"/>
                </a:solidFill>
                <a:latin typeface="Arial" pitchFamily="34" charset="0"/>
                <a:ea typeface="ＭＳ Ｐゴシック" charset="0"/>
                <a:cs typeface="Arial" pitchFamily="34" charset="0"/>
              </a:defRPr>
            </a:lvl1pPr>
            <a:lvl2pPr marL="382191" indent="-122635" algn="l" rtl="0" eaLnBrk="0" fontAlgn="base" hangingPunct="0">
              <a:spcBef>
                <a:spcPct val="0"/>
              </a:spcBef>
              <a:spcAft>
                <a:spcPct val="0"/>
              </a:spcAft>
              <a:buClr>
                <a:schemeClr val="tx1"/>
              </a:buClr>
              <a:buFont typeface="Arial" charset="0"/>
              <a:buChar char="–"/>
              <a:defRPr sz="1200" kern="1200">
                <a:solidFill>
                  <a:schemeClr val="tx1"/>
                </a:solidFill>
                <a:latin typeface="Arial" pitchFamily="34" charset="0"/>
                <a:ea typeface="ＭＳ Ｐゴシック" charset="0"/>
                <a:cs typeface="Arial" pitchFamily="34" charset="0"/>
              </a:defRPr>
            </a:lvl2pPr>
            <a:lvl3pPr marL="641747" indent="-129779" algn="l" rtl="0" eaLnBrk="0" fontAlgn="base" hangingPunct="0">
              <a:spcBef>
                <a:spcPct val="0"/>
              </a:spcBef>
              <a:spcAft>
                <a:spcPct val="0"/>
              </a:spcAft>
              <a:buClr>
                <a:schemeClr val="tx1"/>
              </a:buClr>
              <a:buChar char="•"/>
              <a:defRPr sz="1200" kern="1200">
                <a:solidFill>
                  <a:schemeClr val="tx1"/>
                </a:solidFill>
                <a:latin typeface="Arial" pitchFamily="34" charset="0"/>
                <a:ea typeface="ＭＳ Ｐゴシック" charset="0"/>
                <a:cs typeface="Arial" pitchFamily="34" charset="0"/>
              </a:defRPr>
            </a:lvl3pPr>
            <a:lvl4pPr marL="902494" indent="-129779" algn="l" rtl="0" eaLnBrk="0" fontAlgn="base" hangingPunct="0">
              <a:spcBef>
                <a:spcPct val="20000"/>
              </a:spcBef>
              <a:spcAft>
                <a:spcPct val="0"/>
              </a:spcAft>
              <a:buClr>
                <a:schemeClr val="bg1"/>
              </a:buClr>
              <a:defRPr sz="1200" kern="1200">
                <a:solidFill>
                  <a:schemeClr val="bg1"/>
                </a:solidFill>
                <a:latin typeface="Arial" pitchFamily="34" charset="0"/>
                <a:ea typeface="ＭＳ Ｐゴシック" charset="0"/>
                <a:cs typeface="Arial" pitchFamily="34" charset="0"/>
              </a:defRPr>
            </a:lvl4pPr>
            <a:lvl5pPr marL="1154906" indent="-122635" algn="l" rtl="0" eaLnBrk="0" fontAlgn="base" hangingPunct="0">
              <a:spcBef>
                <a:spcPct val="20000"/>
              </a:spcBef>
              <a:spcAft>
                <a:spcPct val="0"/>
              </a:spcAft>
              <a:buClr>
                <a:schemeClr val="bg1"/>
              </a:buClr>
              <a:buChar char="»"/>
              <a:defRPr sz="1200" kern="1200">
                <a:solidFill>
                  <a:schemeClr val="bg1"/>
                </a:solidFill>
                <a:latin typeface="Arial" pitchFamily="34" charset="0"/>
                <a:ea typeface="ＭＳ Ｐゴシック" charset="0"/>
                <a:cs typeface="Arial"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2438389">
              <a:spcBef>
                <a:spcPts val="0"/>
              </a:spcBef>
              <a:buClr>
                <a:srgbClr val="000000"/>
              </a:buClr>
              <a:buNone/>
              <a:defRPr/>
            </a:pPr>
            <a:r>
              <a:rPr lang="es-ES_tradnl" sz="2800" b="1">
                <a:latin typeface="IBM Plex Sans Light"/>
                <a:ea typeface="Helvetica Neue Light" charset="0"/>
                <a:cs typeface="Helvetica Neue Light" charset="0"/>
              </a:rPr>
              <a:t>Actividades:</a:t>
            </a:r>
          </a:p>
          <a:p>
            <a:pPr marL="685800" indent="-685800" defTabSz="2438389">
              <a:spcBef>
                <a:spcPts val="0"/>
              </a:spcBef>
              <a:buClrTx/>
              <a:buFont typeface="Wingdings" pitchFamily="2" charset="2"/>
              <a:buAutoNum type="arabicPeriod"/>
              <a:defRPr/>
            </a:pPr>
            <a:r>
              <a:rPr lang="es-ES_tradnl" sz="2600">
                <a:solidFill>
                  <a:srgbClr val="000000"/>
                </a:solidFill>
                <a:latin typeface="IBM Plex Sans Light"/>
                <a:ea typeface="MS PGothic"/>
                <a:cs typeface="Arial"/>
              </a:rPr>
              <a:t>Analizar los requerimientos del servicio</a:t>
            </a:r>
          </a:p>
          <a:p>
            <a:pPr marL="685800" indent="-685800" defTabSz="2438389">
              <a:spcBef>
                <a:spcPts val="0"/>
              </a:spcBef>
              <a:buClrTx/>
              <a:buAutoNum type="arabicPeriod"/>
              <a:defRPr/>
            </a:pPr>
            <a:r>
              <a:rPr lang="es-ES_tradnl" sz="2600">
                <a:solidFill>
                  <a:srgbClr val="000000"/>
                </a:solidFill>
                <a:latin typeface="IBM Plex Sans Light"/>
                <a:ea typeface="MS PGothic"/>
                <a:cs typeface="Arial"/>
              </a:rPr>
              <a:t>Diseñar los componentes o el servicio</a:t>
            </a:r>
          </a:p>
          <a:p>
            <a:pPr marL="685800" indent="-685800" defTabSz="2438389">
              <a:spcBef>
                <a:spcPts val="0"/>
              </a:spcBef>
              <a:buClrTx/>
              <a:buFont typeface="Wingdings" pitchFamily="2" charset="2"/>
              <a:buAutoNum type="arabicPeriod"/>
              <a:defRPr/>
            </a:pPr>
            <a:r>
              <a:rPr lang="es-ES_tradnl" sz="2600">
                <a:solidFill>
                  <a:srgbClr val="000000"/>
                </a:solidFill>
                <a:latin typeface="IBM Plex Sans Light"/>
                <a:ea typeface="MS PGothic"/>
                <a:cs typeface="Arial"/>
              </a:rPr>
              <a:t>Desarrollar los scripts de test unitarios</a:t>
            </a:r>
          </a:p>
          <a:p>
            <a:pPr marL="685800" indent="-685800" defTabSz="2438389">
              <a:spcBef>
                <a:spcPts val="0"/>
              </a:spcBef>
              <a:buClrTx/>
              <a:buFont typeface="Wingdings" pitchFamily="2" charset="2"/>
              <a:buAutoNum type="arabicPeriod"/>
              <a:defRPr/>
            </a:pPr>
            <a:r>
              <a:rPr lang="es-ES_tradnl" sz="2600">
                <a:solidFill>
                  <a:srgbClr val="000000"/>
                </a:solidFill>
                <a:latin typeface="IBM Plex Sans Light"/>
                <a:ea typeface="MS PGothic"/>
                <a:cs typeface="Arial"/>
              </a:rPr>
              <a:t>Codificar los servicios y componentes</a:t>
            </a:r>
          </a:p>
          <a:p>
            <a:pPr marL="685800" indent="-685800" defTabSz="2438389">
              <a:spcBef>
                <a:spcPts val="0"/>
              </a:spcBef>
              <a:buClrTx/>
              <a:buAutoNum type="arabicPeriod"/>
              <a:defRPr/>
            </a:pPr>
            <a:r>
              <a:rPr lang="es-ES_tradnl" sz="2600">
                <a:solidFill>
                  <a:srgbClr val="000000"/>
                </a:solidFill>
                <a:latin typeface="IBM Plex Sans Light"/>
                <a:ea typeface="MS PGothic"/>
                <a:cs typeface="Arial"/>
              </a:rPr>
              <a:t>Test unitarios y depurar los componentes o servicios compilados</a:t>
            </a:r>
          </a:p>
          <a:p>
            <a:pPr marL="685800" indent="-685800" defTabSz="2438389">
              <a:spcBef>
                <a:spcPts val="0"/>
              </a:spcBef>
              <a:buClrTx/>
              <a:buFont typeface="Wingdings" pitchFamily="2" charset="2"/>
              <a:buAutoNum type="arabicPeriod"/>
              <a:defRPr/>
            </a:pPr>
            <a:r>
              <a:rPr lang="es-ES_tradnl" sz="2600">
                <a:solidFill>
                  <a:srgbClr val="000000"/>
                </a:solidFill>
                <a:latin typeface="IBM Plex Sans Light"/>
                <a:ea typeface="MS PGothic"/>
                <a:cs typeface="Arial"/>
              </a:rPr>
              <a:t>Versionar los servicios o componentes</a:t>
            </a:r>
          </a:p>
          <a:p>
            <a:pPr marL="685800" indent="-685800" defTabSz="2438389">
              <a:spcBef>
                <a:spcPts val="0"/>
              </a:spcBef>
              <a:buClr>
                <a:srgbClr val="000000"/>
              </a:buClr>
              <a:buFont typeface="Wingdings" pitchFamily="2" charset="2"/>
              <a:buAutoNum type="arabicPeriod"/>
              <a:defRPr/>
            </a:pPr>
            <a:endParaRPr lang="en-US" sz="2800">
              <a:latin typeface="IBM Plex Sans Light"/>
            </a:endParaRPr>
          </a:p>
          <a:p>
            <a:pPr marL="685800" indent="-685800" defTabSz="2438389">
              <a:spcBef>
                <a:spcPts val="0"/>
              </a:spcBef>
              <a:buClr>
                <a:srgbClr val="000000"/>
              </a:buClr>
              <a:buFont typeface="Wingdings" pitchFamily="2" charset="2"/>
              <a:buAutoNum type="arabicPeriod"/>
              <a:defRPr/>
            </a:pPr>
            <a:endParaRPr lang="en-US" sz="2800">
              <a:latin typeface="IBM Plex Sans Light"/>
            </a:endParaRPr>
          </a:p>
        </p:txBody>
      </p:sp>
      <p:sp>
        <p:nvSpPr>
          <p:cNvPr id="28" name="TextBox 27">
            <a:extLst>
              <a:ext uri="{FF2B5EF4-FFF2-40B4-BE49-F238E27FC236}">
                <a16:creationId xmlns:a16="http://schemas.microsoft.com/office/drawing/2014/main" id="{2E3B7E7A-219A-4211-9A30-04F528012511}"/>
              </a:ext>
            </a:extLst>
          </p:cNvPr>
          <p:cNvSpPr txBox="1"/>
          <p:nvPr/>
        </p:nvSpPr>
        <p:spPr>
          <a:xfrm>
            <a:off x="646445" y="1885328"/>
            <a:ext cx="18281398" cy="954107"/>
          </a:xfrm>
          <a:prstGeom prst="rect">
            <a:avLst/>
          </a:prstGeom>
          <a:noFill/>
        </p:spPr>
        <p:txBody>
          <a:bodyPr wrap="square" rtlCol="0" anchor="t">
            <a:spAutoFit/>
          </a:bodyPr>
          <a:lstStyle/>
          <a:p>
            <a:pPr algn="l" defTabSz="1214591">
              <a:defRPr/>
            </a:pPr>
            <a:r>
              <a:rPr lang="es-ES_tradnl" sz="2800" b="1" dirty="0">
                <a:solidFill>
                  <a:srgbClr val="FFFFFF"/>
                </a:solidFill>
                <a:latin typeface="IBM Plex Sans Light"/>
                <a:ea typeface="Helvetica Neue Light" charset="0"/>
                <a:cs typeface="Helvetica Neue Light" charset="0"/>
              </a:rPr>
              <a:t>Definición:</a:t>
            </a:r>
            <a:r>
              <a:rPr lang="es-ES_tradnl" sz="2800" dirty="0">
                <a:solidFill>
                  <a:srgbClr val="FFFFFF"/>
                </a:solidFill>
                <a:latin typeface="IBM Plex Sans Light"/>
                <a:ea typeface="Helvetica Neue Light" charset="0"/>
                <a:cs typeface="Helvetica Neue Light" charset="0"/>
              </a:rPr>
              <a:t> El proceso de desarrollar nuevos servicios &amp; aplicaciones en la plataforma cloud basados en Agile,  métodos de desarrollo iterativo</a:t>
            </a:r>
          </a:p>
        </p:txBody>
      </p:sp>
      <p:pic>
        <p:nvPicPr>
          <p:cNvPr id="29" name="Picture 4" descr="Imagen relacionada">
            <a:extLst>
              <a:ext uri="{FF2B5EF4-FFF2-40B4-BE49-F238E27FC236}">
                <a16:creationId xmlns:a16="http://schemas.microsoft.com/office/drawing/2014/main" id="{CE95BDD5-C883-4F24-BA07-5A8AEE9EE677}"/>
              </a:ext>
            </a:extLst>
          </p:cNvPr>
          <p:cNvPicPr>
            <a:picLocks noChangeAspect="1" noChangeArrowheads="1"/>
          </p:cNvPicPr>
          <p:nvPr/>
        </p:nvPicPr>
        <p:blipFill>
          <a:blip r:embed="rId3" cstate="email">
            <a:biLevel thresh="25000"/>
            <a:extLst>
              <a:ext uri="{28A0092B-C50C-407E-A947-70E740481C1C}">
                <a14:useLocalDpi xmlns:a14="http://schemas.microsoft.com/office/drawing/2010/main"/>
              </a:ext>
            </a:extLst>
          </a:blip>
          <a:srcRect/>
          <a:stretch>
            <a:fillRect/>
          </a:stretch>
        </p:blipFill>
        <p:spPr bwMode="auto">
          <a:xfrm>
            <a:off x="21657121" y="1908543"/>
            <a:ext cx="1658033" cy="1695497"/>
          </a:xfrm>
          <a:prstGeom prst="rect">
            <a:avLst/>
          </a:prstGeom>
          <a:noFill/>
          <a:extLst>
            <a:ext uri="{909E8E84-426E-40DD-AFC4-6F175D3DCCD1}">
              <a14:hiddenFill xmlns:a14="http://schemas.microsoft.com/office/drawing/2010/main">
                <a:solidFill>
                  <a:srgbClr val="FFFFFF"/>
                </a:solidFill>
              </a14:hiddenFill>
            </a:ext>
          </a:extLst>
        </p:spPr>
      </p:pic>
      <p:sp>
        <p:nvSpPr>
          <p:cNvPr id="30" name="Rectangle 29">
            <a:extLst>
              <a:ext uri="{FF2B5EF4-FFF2-40B4-BE49-F238E27FC236}">
                <a16:creationId xmlns:a16="http://schemas.microsoft.com/office/drawing/2014/main" id="{97408206-CE88-4EC4-B536-99B2317CE590}"/>
              </a:ext>
            </a:extLst>
          </p:cNvPr>
          <p:cNvSpPr/>
          <p:nvPr/>
        </p:nvSpPr>
        <p:spPr>
          <a:xfrm>
            <a:off x="629129" y="3846425"/>
            <a:ext cx="11435993" cy="2585323"/>
          </a:xfrm>
          <a:prstGeom prst="rect">
            <a:avLst/>
          </a:prstGeom>
        </p:spPr>
        <p:txBody>
          <a:bodyPr wrap="square" anchor="t">
            <a:spAutoFit/>
          </a:bodyPr>
          <a:lstStyle/>
          <a:p>
            <a:pPr algn="l" defTabSz="1214591">
              <a:defRPr/>
            </a:pPr>
            <a:r>
              <a:rPr lang="es-ES_tradnl" sz="2800" b="1" dirty="0">
                <a:latin typeface="IBM Plex Sans Light"/>
                <a:ea typeface="Helvetica Neue Light" charset="0"/>
                <a:cs typeface="Helvetica Neue Light" charset="0"/>
              </a:rPr>
              <a:t>Objetivos:</a:t>
            </a:r>
          </a:p>
          <a:p>
            <a:pPr marL="571511" indent="-571511" algn="l" defTabSz="1214591">
              <a:buFont typeface="Arial" panose="020B0604020202020204" pitchFamily="34" charset="0"/>
              <a:buChar char="•"/>
              <a:defRPr/>
            </a:pPr>
            <a:r>
              <a:rPr lang="es-ES_tradnl" sz="2600" dirty="0">
                <a:latin typeface="IBM Plex Sans Light"/>
                <a:ea typeface="MS PGothic"/>
                <a:cs typeface="Arial"/>
              </a:rPr>
              <a:t>Desarrollar servicios o componentes de aplicaciones de forma iterativa</a:t>
            </a:r>
          </a:p>
          <a:p>
            <a:pPr marL="571511" indent="-571511" algn="l" defTabSz="1214591">
              <a:buFont typeface="Arial" panose="020B0604020202020204" pitchFamily="34" charset="0"/>
              <a:buChar char="•"/>
              <a:defRPr/>
            </a:pPr>
            <a:r>
              <a:rPr lang="es-ES_tradnl" sz="2600" dirty="0">
                <a:latin typeface="IBM Plex Sans Light"/>
                <a:ea typeface="MS PGothic"/>
                <a:cs typeface="Arial"/>
              </a:rPr>
              <a:t>Validar que el servicio o la aplicación cumple con los requisitos</a:t>
            </a:r>
          </a:p>
          <a:p>
            <a:pPr marL="571511" indent="-571511" algn="l" defTabSz="1214591">
              <a:buFont typeface="Arial" panose="020B0604020202020204" pitchFamily="34" charset="0"/>
              <a:buChar char="•"/>
              <a:defRPr/>
            </a:pPr>
            <a:r>
              <a:rPr lang="es-ES_tradnl" sz="2600" dirty="0">
                <a:latin typeface="IBM Plex Sans Light"/>
                <a:ea typeface="MS PGothic"/>
                <a:cs typeface="Arial"/>
              </a:rPr>
              <a:t>Controlar el código fuente</a:t>
            </a:r>
            <a:endParaRPr lang="en-US" sz="2600" dirty="0">
              <a:latin typeface="IBM Plex Sans Light"/>
              <a:ea typeface="MS PGothic"/>
              <a:cs typeface="Arial"/>
            </a:endParaRPr>
          </a:p>
          <a:p>
            <a:pPr marL="571511" indent="-571511" defTabSz="1214591">
              <a:buFont typeface="Arial" panose="020B0604020202020204" pitchFamily="34" charset="0"/>
              <a:buChar char="•"/>
              <a:defRPr/>
            </a:pPr>
            <a:endParaRPr lang="en-US" sz="2800" dirty="0">
              <a:latin typeface="IBM Plex Sans Light"/>
              <a:ea typeface="MS PGothic"/>
              <a:cs typeface="Arial"/>
            </a:endParaRPr>
          </a:p>
          <a:p>
            <a:pPr marL="571511" indent="-571511" defTabSz="1214591">
              <a:buFont typeface="Arial" panose="020B0604020202020204" pitchFamily="34" charset="0"/>
              <a:buChar char="•"/>
              <a:defRPr/>
            </a:pPr>
            <a:endParaRPr lang="en-US" sz="2800" dirty="0">
              <a:latin typeface="IBM Plex Sans Light"/>
              <a:ea typeface="MS PGothic"/>
              <a:cs typeface="Arial"/>
            </a:endParaRPr>
          </a:p>
        </p:txBody>
      </p:sp>
      <p:sp>
        <p:nvSpPr>
          <p:cNvPr id="31" name="Rectangle 30">
            <a:extLst>
              <a:ext uri="{FF2B5EF4-FFF2-40B4-BE49-F238E27FC236}">
                <a16:creationId xmlns:a16="http://schemas.microsoft.com/office/drawing/2014/main" id="{86A22D35-D28D-4730-B035-2645BFAB91ED}"/>
              </a:ext>
            </a:extLst>
          </p:cNvPr>
          <p:cNvSpPr/>
          <p:nvPr/>
        </p:nvSpPr>
        <p:spPr>
          <a:xfrm>
            <a:off x="12120254" y="7119342"/>
            <a:ext cx="11435993" cy="2123658"/>
          </a:xfrm>
          <a:prstGeom prst="rect">
            <a:avLst/>
          </a:prstGeom>
        </p:spPr>
        <p:txBody>
          <a:bodyPr wrap="square" anchor="t">
            <a:spAutoFit/>
          </a:bodyPr>
          <a:lstStyle/>
          <a:p>
            <a:pPr algn="l" defTabSz="1214591">
              <a:defRPr/>
            </a:pPr>
            <a:r>
              <a:rPr lang="es-ES_tradnl" sz="2800" b="1" dirty="0">
                <a:latin typeface="IBM Plex Sans Light"/>
                <a:ea typeface="Helvetica Neue Light" charset="0"/>
                <a:cs typeface="Helvetica Neue Light" charset="0"/>
              </a:rPr>
              <a:t>Consideraciones de la adopción Cloud :</a:t>
            </a:r>
          </a:p>
          <a:p>
            <a:pPr marL="455939" indent="-455939" algn="l" defTabSz="1214591">
              <a:buFont typeface="Arial" panose="020B0604020202020204" pitchFamily="34" charset="0"/>
              <a:buChar char="•"/>
              <a:defRPr/>
            </a:pPr>
            <a:r>
              <a:rPr lang="es-ES_tradnl" sz="2600" kern="1200" dirty="0">
                <a:latin typeface="IBM Plex Sans Light"/>
                <a:ea typeface="MS PGothic"/>
                <a:cs typeface="Arial"/>
              </a:rPr>
              <a:t>Continuos Integration en infraestructura cloud híbrida</a:t>
            </a:r>
          </a:p>
          <a:p>
            <a:pPr marL="455939" indent="-455939" algn="l" defTabSz="1214591">
              <a:buFont typeface="Arial" panose="020B0604020202020204" pitchFamily="34" charset="0"/>
              <a:buChar char="•"/>
              <a:defRPr/>
            </a:pPr>
            <a:r>
              <a:rPr lang="es-ES_tradnl" sz="2600" kern="1200" dirty="0">
                <a:latin typeface="IBM Plex Sans Light"/>
                <a:ea typeface="MS PGothic"/>
                <a:cs typeface="Arial"/>
              </a:rPr>
              <a:t>Promover los métodos y las herramientas de desarrollo Agile</a:t>
            </a:r>
          </a:p>
          <a:p>
            <a:pPr marL="455939" indent="-455939" algn="l" defTabSz="1214591">
              <a:buFont typeface="Arial" panose="020B0604020202020204" pitchFamily="34" charset="0"/>
              <a:buChar char="•"/>
              <a:defRPr/>
            </a:pPr>
            <a:r>
              <a:rPr lang="es-ES_tradnl" sz="2600" kern="1200" dirty="0">
                <a:latin typeface="IBM Plex Sans Light"/>
                <a:ea typeface="MS PGothic"/>
                <a:cs typeface="Arial"/>
              </a:rPr>
              <a:t>Promover un IDE moderno y software de gestión de código</a:t>
            </a:r>
          </a:p>
          <a:p>
            <a:pPr marL="455939" indent="-455939" algn="l" defTabSz="1214591">
              <a:buFont typeface="Arial" panose="020B0604020202020204" pitchFamily="34" charset="0"/>
              <a:buChar char="•"/>
              <a:defRPr/>
            </a:pPr>
            <a:r>
              <a:rPr lang="es-ES_tradnl" sz="2600" kern="1200" dirty="0">
                <a:latin typeface="IBM Plex Sans Light"/>
                <a:ea typeface="MS PGothic"/>
                <a:cs typeface="Arial"/>
              </a:rPr>
              <a:t>Promover herramientas de desarrollo DevOps  y de gestión de releases</a:t>
            </a:r>
          </a:p>
        </p:txBody>
      </p:sp>
      <p:sp>
        <p:nvSpPr>
          <p:cNvPr id="32" name="Content Placeholder 2">
            <a:extLst>
              <a:ext uri="{FF2B5EF4-FFF2-40B4-BE49-F238E27FC236}">
                <a16:creationId xmlns:a16="http://schemas.microsoft.com/office/drawing/2014/main" id="{C7FA5148-30D3-44C1-A450-9DD81110D28B}"/>
              </a:ext>
            </a:extLst>
          </p:cNvPr>
          <p:cNvSpPr txBox="1">
            <a:spLocks/>
          </p:cNvSpPr>
          <p:nvPr/>
        </p:nvSpPr>
        <p:spPr bwMode="auto">
          <a:xfrm>
            <a:off x="624934" y="5779054"/>
            <a:ext cx="11250032" cy="3543077"/>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243808" tIns="121907" rIns="243808" bIns="121907" numCol="1" anchor="t" anchorCtr="0" compatLnSpc="1">
            <a:prstTxWarp prst="textNoShape">
              <a:avLst/>
            </a:prstTxWarp>
          </a:bodyPr>
          <a:lstStyle>
            <a:lvl1pPr marL="257143" indent="-257143" algn="l" rtl="0" eaLnBrk="0" fontAlgn="base" hangingPunct="0">
              <a:spcBef>
                <a:spcPct val="50000"/>
              </a:spcBef>
              <a:spcAft>
                <a:spcPct val="0"/>
              </a:spcAft>
              <a:buClr>
                <a:schemeClr val="tx1"/>
              </a:buClr>
              <a:buFont typeface="Wingdings" pitchFamily="2" charset="2"/>
              <a:buChar char="§"/>
              <a:defRPr sz="1200" kern="1200">
                <a:solidFill>
                  <a:schemeClr val="tx1"/>
                </a:solidFill>
                <a:latin typeface="Arial" pitchFamily="34" charset="0"/>
                <a:ea typeface="ＭＳ Ｐゴシック" charset="0"/>
                <a:cs typeface="Arial" pitchFamily="34" charset="0"/>
              </a:defRPr>
            </a:lvl1pPr>
            <a:lvl2pPr marL="382191" indent="-122635" algn="l" rtl="0" eaLnBrk="0" fontAlgn="base" hangingPunct="0">
              <a:spcBef>
                <a:spcPct val="0"/>
              </a:spcBef>
              <a:spcAft>
                <a:spcPct val="0"/>
              </a:spcAft>
              <a:buClr>
                <a:schemeClr val="tx1"/>
              </a:buClr>
              <a:buFont typeface="Arial" charset="0"/>
              <a:buChar char="–"/>
              <a:defRPr sz="1200" kern="1200">
                <a:solidFill>
                  <a:schemeClr val="tx1"/>
                </a:solidFill>
                <a:latin typeface="Arial" pitchFamily="34" charset="0"/>
                <a:ea typeface="ＭＳ Ｐゴシック" charset="0"/>
                <a:cs typeface="Arial" pitchFamily="34" charset="0"/>
              </a:defRPr>
            </a:lvl2pPr>
            <a:lvl3pPr marL="641747" indent="-129779" algn="l" rtl="0" eaLnBrk="0" fontAlgn="base" hangingPunct="0">
              <a:spcBef>
                <a:spcPct val="0"/>
              </a:spcBef>
              <a:spcAft>
                <a:spcPct val="0"/>
              </a:spcAft>
              <a:buClr>
                <a:schemeClr val="tx1"/>
              </a:buClr>
              <a:buChar char="•"/>
              <a:defRPr sz="1200" kern="1200">
                <a:solidFill>
                  <a:schemeClr val="tx1"/>
                </a:solidFill>
                <a:latin typeface="Arial" pitchFamily="34" charset="0"/>
                <a:ea typeface="ＭＳ Ｐゴシック" charset="0"/>
                <a:cs typeface="Arial" pitchFamily="34" charset="0"/>
              </a:defRPr>
            </a:lvl3pPr>
            <a:lvl4pPr marL="902494" indent="-129779" algn="l" rtl="0" eaLnBrk="0" fontAlgn="base" hangingPunct="0">
              <a:spcBef>
                <a:spcPct val="20000"/>
              </a:spcBef>
              <a:spcAft>
                <a:spcPct val="0"/>
              </a:spcAft>
              <a:buClr>
                <a:schemeClr val="bg1"/>
              </a:buClr>
              <a:defRPr sz="1200" kern="1200">
                <a:solidFill>
                  <a:schemeClr val="bg1"/>
                </a:solidFill>
                <a:latin typeface="Arial" pitchFamily="34" charset="0"/>
                <a:ea typeface="ＭＳ Ｐゴシック" charset="0"/>
                <a:cs typeface="Arial" pitchFamily="34" charset="0"/>
              </a:defRPr>
            </a:lvl4pPr>
            <a:lvl5pPr marL="1154906" indent="-122635" algn="l" rtl="0" eaLnBrk="0" fontAlgn="base" hangingPunct="0">
              <a:spcBef>
                <a:spcPct val="20000"/>
              </a:spcBef>
              <a:spcAft>
                <a:spcPct val="0"/>
              </a:spcAft>
              <a:buClr>
                <a:schemeClr val="bg1"/>
              </a:buClr>
              <a:buChar char="»"/>
              <a:defRPr sz="1200" kern="1200">
                <a:solidFill>
                  <a:schemeClr val="bg1"/>
                </a:solidFill>
                <a:latin typeface="Arial" pitchFamily="34" charset="0"/>
                <a:ea typeface="ＭＳ Ｐゴシック" charset="0"/>
                <a:cs typeface="Arial"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2438389">
              <a:spcBef>
                <a:spcPts val="0"/>
              </a:spcBef>
              <a:buClr>
                <a:srgbClr val="000000"/>
              </a:buClr>
              <a:buNone/>
              <a:defRPr/>
            </a:pPr>
            <a:r>
              <a:rPr lang="es-ES_tradnl" sz="2800" b="1">
                <a:solidFill>
                  <a:srgbClr val="000000"/>
                </a:solidFill>
                <a:latin typeface="IBM Plex Sans Light"/>
                <a:ea typeface="Helvetica Neue Light" charset="0"/>
              </a:rPr>
              <a:t>Resultados:</a:t>
            </a:r>
          </a:p>
          <a:p>
            <a:pPr marL="513090" indent="-513090" defTabSz="1214591" eaLnBrk="1" hangingPunct="1">
              <a:spcBef>
                <a:spcPts val="0"/>
              </a:spcBef>
              <a:buClrTx/>
              <a:buFont typeface="Arial" panose="020B0604020202020204" pitchFamily="34" charset="0"/>
              <a:buChar char="•"/>
              <a:defRPr/>
            </a:pPr>
            <a:r>
              <a:rPr lang="es-ES_tradnl" sz="2600">
                <a:solidFill>
                  <a:srgbClr val="000000"/>
                </a:solidFill>
                <a:latin typeface="IBM Plex Sans Light"/>
                <a:ea typeface="MS PGothic"/>
                <a:cs typeface="Arial"/>
              </a:rPr>
              <a:t>Número de componentes testeados unitariamente desarrollados en un sprint</a:t>
            </a:r>
          </a:p>
          <a:p>
            <a:pPr marL="513090" indent="-513090" defTabSz="1214591" eaLnBrk="1" hangingPunct="1">
              <a:spcBef>
                <a:spcPts val="0"/>
              </a:spcBef>
              <a:buClrTx/>
              <a:buFont typeface="Arial" panose="020B0604020202020204" pitchFamily="34" charset="0"/>
              <a:buChar char="•"/>
              <a:defRPr/>
            </a:pPr>
            <a:r>
              <a:rPr lang="es-ES_tradnl" sz="2600">
                <a:solidFill>
                  <a:srgbClr val="000000"/>
                </a:solidFill>
                <a:latin typeface="IBM Plex Sans Light"/>
                <a:ea typeface="MS PGothic"/>
                <a:cs typeface="Arial"/>
              </a:rPr>
              <a:t>Velocidad en el desarrollo de código</a:t>
            </a:r>
          </a:p>
          <a:p>
            <a:pPr marL="513090" indent="-513090" defTabSz="1214591" eaLnBrk="1" hangingPunct="1">
              <a:spcBef>
                <a:spcPts val="0"/>
              </a:spcBef>
              <a:buClrTx/>
              <a:buFont typeface="Arial" panose="020B0604020202020204" pitchFamily="34" charset="0"/>
              <a:buChar char="•"/>
              <a:defRPr/>
            </a:pPr>
            <a:r>
              <a:rPr lang="es-ES_tradnl" sz="2600">
                <a:solidFill>
                  <a:srgbClr val="000000"/>
                </a:solidFill>
                <a:latin typeface="IBM Plex Sans Light"/>
                <a:ea typeface="MS PGothic"/>
                <a:cs typeface="Arial"/>
              </a:rPr>
              <a:t>Scripts de test unitarios desarrollados</a:t>
            </a:r>
          </a:p>
          <a:p>
            <a:pPr marL="513090" indent="-513090" defTabSz="1214591" eaLnBrk="1" hangingPunct="1">
              <a:spcBef>
                <a:spcPts val="0"/>
              </a:spcBef>
              <a:buClrTx/>
              <a:buFont typeface="Arial" panose="020B0604020202020204" pitchFamily="34" charset="0"/>
              <a:buChar char="•"/>
              <a:defRPr/>
            </a:pPr>
            <a:r>
              <a:rPr lang="es-ES_tradnl" sz="2600">
                <a:solidFill>
                  <a:srgbClr val="000000"/>
                </a:solidFill>
                <a:latin typeface="IBM Plex Sans Light"/>
                <a:ea typeface="MS PGothic"/>
                <a:cs typeface="Arial"/>
              </a:rPr>
              <a:t>Scripts de test unitarios ejecutados y registrados</a:t>
            </a:r>
            <a:endParaRPr lang="en-US" sz="2800">
              <a:latin typeface="IBM Plex Sans"/>
            </a:endParaRPr>
          </a:p>
          <a:p>
            <a:pPr marL="513090" indent="-513090" defTabSz="1214591" eaLnBrk="1" hangingPunct="1">
              <a:spcBef>
                <a:spcPts val="0"/>
              </a:spcBef>
              <a:buClr>
                <a:srgbClr val="000000"/>
              </a:buClr>
              <a:buFont typeface="Arial" panose="020B0604020202020204" pitchFamily="34" charset="0"/>
              <a:buChar char="•"/>
              <a:defRPr/>
            </a:pPr>
            <a:endParaRPr lang="en-US" sz="2800">
              <a:latin typeface="IBM Plex Sans"/>
            </a:endParaRPr>
          </a:p>
          <a:p>
            <a:pPr marL="0" indent="0" defTabSz="1214591" eaLnBrk="1" hangingPunct="1">
              <a:spcBef>
                <a:spcPts val="0"/>
              </a:spcBef>
              <a:buClr>
                <a:srgbClr val="000000"/>
              </a:buClr>
              <a:buNone/>
              <a:defRPr/>
            </a:pPr>
            <a:endParaRPr lang="en-US" sz="2800">
              <a:latin typeface="IBM Plex Sans"/>
            </a:endParaRPr>
          </a:p>
        </p:txBody>
      </p:sp>
      <p:sp>
        <p:nvSpPr>
          <p:cNvPr id="33" name="Rectangle 32">
            <a:extLst>
              <a:ext uri="{FF2B5EF4-FFF2-40B4-BE49-F238E27FC236}">
                <a16:creationId xmlns:a16="http://schemas.microsoft.com/office/drawing/2014/main" id="{589189CC-CD4F-4C7F-8B12-D9E71B97D7DA}"/>
              </a:ext>
            </a:extLst>
          </p:cNvPr>
          <p:cNvSpPr/>
          <p:nvPr/>
        </p:nvSpPr>
        <p:spPr bwMode="auto">
          <a:xfrm>
            <a:off x="563153" y="11161017"/>
            <a:ext cx="23225760" cy="1520843"/>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l" defTabSz="1097280" fontAlgn="base">
              <a:spcBef>
                <a:spcPct val="0"/>
              </a:spcBef>
              <a:spcAft>
                <a:spcPct val="0"/>
              </a:spcAft>
            </a:pPr>
            <a:r>
              <a:rPr lang="en-US" sz="2400" b="1" dirty="0">
                <a:solidFill>
                  <a:schemeClr val="bg1"/>
                </a:solidFill>
                <a:ea typeface="MS PGothic"/>
              </a:rPr>
              <a:t>Áreas de Impacto Potencial</a:t>
            </a:r>
            <a:endParaRPr lang="en-US" sz="2400" b="1" dirty="0">
              <a:solidFill>
                <a:schemeClr val="bg1"/>
              </a:solidFill>
              <a:ea typeface="MS PGothic" charset="-128"/>
              <a:cs typeface="Arial"/>
            </a:endParaRPr>
          </a:p>
        </p:txBody>
      </p:sp>
      <p:sp>
        <p:nvSpPr>
          <p:cNvPr id="55" name="Rectangle 54">
            <a:extLst>
              <a:ext uri="{FF2B5EF4-FFF2-40B4-BE49-F238E27FC236}">
                <a16:creationId xmlns:a16="http://schemas.microsoft.com/office/drawing/2014/main" id="{C7969385-6C63-FD47-8981-AC669990F37D}"/>
              </a:ext>
            </a:extLst>
          </p:cNvPr>
          <p:cNvSpPr/>
          <p:nvPr/>
        </p:nvSpPr>
        <p:spPr>
          <a:xfrm>
            <a:off x="8614764" y="12017465"/>
            <a:ext cx="1002308" cy="249230"/>
          </a:xfrm>
          <a:prstGeom prst="rect">
            <a:avLst/>
          </a:prstGeom>
          <a:noFill/>
          <a:ln w="25400" cap="flat" cmpd="sng">
            <a:noFill/>
            <a:prstDash val="solid"/>
            <a:round/>
            <a:headEnd type="none" w="med" len="med"/>
            <a:tailEnd type="none" w="med" len="med"/>
          </a:ln>
        </p:spPr>
        <p:txBody>
          <a:bodyPr lIns="0" tIns="91400" rIns="0" bIns="91400" rtlCol="0" anchor="ctr" anchorCtr="0">
            <a:noAutofit/>
          </a:bodyPr>
          <a:lstStyle/>
          <a:p>
            <a:pPr defTabSz="1828837">
              <a:buClr>
                <a:srgbClr val="000000"/>
              </a:buClr>
              <a:buSzPct val="25000"/>
              <a:defRPr/>
            </a:pPr>
            <a:r>
              <a:rPr lang="en-US" sz="1600" dirty="0">
                <a:solidFill>
                  <a:srgbClr val="FFFFFF"/>
                </a:solidFill>
                <a:latin typeface="IBM Plex Sans Light"/>
                <a:ea typeface="Century Gothic"/>
                <a:cs typeface="Century Gothic"/>
              </a:rPr>
              <a:t>Gasto</a:t>
            </a:r>
            <a:endParaRPr lang="en-US" sz="1600" dirty="0">
              <a:solidFill>
                <a:srgbClr val="FFFFFF"/>
              </a:solidFill>
              <a:latin typeface="IBM Plex Sans Light"/>
              <a:ea typeface="Century Gothic"/>
              <a:cs typeface="Century Gothic"/>
              <a:sym typeface="Century Gothic"/>
            </a:endParaRPr>
          </a:p>
        </p:txBody>
      </p:sp>
      <p:sp>
        <p:nvSpPr>
          <p:cNvPr id="56" name="Rectangle 55">
            <a:extLst>
              <a:ext uri="{FF2B5EF4-FFF2-40B4-BE49-F238E27FC236}">
                <a16:creationId xmlns:a16="http://schemas.microsoft.com/office/drawing/2014/main" id="{45AE1B5A-FFFD-DB4D-B7C3-A533B743E047}"/>
              </a:ext>
            </a:extLst>
          </p:cNvPr>
          <p:cNvSpPr/>
          <p:nvPr/>
        </p:nvSpPr>
        <p:spPr>
          <a:xfrm>
            <a:off x="10017213" y="12017465"/>
            <a:ext cx="1002308" cy="249230"/>
          </a:xfrm>
          <a:prstGeom prst="rect">
            <a:avLst/>
          </a:prstGeom>
          <a:noFill/>
          <a:ln w="25400" cap="flat" cmpd="sng">
            <a:noFill/>
            <a:prstDash val="solid"/>
            <a:round/>
            <a:headEnd type="none" w="med" len="med"/>
            <a:tailEnd type="none" w="med" len="med"/>
          </a:ln>
        </p:spPr>
        <p:txBody>
          <a:bodyPr lIns="0" tIns="91400" rIns="0" bIns="91400" rtlCol="0" anchor="ctr" anchorCtr="0">
            <a:noAutofit/>
          </a:bodyPr>
          <a:lstStyle/>
          <a:p>
            <a:pPr defTabSz="1828837">
              <a:buClr>
                <a:srgbClr val="000000"/>
              </a:buClr>
              <a:buSzPct val="25000"/>
              <a:defRPr/>
            </a:pPr>
            <a:r>
              <a:rPr lang="en-US" sz="1600" dirty="0">
                <a:solidFill>
                  <a:srgbClr val="FFFFFF"/>
                </a:solidFill>
                <a:latin typeface="IBM Plex Sans Light"/>
                <a:ea typeface="Century Gothic"/>
                <a:cs typeface="Century Gothic"/>
              </a:rPr>
              <a:t>Fiabilidad</a:t>
            </a:r>
          </a:p>
        </p:txBody>
      </p:sp>
      <p:sp>
        <p:nvSpPr>
          <p:cNvPr id="57" name="Rectangle 56">
            <a:extLst>
              <a:ext uri="{FF2B5EF4-FFF2-40B4-BE49-F238E27FC236}">
                <a16:creationId xmlns:a16="http://schemas.microsoft.com/office/drawing/2014/main" id="{5FF75EAF-E81D-DA4B-A78D-C65269048FFC}"/>
              </a:ext>
            </a:extLst>
          </p:cNvPr>
          <p:cNvSpPr/>
          <p:nvPr/>
        </p:nvSpPr>
        <p:spPr>
          <a:xfrm>
            <a:off x="11285928" y="12040137"/>
            <a:ext cx="1002308" cy="233063"/>
          </a:xfrm>
          <a:prstGeom prst="rect">
            <a:avLst/>
          </a:prstGeom>
          <a:noFill/>
          <a:ln w="25400" cap="flat" cmpd="sng">
            <a:noFill/>
            <a:prstDash val="solid"/>
            <a:round/>
            <a:headEnd type="none" w="med" len="med"/>
            <a:tailEnd type="none" w="med" len="med"/>
          </a:ln>
        </p:spPr>
        <p:txBody>
          <a:bodyPr lIns="0" tIns="91400" rIns="0" bIns="91400" rtlCol="0" anchor="ctr" anchorCtr="0">
            <a:noAutofit/>
          </a:bodyPr>
          <a:lstStyle/>
          <a:p>
            <a:pPr defTabSz="1828837">
              <a:buClr>
                <a:srgbClr val="000000"/>
              </a:buClr>
              <a:buSzPct val="25000"/>
              <a:defRPr/>
            </a:pPr>
            <a:r>
              <a:rPr lang="en-US" sz="1600" dirty="0">
                <a:solidFill>
                  <a:srgbClr val="FFFFFF"/>
                </a:solidFill>
                <a:latin typeface="IBM Plex Sans Light"/>
                <a:ea typeface="Century Gothic"/>
                <a:cs typeface="Century Gothic"/>
                <a:sym typeface="Century Gothic"/>
              </a:rPr>
              <a:t>UX</a:t>
            </a:r>
          </a:p>
        </p:txBody>
      </p:sp>
      <p:sp>
        <p:nvSpPr>
          <p:cNvPr id="58" name="Rectangle 57">
            <a:extLst>
              <a:ext uri="{FF2B5EF4-FFF2-40B4-BE49-F238E27FC236}">
                <a16:creationId xmlns:a16="http://schemas.microsoft.com/office/drawing/2014/main" id="{2C347958-167E-194D-B115-A61B223F0ACA}"/>
              </a:ext>
            </a:extLst>
          </p:cNvPr>
          <p:cNvSpPr/>
          <p:nvPr/>
        </p:nvSpPr>
        <p:spPr>
          <a:xfrm>
            <a:off x="14160884" y="12033630"/>
            <a:ext cx="1002308" cy="233063"/>
          </a:xfrm>
          <a:prstGeom prst="rect">
            <a:avLst/>
          </a:prstGeom>
          <a:noFill/>
          <a:ln w="25400" cap="flat" cmpd="sng">
            <a:noFill/>
            <a:prstDash val="solid"/>
            <a:round/>
            <a:headEnd type="none" w="med" len="med"/>
            <a:tailEnd type="none" w="med" len="med"/>
          </a:ln>
        </p:spPr>
        <p:txBody>
          <a:bodyPr lIns="0" tIns="91400" rIns="0" bIns="91400" rtlCol="0" anchor="ctr" anchorCtr="0">
            <a:noAutofit/>
          </a:bodyPr>
          <a:lstStyle/>
          <a:p>
            <a:pPr defTabSz="1828837">
              <a:buClr>
                <a:srgbClr val="000000"/>
              </a:buClr>
              <a:buSzPct val="25000"/>
              <a:defRPr/>
            </a:pPr>
            <a:r>
              <a:rPr lang="en-US" sz="1600" dirty="0">
                <a:solidFill>
                  <a:srgbClr val="FFFFFF"/>
                </a:solidFill>
                <a:latin typeface="IBM Plex Sans Light"/>
                <a:sym typeface="Century Gothic"/>
              </a:rPr>
              <a:t>Innovación</a:t>
            </a:r>
            <a:endParaRPr lang="en-US" dirty="0"/>
          </a:p>
        </p:txBody>
      </p:sp>
      <p:sp>
        <p:nvSpPr>
          <p:cNvPr id="59" name="Rectangle: Rounded Corners 55">
            <a:extLst>
              <a:ext uri="{FF2B5EF4-FFF2-40B4-BE49-F238E27FC236}">
                <a16:creationId xmlns:a16="http://schemas.microsoft.com/office/drawing/2014/main" id="{C4D3EDB4-10DF-7849-A491-3F2C5A69E438}"/>
              </a:ext>
            </a:extLst>
          </p:cNvPr>
          <p:cNvSpPr/>
          <p:nvPr/>
        </p:nvSpPr>
        <p:spPr>
          <a:xfrm>
            <a:off x="12630342" y="11283424"/>
            <a:ext cx="1144943" cy="1144943"/>
          </a:xfrm>
          <a:prstGeom prst="roundRect">
            <a:avLst/>
          </a:prstGeom>
          <a:noFill/>
          <a:ln w="25400" cap="flat" cmpd="sng">
            <a:solidFill>
              <a:schemeClr val="bg1"/>
            </a:solidFill>
            <a:prstDash val="solid"/>
            <a:round/>
            <a:headEnd type="none" w="med" len="med"/>
            <a:tailEnd type="none" w="med" len="med"/>
          </a:ln>
        </p:spPr>
        <p:txBody>
          <a:bodyPr lIns="0" tIns="91400" rIns="0" bIns="91400" rtlCol="0" anchor="ctr" anchorCtr="0">
            <a:noAutofit/>
          </a:bodyPr>
          <a:lstStyle/>
          <a:p>
            <a:pPr defTabSz="1828837" hangingPunct="1">
              <a:buClr>
                <a:srgbClr val="000000"/>
              </a:buClr>
              <a:buSzPct val="25000"/>
              <a:defRPr/>
            </a:pPr>
            <a:endParaRPr lang="en-US" sz="1600" dirty="0">
              <a:solidFill>
                <a:srgbClr val="FFFFFF"/>
              </a:solidFill>
              <a:latin typeface="IBM Plex Sans Light"/>
              <a:ea typeface="Century Gothic"/>
              <a:cs typeface="Century Gothic"/>
              <a:sym typeface="Century Gothic"/>
            </a:endParaRPr>
          </a:p>
        </p:txBody>
      </p:sp>
      <p:pic>
        <p:nvPicPr>
          <p:cNvPr id="60" name="Graphic 59" descr="Money">
            <a:extLst>
              <a:ext uri="{FF2B5EF4-FFF2-40B4-BE49-F238E27FC236}">
                <a16:creationId xmlns:a16="http://schemas.microsoft.com/office/drawing/2014/main" id="{584DEEFA-B533-D646-B9EA-97D7F62324D2}"/>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804803" y="11409622"/>
            <a:ext cx="636080" cy="636080"/>
          </a:xfrm>
          <a:prstGeom prst="rect">
            <a:avLst/>
          </a:prstGeom>
        </p:spPr>
      </p:pic>
      <p:pic>
        <p:nvPicPr>
          <p:cNvPr id="61" name="Graphic 60" descr="Handshake">
            <a:extLst>
              <a:ext uri="{FF2B5EF4-FFF2-40B4-BE49-F238E27FC236}">
                <a16:creationId xmlns:a16="http://schemas.microsoft.com/office/drawing/2014/main" id="{1BCE5DD0-37B1-DA44-AAAC-E56D558CC19A}"/>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207247" y="11409622"/>
            <a:ext cx="636080" cy="636080"/>
          </a:xfrm>
          <a:prstGeom prst="rect">
            <a:avLst/>
          </a:prstGeom>
        </p:spPr>
      </p:pic>
      <p:pic>
        <p:nvPicPr>
          <p:cNvPr id="62" name="Picture 61">
            <a:extLst>
              <a:ext uri="{FF2B5EF4-FFF2-40B4-BE49-F238E27FC236}">
                <a16:creationId xmlns:a16="http://schemas.microsoft.com/office/drawing/2014/main" id="{D4FC4879-3F14-604D-8CDE-04C3B6985F6B}"/>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1609690" y="11475897"/>
            <a:ext cx="482217" cy="503530"/>
          </a:xfrm>
          <a:prstGeom prst="rect">
            <a:avLst/>
          </a:prstGeom>
        </p:spPr>
      </p:pic>
      <p:pic>
        <p:nvPicPr>
          <p:cNvPr id="63" name="Picture 62">
            <a:extLst>
              <a:ext uri="{FF2B5EF4-FFF2-40B4-BE49-F238E27FC236}">
                <a16:creationId xmlns:a16="http://schemas.microsoft.com/office/drawing/2014/main" id="{C91532E0-765E-DC44-960D-56D763568A07}"/>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2858269" y="11392236"/>
            <a:ext cx="748128" cy="670858"/>
          </a:xfrm>
          <a:prstGeom prst="rect">
            <a:avLst/>
          </a:prstGeom>
        </p:spPr>
      </p:pic>
      <p:pic>
        <p:nvPicPr>
          <p:cNvPr id="69" name="Graphic 68" descr="Head with Gears">
            <a:extLst>
              <a:ext uri="{FF2B5EF4-FFF2-40B4-BE49-F238E27FC236}">
                <a16:creationId xmlns:a16="http://schemas.microsoft.com/office/drawing/2014/main" id="{01933388-DAA7-B946-80EA-CFC3246ABEC6}"/>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4372762" y="11409622"/>
            <a:ext cx="636080" cy="636080"/>
          </a:xfrm>
          <a:prstGeom prst="rect">
            <a:avLst/>
          </a:prstGeom>
        </p:spPr>
      </p:pic>
      <p:sp>
        <p:nvSpPr>
          <p:cNvPr id="70" name="Rectangle 69">
            <a:extLst>
              <a:ext uri="{FF2B5EF4-FFF2-40B4-BE49-F238E27FC236}">
                <a16:creationId xmlns:a16="http://schemas.microsoft.com/office/drawing/2014/main" id="{723B2CB5-D08B-4548-A61B-564DA897865F}"/>
              </a:ext>
            </a:extLst>
          </p:cNvPr>
          <p:cNvSpPr/>
          <p:nvPr/>
        </p:nvSpPr>
        <p:spPr>
          <a:xfrm>
            <a:off x="12725879" y="12048745"/>
            <a:ext cx="1002308" cy="233063"/>
          </a:xfrm>
          <a:prstGeom prst="rect">
            <a:avLst/>
          </a:prstGeom>
          <a:noFill/>
          <a:ln w="25400" cap="flat" cmpd="sng">
            <a:noFill/>
            <a:prstDash val="solid"/>
            <a:round/>
            <a:headEnd type="none" w="med" len="med"/>
            <a:tailEnd type="none" w="med" len="med"/>
          </a:ln>
        </p:spPr>
        <p:txBody>
          <a:bodyPr lIns="0" tIns="91400" rIns="0" bIns="91400" rtlCol="0" anchor="ctr" anchorCtr="0">
            <a:noAutofit/>
          </a:bodyPr>
          <a:lstStyle/>
          <a:p>
            <a:pPr defTabSz="1828837">
              <a:buClr>
                <a:srgbClr val="000000"/>
              </a:buClr>
              <a:buSzPct val="25000"/>
              <a:defRPr/>
            </a:pPr>
            <a:r>
              <a:rPr lang="en-US" sz="1600" dirty="0">
                <a:solidFill>
                  <a:srgbClr val="FFFFFF"/>
                </a:solidFill>
                <a:latin typeface="IBM Plex Sans Light"/>
                <a:ea typeface="Century Gothic"/>
                <a:cs typeface="Century Gothic"/>
                <a:sym typeface="Century Gothic"/>
              </a:rPr>
              <a:t>Agilidad</a:t>
            </a:r>
          </a:p>
        </p:txBody>
      </p:sp>
      <p:sp>
        <p:nvSpPr>
          <p:cNvPr id="71" name="Rectangle: Rounded Corners 62">
            <a:extLst>
              <a:ext uri="{FF2B5EF4-FFF2-40B4-BE49-F238E27FC236}">
                <a16:creationId xmlns:a16="http://schemas.microsoft.com/office/drawing/2014/main" id="{DB7DDA55-AE21-1147-A368-AE729373923C}"/>
              </a:ext>
            </a:extLst>
          </p:cNvPr>
          <p:cNvSpPr/>
          <p:nvPr/>
        </p:nvSpPr>
        <p:spPr>
          <a:xfrm>
            <a:off x="9964820" y="11283424"/>
            <a:ext cx="1144943" cy="1144943"/>
          </a:xfrm>
          <a:prstGeom prst="roundRect">
            <a:avLst/>
          </a:prstGeom>
          <a:noFill/>
          <a:ln w="25400" cap="flat" cmpd="sng">
            <a:solidFill>
              <a:schemeClr val="bg1"/>
            </a:solidFill>
            <a:prstDash val="solid"/>
            <a:round/>
            <a:headEnd type="none" w="med" len="med"/>
            <a:tailEnd type="none" w="med" len="med"/>
          </a:ln>
        </p:spPr>
        <p:txBody>
          <a:bodyPr lIns="0" tIns="91400" rIns="0" bIns="91400" rtlCol="0" anchor="ctr" anchorCtr="0">
            <a:noAutofit/>
          </a:bodyPr>
          <a:lstStyle/>
          <a:p>
            <a:pPr defTabSz="1828837" hangingPunct="1">
              <a:buClr>
                <a:srgbClr val="000000"/>
              </a:buClr>
              <a:buSzPct val="25000"/>
              <a:defRPr/>
            </a:pPr>
            <a:endParaRPr lang="en-US" sz="1600" dirty="0">
              <a:solidFill>
                <a:srgbClr val="FFFFFF"/>
              </a:solidFill>
              <a:latin typeface="IBM Plex Sans Light"/>
              <a:ea typeface="Century Gothic"/>
              <a:cs typeface="Century Gothic"/>
              <a:sym typeface="Century Gothic"/>
            </a:endParaRPr>
          </a:p>
        </p:txBody>
      </p:sp>
      <p:sp>
        <p:nvSpPr>
          <p:cNvPr id="72" name="Rectangle: Rounded Corners 55">
            <a:extLst>
              <a:ext uri="{FF2B5EF4-FFF2-40B4-BE49-F238E27FC236}">
                <a16:creationId xmlns:a16="http://schemas.microsoft.com/office/drawing/2014/main" id="{980E32F3-9DBC-2A4F-B673-0E9BF397D23E}"/>
              </a:ext>
            </a:extLst>
          </p:cNvPr>
          <p:cNvSpPr/>
          <p:nvPr/>
        </p:nvSpPr>
        <p:spPr>
          <a:xfrm>
            <a:off x="14089566" y="11283423"/>
            <a:ext cx="1144943" cy="1144943"/>
          </a:xfrm>
          <a:prstGeom prst="roundRect">
            <a:avLst/>
          </a:prstGeom>
          <a:noFill/>
          <a:ln w="25400" cap="flat" cmpd="sng">
            <a:solidFill>
              <a:schemeClr val="bg1"/>
            </a:solidFill>
            <a:prstDash val="solid"/>
            <a:round/>
            <a:headEnd type="none" w="med" len="med"/>
            <a:tailEnd type="none" w="med" len="med"/>
          </a:ln>
        </p:spPr>
        <p:txBody>
          <a:bodyPr lIns="0" tIns="91400" rIns="0" bIns="91400" rtlCol="0" anchor="ctr" anchorCtr="0">
            <a:noAutofit/>
          </a:bodyPr>
          <a:lstStyle/>
          <a:p>
            <a:pPr defTabSz="1828837" hangingPunct="1">
              <a:buClr>
                <a:srgbClr val="000000"/>
              </a:buClr>
              <a:buSzPct val="25000"/>
              <a:defRPr/>
            </a:pPr>
            <a:endParaRPr lang="en-US" sz="1600" dirty="0">
              <a:solidFill>
                <a:srgbClr val="FFFFFF"/>
              </a:solidFill>
              <a:latin typeface="IBM Plex Sans Light"/>
              <a:ea typeface="Century Gothic"/>
              <a:cs typeface="Century Gothic"/>
              <a:sym typeface="Century Gothic"/>
            </a:endParaRPr>
          </a:p>
        </p:txBody>
      </p:sp>
    </p:spTree>
    <p:extLst>
      <p:ext uri="{BB962C8B-B14F-4D97-AF65-F5344CB8AC3E}">
        <p14:creationId xmlns:p14="http://schemas.microsoft.com/office/powerpoint/2010/main" val="303911783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23CC172-0644-4121-9FD9-911B532682E7}"/>
              </a:ext>
            </a:extLst>
          </p:cNvPr>
          <p:cNvSpPr txBox="1"/>
          <p:nvPr/>
        </p:nvSpPr>
        <p:spPr>
          <a:xfrm>
            <a:off x="650240" y="541319"/>
            <a:ext cx="22611504" cy="1138773"/>
          </a:xfrm>
          <a:prstGeom prst="rect">
            <a:avLst/>
          </a:prstGeom>
          <a:noFill/>
        </p:spPr>
        <p:txBody>
          <a:bodyPr wrap="square" rtlCol="0" anchor="t">
            <a:spAutoFit/>
          </a:bodyPr>
          <a:lstStyle/>
          <a:p>
            <a:pPr algn="l"/>
            <a:r>
              <a:rPr lang="en-GB" sz="4000" b="1" kern="1200" dirty="0">
                <a:solidFill>
                  <a:srgbClr val="C00000"/>
                </a:solidFill>
              </a:rPr>
              <a:t>CI / CD de releases</a:t>
            </a:r>
            <a:r>
              <a:rPr lang="en-US" sz="4000" b="1" kern="1200" dirty="0">
                <a:solidFill>
                  <a:srgbClr val="C00000"/>
                </a:solidFill>
              </a:rPr>
              <a:t>  </a:t>
            </a:r>
            <a:r>
              <a:rPr lang="en-US" sz="2800" kern="1200" dirty="0">
                <a:solidFill>
                  <a:srgbClr val="C00000"/>
                </a:solidFill>
              </a:rPr>
              <a:t>Desarrollo de releases</a:t>
            </a:r>
          </a:p>
          <a:p>
            <a:pPr algn="l"/>
            <a:r>
              <a:rPr lang="es-ES" altLang="en-US" sz="2800" kern="1200" dirty="0">
                <a:solidFill>
                  <a:schemeClr val="tx1"/>
                </a:solidFill>
              </a:rPr>
              <a:t>Matriz RACI</a:t>
            </a:r>
            <a:endParaRPr lang="en-US" altLang="en-US" sz="2800" kern="1200" dirty="0">
              <a:solidFill>
                <a:schemeClr val="tx1"/>
              </a:solidFill>
            </a:endParaRPr>
          </a:p>
        </p:txBody>
      </p:sp>
      <p:graphicFrame>
        <p:nvGraphicFramePr>
          <p:cNvPr id="7" name="Tabla 6">
            <a:extLst>
              <a:ext uri="{FF2B5EF4-FFF2-40B4-BE49-F238E27FC236}">
                <a16:creationId xmlns:a16="http://schemas.microsoft.com/office/drawing/2014/main" id="{8EB49ADB-B8EE-48AD-9504-11E972592EC0}"/>
              </a:ext>
            </a:extLst>
          </p:cNvPr>
          <p:cNvGraphicFramePr>
            <a:graphicFrameLocks noGrp="1"/>
          </p:cNvGraphicFramePr>
          <p:nvPr>
            <p:extLst>
              <p:ext uri="{D42A27DB-BD31-4B8C-83A1-F6EECF244321}">
                <p14:modId xmlns:p14="http://schemas.microsoft.com/office/powerpoint/2010/main" val="2044045742"/>
              </p:ext>
            </p:extLst>
          </p:nvPr>
        </p:nvGraphicFramePr>
        <p:xfrm>
          <a:off x="886249" y="1950724"/>
          <a:ext cx="22611502" cy="9072000"/>
        </p:xfrm>
        <a:graphic>
          <a:graphicData uri="http://schemas.openxmlformats.org/drawingml/2006/table">
            <a:tbl>
              <a:tblPr>
                <a:tableStyleId>{5940675A-B579-460E-94D1-54222C63F5DA}</a:tableStyleId>
              </a:tblPr>
              <a:tblGrid>
                <a:gridCol w="9324551">
                  <a:extLst>
                    <a:ext uri="{9D8B030D-6E8A-4147-A177-3AD203B41FA5}">
                      <a16:colId xmlns:a16="http://schemas.microsoft.com/office/drawing/2014/main" val="1549412401"/>
                    </a:ext>
                  </a:extLst>
                </a:gridCol>
                <a:gridCol w="4469698">
                  <a:extLst>
                    <a:ext uri="{9D8B030D-6E8A-4147-A177-3AD203B41FA5}">
                      <a16:colId xmlns:a16="http://schemas.microsoft.com/office/drawing/2014/main" val="13767168"/>
                    </a:ext>
                  </a:extLst>
                </a:gridCol>
                <a:gridCol w="2076650">
                  <a:extLst>
                    <a:ext uri="{9D8B030D-6E8A-4147-A177-3AD203B41FA5}">
                      <a16:colId xmlns:a16="http://schemas.microsoft.com/office/drawing/2014/main" val="1984299023"/>
                    </a:ext>
                  </a:extLst>
                </a:gridCol>
                <a:gridCol w="2587302">
                  <a:extLst>
                    <a:ext uri="{9D8B030D-6E8A-4147-A177-3AD203B41FA5}">
                      <a16:colId xmlns:a16="http://schemas.microsoft.com/office/drawing/2014/main" val="1693561845"/>
                    </a:ext>
                  </a:extLst>
                </a:gridCol>
                <a:gridCol w="2519215">
                  <a:extLst>
                    <a:ext uri="{9D8B030D-6E8A-4147-A177-3AD203B41FA5}">
                      <a16:colId xmlns:a16="http://schemas.microsoft.com/office/drawing/2014/main" val="2248067950"/>
                    </a:ext>
                  </a:extLst>
                </a:gridCol>
                <a:gridCol w="1634086">
                  <a:extLst>
                    <a:ext uri="{9D8B030D-6E8A-4147-A177-3AD203B41FA5}">
                      <a16:colId xmlns:a16="http://schemas.microsoft.com/office/drawing/2014/main" val="1105587022"/>
                    </a:ext>
                  </a:extLst>
                </a:gridCol>
              </a:tblGrid>
              <a:tr h="648000">
                <a:tc>
                  <a:txBody>
                    <a:bodyPr/>
                    <a:lstStyle/>
                    <a:p>
                      <a:pPr algn="ctr" fontAlgn="ctr"/>
                      <a:endParaRPr lang="es-ES" sz="1400" b="1" i="0" u="none" strike="noStrike" dirty="0">
                        <a:solidFill>
                          <a:schemeClr val="bg1"/>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solidFill>
                      <a:srgbClr val="AC0000"/>
                    </a:solidFill>
                  </a:tcPr>
                </a:tc>
                <a:tc gridSpan="5">
                  <a:txBody>
                    <a:bodyPr/>
                    <a:lstStyle/>
                    <a:p>
                      <a:pPr algn="ctr" fontAlgn="ctr"/>
                      <a:r>
                        <a:rPr lang="es-ES" sz="1400" b="1" u="none" strike="noStrike" dirty="0">
                          <a:solidFill>
                            <a:schemeClr val="bg1"/>
                          </a:solidFill>
                          <a:effectLst/>
                        </a:rPr>
                        <a:t>AREAS &amp; RESPONSABILIDADES</a:t>
                      </a:r>
                      <a:endParaRPr lang="es-ES" sz="1400" b="1"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C0000"/>
                    </a:solidFill>
                  </a:tcPr>
                </a:tc>
                <a:tc hMerge="1">
                  <a:txBody>
                    <a:bodyPr/>
                    <a:lstStyle/>
                    <a:p>
                      <a:endParaRPr lang="es-ES"/>
                    </a:p>
                  </a:txBody>
                  <a:tcPr/>
                </a:tc>
                <a:tc hMerge="1">
                  <a:txBody>
                    <a:bodyPr/>
                    <a:lstStyle/>
                    <a:p>
                      <a:endParaRPr lang="es-ES"/>
                    </a:p>
                  </a:txBody>
                  <a:tcPr>
                    <a:lnL w="12700" cap="flat" cmpd="sng" algn="ctr">
                      <a:solidFill>
                        <a:schemeClr val="tx1"/>
                      </a:solidFill>
                      <a:prstDash val="solid"/>
                      <a:round/>
                      <a:headEnd type="none" w="med" len="med"/>
                      <a:tailEnd type="none" w="med" len="med"/>
                    </a:lnL>
                  </a:tcPr>
                </a:tc>
                <a:tc hMerge="1">
                  <a:txBody>
                    <a:bodyPr/>
                    <a:lstStyle/>
                    <a:p>
                      <a:endParaRPr lang="es-ES"/>
                    </a:p>
                  </a:txBody>
                  <a:tcPr/>
                </a:tc>
                <a:tc hMerge="1">
                  <a:txBody>
                    <a:bodyPr/>
                    <a:lstStyle/>
                    <a:p>
                      <a:endParaRPr lang="es-ES"/>
                    </a:p>
                  </a:txBody>
                  <a:tcPr/>
                </a:tc>
                <a:extLst>
                  <a:ext uri="{0D108BD9-81ED-4DB2-BD59-A6C34878D82A}">
                    <a16:rowId xmlns:a16="http://schemas.microsoft.com/office/drawing/2014/main" val="3988108223"/>
                  </a:ext>
                </a:extLst>
              </a:tr>
              <a:tr h="648000">
                <a:tc rowSpan="2">
                  <a:txBody>
                    <a:bodyPr/>
                    <a:lstStyle/>
                    <a:p>
                      <a:pPr algn="ctr" fontAlgn="ctr"/>
                      <a:r>
                        <a:rPr lang="es-ES" sz="2400" b="1" u="none" strike="noStrike" dirty="0">
                          <a:effectLst/>
                        </a:rPr>
                        <a:t>Actividades del Proceso​</a:t>
                      </a:r>
                      <a:endParaRPr lang="es-ES" sz="2400" b="1" i="0" u="none" strike="noStrike" dirty="0">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gridSpan="5">
                  <a:txBody>
                    <a:bodyPr/>
                    <a:lstStyle/>
                    <a:p>
                      <a:pPr algn="ctr" fontAlgn="ctr"/>
                      <a:r>
                        <a:rPr lang="es-ES" sz="2400" b="1" i="0" u="none" strike="noStrike" dirty="0">
                          <a:solidFill>
                            <a:srgbClr val="000000"/>
                          </a:solidFill>
                          <a:effectLst/>
                          <a:latin typeface="Arial" panose="020B0604020202020204" pitchFamily="34" charset="0"/>
                        </a:rPr>
                        <a:t>Santander Tecnología</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lumMod val="40000"/>
                        <a:lumOff val="60000"/>
                      </a:schemeClr>
                    </a:solidFill>
                  </a:tcPr>
                </a:tc>
                <a:tc hMerge="1">
                  <a:txBody>
                    <a:bodyPr/>
                    <a:lstStyle/>
                    <a:p>
                      <a:pPr algn="ctr" fontAlgn="ctr"/>
                      <a:endParaRPr lang="es-ES" sz="1800" b="1" i="0" u="none" strike="noStrike">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hMerge="1">
                  <a:txBody>
                    <a:bodyPr/>
                    <a:lstStyle/>
                    <a:p>
                      <a:pPr algn="ctr" fontAlgn="ctr"/>
                      <a:endParaRPr lang="es-ES" sz="1800" b="1" i="0" u="none" strike="noStrike">
                        <a:solidFill>
                          <a:srgbClr val="000000"/>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solidFill>
                      <a:schemeClr val="tx2">
                        <a:lumMod val="40000"/>
                        <a:lumOff val="60000"/>
                      </a:schemeClr>
                    </a:solidFill>
                  </a:tcPr>
                </a:tc>
                <a:tc hMerge="1">
                  <a:txBody>
                    <a:bodyPr/>
                    <a:lstStyle/>
                    <a:p>
                      <a:pPr algn="ctr" fontAlgn="ctr"/>
                      <a:endParaRPr lang="es-ES" sz="1800" b="1" i="0" u="none" strike="noStrike">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hMerge="1">
                  <a:txBody>
                    <a:bodyPr/>
                    <a:lstStyle/>
                    <a:p>
                      <a:pPr algn="ctr" fontAlgn="ctr"/>
                      <a:endParaRPr lang="es-ES" sz="1800" b="1" i="0" u="none" strike="noStrike">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extLst>
                  <a:ext uri="{0D108BD9-81ED-4DB2-BD59-A6C34878D82A}">
                    <a16:rowId xmlns:a16="http://schemas.microsoft.com/office/drawing/2014/main" val="625852721"/>
                  </a:ext>
                </a:extLst>
              </a:tr>
              <a:tr h="648000">
                <a:tc vMerge="1">
                  <a:txBody>
                    <a:bodyPr/>
                    <a:lstStyle/>
                    <a:p>
                      <a:pPr algn="ctr" fontAlgn="ctr"/>
                      <a:endParaRPr lang="es-ES" sz="2400" b="1" i="0" u="none" strike="noStrike">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a:txBody>
                    <a:bodyPr/>
                    <a:lstStyle/>
                    <a:p>
                      <a:pPr algn="ctr" fontAlgn="ctr"/>
                      <a:r>
                        <a:rPr lang="es-ES" sz="1800" u="none" strike="noStrike" dirty="0">
                          <a:effectLst/>
                        </a:rPr>
                        <a:t>Dominio de Negocio​</a:t>
                      </a:r>
                      <a:endParaRPr lang="es-ES" sz="1800" b="1" i="0" u="none" strike="noStrike" dirty="0">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a:txBody>
                    <a:bodyPr/>
                    <a:lstStyle/>
                    <a:p>
                      <a:pPr algn="ctr" fontAlgn="ctr"/>
                      <a:r>
                        <a:rPr lang="es-ES" sz="1800" u="none" strike="noStrike" dirty="0">
                          <a:effectLst/>
                        </a:rPr>
                        <a:t>Arquitectura</a:t>
                      </a:r>
                      <a:endParaRPr lang="es-ES" sz="1800" b="1" i="0" u="none" strike="noStrike" dirty="0">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a:txBody>
                    <a:bodyPr/>
                    <a:lstStyle/>
                    <a:p>
                      <a:pPr algn="ctr" fontAlgn="ctr"/>
                      <a:r>
                        <a:rPr lang="es-ES" sz="1800" u="none" strike="noStrike" dirty="0">
                          <a:effectLst/>
                        </a:rPr>
                        <a:t>Ingeniería ​</a:t>
                      </a:r>
                      <a:endParaRPr lang="es-ES" sz="1800" b="1" i="0" u="none" strike="noStrike" dirty="0">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a:txBody>
                    <a:bodyPr/>
                    <a:lstStyle/>
                    <a:p>
                      <a:pPr algn="ctr" fontAlgn="ctr"/>
                      <a:r>
                        <a:rPr lang="es-ES" sz="1800" u="none" strike="noStrike" dirty="0">
                          <a:effectLst/>
                        </a:rPr>
                        <a:t>Testing​</a:t>
                      </a:r>
                      <a:endParaRPr lang="es-ES" sz="1800" b="1" i="0" u="none" strike="noStrike" dirty="0">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a:txBody>
                    <a:bodyPr/>
                    <a:lstStyle/>
                    <a:p>
                      <a:pPr algn="ctr" fontAlgn="ctr"/>
                      <a:r>
                        <a:rPr lang="es-ES" sz="1800" u="none" strike="noStrike" dirty="0">
                          <a:effectLst/>
                        </a:rPr>
                        <a:t>RTYO​</a:t>
                      </a:r>
                      <a:endParaRPr lang="es-ES" sz="1800" b="1" i="0" u="none" strike="noStrike" dirty="0">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extLst>
                  <a:ext uri="{0D108BD9-81ED-4DB2-BD59-A6C34878D82A}">
                    <a16:rowId xmlns:a16="http://schemas.microsoft.com/office/drawing/2014/main" val="1477870111"/>
                  </a:ext>
                </a:extLst>
              </a:tr>
              <a:tr h="648000">
                <a:tc>
                  <a:txBody>
                    <a:bodyPr/>
                    <a:lstStyle>
                      <a:lvl1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1pPr>
                      <a:lvl2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2pPr>
                      <a:lvl3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3pPr>
                      <a:lvl4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4pPr>
                      <a:lvl5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5pPr>
                      <a:lvl6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6pPr>
                      <a:lvl7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7pPr>
                      <a:lvl8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8pPr>
                      <a:lvl9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9pPr>
                    </a:lstStyle>
                    <a:p>
                      <a:pPr marL="0" marR="0" lvl="0" indent="0" algn="l" rtl="0" eaLnBrk="1" fontAlgn="base" latinLnBrk="0" hangingPunct="1">
                        <a:lnSpc>
                          <a:spcPct val="100000"/>
                        </a:lnSpc>
                        <a:spcBef>
                          <a:spcPct val="0"/>
                        </a:spcBef>
                        <a:spcAft>
                          <a:spcPct val="0"/>
                        </a:spcAft>
                        <a:buClrTx/>
                        <a:buSzTx/>
                        <a:buFontTx/>
                        <a:buNone/>
                      </a:pPr>
                      <a:r>
                        <a:rPr lang="en-US" altLang="en-US" sz="2300" b="0" i="0" u="none" strike="noStrike" cap="none" normalizeH="0" baseline="0" dirty="0">
                          <a:ln>
                            <a:noFill/>
                          </a:ln>
                          <a:effectLst/>
                          <a:latin typeface="+mn-lt"/>
                          <a:cs typeface="Arial"/>
                        </a:rPr>
                        <a:t>Diseñar el Servicio o Componente</a:t>
                      </a:r>
                      <a:endParaRPr kumimoji="0" lang="en-US" altLang="en-US" sz="2300" b="0" i="0" u="none" strike="noStrike" cap="none" normalizeH="0" baseline="0" dirty="0">
                        <a:ln>
                          <a:noFill/>
                        </a:ln>
                        <a:solidFill>
                          <a:sysClr val="windowText" lastClr="000000"/>
                        </a:solidFill>
                        <a:effectLst/>
                        <a:latin typeface="+mn-lt"/>
                        <a:cs typeface="Arial" panose="020B0604020202020204" pitchFamily="34" charset="0"/>
                      </a:endParaRPr>
                    </a:p>
                  </a:txBody>
                  <a:tcPr marL="108000" marR="72000" marT="93600" marB="93600" anchor="ctr" horzOverflow="overflow"/>
                </a:tc>
                <a:tc>
                  <a:txBody>
                    <a:bodyPr/>
                    <a:lstStyle/>
                    <a:p>
                      <a:pPr algn="ctr" rtl="0" fontAlgn="ctr"/>
                      <a:r>
                        <a:rPr lang="es-ES" sz="1600" b="0" i="0" u="none" strike="noStrike" dirty="0">
                          <a:solidFill>
                            <a:srgbClr val="000000"/>
                          </a:solidFill>
                          <a:effectLst/>
                          <a:latin typeface="Arial" panose="020B0604020202020204" pitchFamily="34" charset="0"/>
                        </a:rPr>
                        <a:t>C</a:t>
                      </a:r>
                    </a:p>
                  </a:txBody>
                  <a:tcPr marL="9525" marR="9525" marT="9525" marB="0" anchor="ctr"/>
                </a:tc>
                <a:tc>
                  <a:txBody>
                    <a:bodyPr/>
                    <a:lstStyle/>
                    <a:p>
                      <a:pPr algn="ctr" rtl="0" fontAlgn="ctr"/>
                      <a:r>
                        <a:rPr lang="es-ES" sz="1600" b="0" i="0" u="none" strike="noStrike" dirty="0">
                          <a:solidFill>
                            <a:srgbClr val="000000"/>
                          </a:solidFill>
                          <a:effectLst/>
                          <a:latin typeface="Arial" panose="020B0604020202020204" pitchFamily="34" charset="0"/>
                        </a:rPr>
                        <a:t>A/R</a:t>
                      </a: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1570785459"/>
                  </a:ext>
                </a:extLst>
              </a:tr>
              <a:tr h="648000">
                <a:tc>
                  <a:txBody>
                    <a:bodyPr/>
                    <a:lstStyle/>
                    <a:p>
                      <a:pPr marL="0" marR="0" lvl="0" indent="0" algn="l" rtl="0" eaLnBrk="1" fontAlgn="base" latinLnBrk="0" hangingPunct="1">
                        <a:lnSpc>
                          <a:spcPct val="100000"/>
                        </a:lnSpc>
                        <a:spcBef>
                          <a:spcPct val="0"/>
                        </a:spcBef>
                        <a:spcAft>
                          <a:spcPct val="0"/>
                        </a:spcAft>
                        <a:buClrTx/>
                        <a:buSzTx/>
                        <a:buFontTx/>
                        <a:buNone/>
                      </a:pPr>
                      <a:r>
                        <a:rPr kumimoji="0" lang="en-US" altLang="en-US" sz="2300" b="0" i="0" u="none" strike="noStrike" cap="none" normalizeH="0" baseline="0" dirty="0">
                          <a:ln>
                            <a:noFill/>
                          </a:ln>
                          <a:solidFill>
                            <a:sysClr val="windowText" lastClr="000000"/>
                          </a:solidFill>
                          <a:effectLst/>
                          <a:latin typeface="+mn-lt"/>
                          <a:cs typeface="Arial" panose="020B0604020202020204" pitchFamily="34" charset="0"/>
                        </a:rPr>
                        <a:t>Desarrollo y pruebas estáticas en local</a:t>
                      </a:r>
                    </a:p>
                  </a:txBody>
                  <a:tcPr marL="108000" marR="72000" marT="93600" marB="93600" anchor="ctr" horzOverflow="overflow"/>
                </a:tc>
                <a:tc>
                  <a:txBody>
                    <a:bodyPr/>
                    <a:lstStyle/>
                    <a:p>
                      <a:pPr algn="ctr" rtl="0" fontAlgn="ctr"/>
                      <a:r>
                        <a:rPr lang="es-ES" sz="1600" b="0" i="0" u="none" strike="noStrike" dirty="0">
                          <a:solidFill>
                            <a:srgbClr val="000000"/>
                          </a:solidFill>
                          <a:effectLst/>
                          <a:latin typeface="Arial" panose="020B0604020202020204" pitchFamily="34" charset="0"/>
                        </a:rPr>
                        <a:t>A/R</a:t>
                      </a: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4209250993"/>
                  </a:ext>
                </a:extLst>
              </a:tr>
              <a:tr h="648000">
                <a:tc>
                  <a:txBody>
                    <a:bodyPr/>
                    <a:lstStyle/>
                    <a:p>
                      <a:r>
                        <a:rPr lang="es-ES" sz="2300" b="0" i="0" u="none" strike="noStrike" kern="1200" cap="none" spc="0" normalizeH="0" baseline="0" dirty="0">
                          <a:ln>
                            <a:noFill/>
                          </a:ln>
                          <a:solidFill>
                            <a:srgbClr val="000000"/>
                          </a:solidFill>
                          <a:effectLst/>
                          <a:uFillTx/>
                          <a:latin typeface="Arial" panose="020B0604020202020204" pitchFamily="34" charset="0"/>
                          <a:ea typeface="+mn-ea"/>
                          <a:cs typeface="Arial" panose="020B0604020202020204" pitchFamily="34" charset="0"/>
                        </a:rPr>
                        <a:t>Desarrollo de dependencias On-Premise</a:t>
                      </a:r>
                    </a:p>
                  </a:txBody>
                  <a:tcPr marL="108000" marR="72000" marT="93600" marB="93600" anchor="ctr" horzOverflow="overflow"/>
                </a:tc>
                <a:tc>
                  <a:txBody>
                    <a:bodyPr/>
                    <a:lstStyle/>
                    <a:p>
                      <a:pPr algn="ctr" rtl="0" fontAlgn="ctr"/>
                      <a:r>
                        <a:rPr lang="es-ES" sz="1600" b="0" i="0" u="none" strike="noStrike" dirty="0">
                          <a:solidFill>
                            <a:srgbClr val="000000"/>
                          </a:solidFill>
                          <a:effectLst/>
                          <a:latin typeface="Arial" panose="020B0604020202020204" pitchFamily="34" charset="0"/>
                        </a:rPr>
                        <a:t>A/R</a:t>
                      </a: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s-ES" sz="1600" b="0" i="0" u="none" strike="noStrike" dirty="0">
                          <a:solidFill>
                            <a:srgbClr val="000000"/>
                          </a:solidFill>
                          <a:effectLst/>
                          <a:latin typeface="Arial" panose="020B0604020202020204" pitchFamily="34" charset="0"/>
                        </a:rPr>
                        <a:t>I</a:t>
                      </a: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3800592721"/>
                  </a:ext>
                </a:extLst>
              </a:tr>
              <a:tr h="648000">
                <a:tc>
                  <a:txBody>
                    <a:bodyPr/>
                    <a:lstStyle/>
                    <a:p>
                      <a:r>
                        <a:rPr lang="es-ES" sz="2300" b="0" i="0" u="none" strike="noStrike" kern="1200" cap="none" spc="0" normalizeH="0" baseline="0" dirty="0">
                          <a:ln>
                            <a:noFill/>
                          </a:ln>
                          <a:solidFill>
                            <a:srgbClr val="000000"/>
                          </a:solidFill>
                          <a:effectLst/>
                          <a:uFillTx/>
                          <a:latin typeface="Arial" panose="020B0604020202020204" pitchFamily="34" charset="0"/>
                          <a:ea typeface="+mn-ea"/>
                          <a:cs typeface="Arial" panose="020B0604020202020204" pitchFamily="34" charset="0"/>
                        </a:rPr>
                        <a:t>Desarrollar scripts test unitarios</a:t>
                      </a:r>
                    </a:p>
                  </a:txBody>
                  <a:tcPr marL="108000" marR="72000" marT="93600" marB="93600" anchor="ctr" horzOverflow="overflow"/>
                </a:tc>
                <a:tc>
                  <a:txBody>
                    <a:bodyPr/>
                    <a:lstStyle/>
                    <a:p>
                      <a:pPr algn="ctr" rtl="0" fontAlgn="ctr"/>
                      <a:r>
                        <a:rPr lang="es-ES" sz="1600" b="0" i="0" u="none" strike="noStrike" dirty="0">
                          <a:solidFill>
                            <a:srgbClr val="000000"/>
                          </a:solidFill>
                          <a:effectLst/>
                          <a:latin typeface="Arial" panose="020B0604020202020204" pitchFamily="34" charset="0"/>
                        </a:rPr>
                        <a:t>A/R</a:t>
                      </a:r>
                    </a:p>
                  </a:txBody>
                  <a:tcPr marL="9525" marR="9525" marT="9525" marB="0" anchor="ctr"/>
                </a:tc>
                <a:tc>
                  <a:txBody>
                    <a:bodyPr/>
                    <a:lstStyle/>
                    <a:p>
                      <a:pPr algn="ctr" fontAlgn="ctr"/>
                      <a:r>
                        <a:rPr lang="es-ES" sz="1600" b="0" i="0" u="none" strike="noStrike" dirty="0">
                          <a:solidFill>
                            <a:srgbClr val="000000"/>
                          </a:solidFill>
                          <a:effectLst/>
                          <a:latin typeface="Arial" panose="020B0604020202020204" pitchFamily="34" charset="0"/>
                        </a:rPr>
                        <a:t>C</a:t>
                      </a: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4083819196"/>
                  </a:ext>
                </a:extLst>
              </a:tr>
              <a:tr h="648000">
                <a:tc>
                  <a:txBody>
                    <a:bodyPr/>
                    <a:lstStyle/>
                    <a:p>
                      <a:pPr marL="0" marR="0" lvl="0" indent="0" algn="l" defTabSz="1828800" rtl="0" eaLnBrk="1" fontAlgn="ctr" latinLnBrk="0" hangingPunct="1">
                        <a:lnSpc>
                          <a:spcPct val="100000"/>
                        </a:lnSpc>
                        <a:spcBef>
                          <a:spcPct val="0"/>
                        </a:spcBef>
                        <a:spcAft>
                          <a:spcPct val="0"/>
                        </a:spcAft>
                        <a:buClrTx/>
                        <a:buSzTx/>
                        <a:buFontTx/>
                        <a:buNone/>
                      </a:pPr>
                      <a:r>
                        <a:rPr lang="en-US" altLang="en-US" sz="2300" b="0" i="0" u="none" strike="noStrike" kern="1200" cap="none" spc="0" normalizeH="0" baseline="0" dirty="0">
                          <a:ln>
                            <a:noFill/>
                          </a:ln>
                          <a:solidFill>
                            <a:srgbClr val="000000"/>
                          </a:solidFill>
                          <a:effectLst/>
                          <a:uFillTx/>
                          <a:latin typeface="Arial" panose="020B0604020202020204" pitchFamily="34" charset="0"/>
                          <a:ea typeface="+mn-ea"/>
                          <a:cs typeface="Arial" panose="020B0604020202020204" pitchFamily="34" charset="0"/>
                        </a:rPr>
                        <a:t>Versionar y publicar Código en GitHub</a:t>
                      </a:r>
                    </a:p>
                  </a:txBody>
                  <a:tcPr marL="108000" marR="72000" marT="93600" marB="93600" anchor="ctr" horzOverflow="overflow"/>
                </a:tc>
                <a:tc>
                  <a:txBody>
                    <a:bodyPr/>
                    <a:lstStyle/>
                    <a:p>
                      <a:pPr marL="0" marR="0" lvl="0" indent="0" algn="ctr" defTabSz="1828800" rtl="0" eaLnBrk="1" fontAlgn="ctr" latinLnBrk="0" hangingPunct="1">
                        <a:lnSpc>
                          <a:spcPct val="100000"/>
                        </a:lnSpc>
                        <a:spcBef>
                          <a:spcPts val="0"/>
                        </a:spcBef>
                        <a:spcAft>
                          <a:spcPts val="0"/>
                        </a:spcAft>
                        <a:buClrTx/>
                        <a:buSzTx/>
                        <a:buFontTx/>
                        <a:buNone/>
                        <a:tabLst/>
                        <a:defRPr/>
                      </a:pPr>
                      <a:r>
                        <a:rPr lang="es-ES" sz="1600" b="0" i="0" u="none" strike="noStrike" kern="1200" dirty="0">
                          <a:solidFill>
                            <a:srgbClr val="000000"/>
                          </a:solidFill>
                          <a:effectLst/>
                          <a:latin typeface="Arial" panose="020B0604020202020204" pitchFamily="34" charset="0"/>
                          <a:ea typeface="+mn-ea"/>
                          <a:cs typeface="+mn-cs"/>
                        </a:rPr>
                        <a:t>A/R</a:t>
                      </a:r>
                    </a:p>
                    <a:p>
                      <a:pPr marL="0" algn="ctr" defTabSz="1828800" rtl="0" eaLnBrk="1" fontAlgn="ctr" latinLnBrk="0" hangingPunct="1"/>
                      <a:endParaRPr lang="es-ES" sz="1600" b="0" i="0" u="none" strike="noStrike" kern="1200" dirty="0">
                        <a:solidFill>
                          <a:srgbClr val="000000"/>
                        </a:solidFill>
                        <a:effectLst/>
                        <a:latin typeface="Arial" panose="020B0604020202020204" pitchFamily="34" charset="0"/>
                        <a:ea typeface="+mn-ea"/>
                        <a:cs typeface="+mn-cs"/>
                      </a:endParaRPr>
                    </a:p>
                  </a:txBody>
                  <a:tcPr marL="9525" marR="9525" marT="9525" marB="0" anchor="b"/>
                </a:tc>
                <a:tc>
                  <a:txBody>
                    <a:bodyPr/>
                    <a:lstStyle/>
                    <a:p>
                      <a:pPr marL="0" algn="ctr" defTabSz="1828800" rtl="0" eaLnBrk="1" fontAlgn="ctr" latinLnBrk="0" hangingPunct="1"/>
                      <a:endParaRPr lang="es-ES" sz="1600" b="0" i="0" u="none" strike="noStrike" kern="1200" dirty="0">
                        <a:solidFill>
                          <a:srgbClr val="000000"/>
                        </a:solidFill>
                        <a:effectLst/>
                        <a:latin typeface="Arial" panose="020B0604020202020204" pitchFamily="34" charset="0"/>
                        <a:ea typeface="+mn-ea"/>
                        <a:cs typeface="+mn-cs"/>
                      </a:endParaRPr>
                    </a:p>
                  </a:txBody>
                  <a:tcPr marL="9525" marR="9525" marT="9525" marB="0" anchor="ctr"/>
                </a:tc>
                <a:tc>
                  <a:txBody>
                    <a:bodyPr/>
                    <a:lstStyle/>
                    <a:p>
                      <a:pPr algn="ctr" rtl="0" fontAlgn="ctr"/>
                      <a:r>
                        <a:rPr lang="es-ES" sz="1600" b="0" i="0" u="none" strike="noStrike" dirty="0">
                          <a:solidFill>
                            <a:srgbClr val="000000"/>
                          </a:solidFill>
                          <a:effectLst/>
                          <a:latin typeface="Arial" panose="020B0604020202020204" pitchFamily="34" charset="0"/>
                        </a:rPr>
                        <a:t>C</a:t>
                      </a:r>
                    </a:p>
                  </a:txBody>
                  <a:tcPr marL="9525" marR="9525" marT="9525" marB="0" anchor="ctr"/>
                </a:tc>
                <a:tc>
                  <a:txBody>
                    <a:bodyPr/>
                    <a:lstStyle/>
                    <a:p>
                      <a:pPr algn="l" fontAlgn="b"/>
                      <a:endParaRPr lang="es-E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s-E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872090842"/>
                  </a:ext>
                </a:extLst>
              </a:tr>
              <a:tr h="648000">
                <a:tc>
                  <a:txBody>
                    <a:bodyPr/>
                    <a:lstStyle/>
                    <a:p>
                      <a:pPr marL="0" marR="0" lvl="0" indent="0" algn="l" rtl="0" eaLnBrk="1" fontAlgn="base" latinLnBrk="0" hangingPunct="1">
                        <a:lnSpc>
                          <a:spcPct val="100000"/>
                        </a:lnSpc>
                        <a:spcBef>
                          <a:spcPct val="0"/>
                        </a:spcBef>
                        <a:spcAft>
                          <a:spcPct val="0"/>
                        </a:spcAft>
                        <a:buClrTx/>
                        <a:buSzTx/>
                        <a:buFontTx/>
                        <a:buNone/>
                      </a:pPr>
                      <a:r>
                        <a:rPr kumimoji="0" lang="en-US" altLang="en-US" sz="2300" b="0" i="0" u="none" strike="noStrike" cap="none" normalizeH="0" baseline="0" dirty="0">
                          <a:ln>
                            <a:noFill/>
                          </a:ln>
                          <a:solidFill>
                            <a:sysClr val="windowText" lastClr="000000"/>
                          </a:solidFill>
                          <a:effectLst/>
                          <a:latin typeface="+mn-lt"/>
                          <a:cs typeface="Arial" panose="020B0604020202020204" pitchFamily="34" charset="0"/>
                        </a:rPr>
                        <a:t>Escanear calidad de Código de Sonar</a:t>
                      </a:r>
                    </a:p>
                  </a:txBody>
                  <a:tcPr marL="108000" marR="72000" marT="93600" marB="93600" anchor="ctr" horzOverflow="overflow"/>
                </a:tc>
                <a:tc>
                  <a:txBody>
                    <a:bodyPr/>
                    <a:lstStyle/>
                    <a:p>
                      <a:pPr marL="0" marR="0" lvl="0" indent="0" algn="ctr" defTabSz="1828800" rtl="0" eaLnBrk="1" fontAlgn="ctr" latinLnBrk="0" hangingPunct="1">
                        <a:lnSpc>
                          <a:spcPct val="100000"/>
                        </a:lnSpc>
                        <a:spcBef>
                          <a:spcPts val="0"/>
                        </a:spcBef>
                        <a:spcAft>
                          <a:spcPts val="0"/>
                        </a:spcAft>
                        <a:buClrTx/>
                        <a:buSzTx/>
                        <a:buFontTx/>
                        <a:buNone/>
                        <a:tabLst/>
                        <a:defRPr/>
                      </a:pPr>
                      <a:r>
                        <a:rPr lang="es-ES" sz="1600" b="0" i="0" u="none" strike="noStrike" dirty="0">
                          <a:solidFill>
                            <a:srgbClr val="000000"/>
                          </a:solidFill>
                          <a:effectLst/>
                          <a:latin typeface="Arial" panose="020B0604020202020204" pitchFamily="34" charset="0"/>
                        </a:rPr>
                        <a:t>A/R</a:t>
                      </a:r>
                    </a:p>
                  </a:txBody>
                  <a:tcPr marL="9525" marR="9525" marT="9525" marB="0" anchor="ctr"/>
                </a:tc>
                <a:tc>
                  <a:txBody>
                    <a:bodyPr/>
                    <a:lstStyle/>
                    <a:p>
                      <a:pPr marL="0" marR="0" lvl="0" indent="0" algn="ctr" defTabSz="1828800" rtl="0" eaLnBrk="1" fontAlgn="ctr" latinLnBrk="0" hangingPunct="1">
                        <a:lnSpc>
                          <a:spcPct val="100000"/>
                        </a:lnSpc>
                        <a:spcBef>
                          <a:spcPts val="0"/>
                        </a:spcBef>
                        <a:spcAft>
                          <a:spcPts val="0"/>
                        </a:spcAft>
                        <a:buClrTx/>
                        <a:buSzTx/>
                        <a:buFontTx/>
                        <a:buNone/>
                        <a:tabLst/>
                        <a:defRPr/>
                      </a:pPr>
                      <a:r>
                        <a:rPr lang="es-ES" sz="1600" b="0" i="0" u="none" strike="noStrike" dirty="0">
                          <a:solidFill>
                            <a:srgbClr val="000000"/>
                          </a:solidFill>
                          <a:effectLst/>
                          <a:latin typeface="Arial" panose="020B0604020202020204" pitchFamily="34" charset="0"/>
                        </a:rPr>
                        <a:t>C</a:t>
                      </a:r>
                    </a:p>
                  </a:txBody>
                  <a:tcPr marL="9525" marR="9525" marT="9525" marB="0" anchor="ctr"/>
                </a:tc>
                <a:tc>
                  <a:txBody>
                    <a:bodyPr/>
                    <a:lstStyle/>
                    <a:p>
                      <a:pPr algn="ctr" rtl="0" fontAlgn="ctr"/>
                      <a:r>
                        <a:rPr lang="es-ES" sz="1600" b="0" i="0" u="none" strike="noStrike" dirty="0">
                          <a:solidFill>
                            <a:srgbClr val="000000"/>
                          </a:solidFill>
                          <a:effectLst/>
                          <a:latin typeface="Arial" panose="020B0604020202020204" pitchFamily="34" charset="0"/>
                        </a:rPr>
                        <a:t>C</a:t>
                      </a:r>
                    </a:p>
                  </a:txBody>
                  <a:tcPr marL="9525" marR="9525" marT="9525" marB="0" anchor="ctr"/>
                </a:tc>
                <a:tc>
                  <a:txBody>
                    <a:bodyPr/>
                    <a:lstStyle/>
                    <a:p>
                      <a:pPr algn="l" fontAlgn="b"/>
                      <a:endParaRPr lang="es-E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s-E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714993342"/>
                  </a:ext>
                </a:extLst>
              </a:tr>
              <a:tr h="648000">
                <a:tc>
                  <a:txBody>
                    <a:bodyPr/>
                    <a:lstStyle>
                      <a:lvl1pPr marL="0" marR="0" indent="0" algn="l" defTabSz="1097280" rtl="0" latinLnBrk="0">
                        <a:lnSpc>
                          <a:spcPct val="100000"/>
                        </a:lnSpc>
                        <a:spcBef>
                          <a:spcPct val="40000"/>
                        </a:spcBef>
                        <a:spcAft>
                          <a:spcPts val="0"/>
                        </a:spcAft>
                        <a:buClrTx/>
                        <a:buSzTx/>
                        <a:buFont typeface="Wingdings" panose="05000000000000000000" pitchFamily="2" charset="2"/>
                        <a:buNone/>
                        <a:tabLst>
                          <a:tab pos="371475" algn="l"/>
                        </a:tabLst>
                        <a:defRPr sz="16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1pPr>
                      <a:lvl2pPr marL="742950" marR="0" indent="-285750" algn="l" defTabSz="1097280" rtl="0" latinLnBrk="0">
                        <a:lnSpc>
                          <a:spcPct val="100000"/>
                        </a:lnSpc>
                        <a:spcBef>
                          <a:spcPct val="40000"/>
                        </a:spcBef>
                        <a:spcAft>
                          <a:spcPts val="0"/>
                        </a:spcAft>
                        <a:buClrTx/>
                        <a:buSzTx/>
                        <a:buFont typeface="Arial" panose="020B0604020202020204" pitchFamily="34" charset="0"/>
                        <a:buNone/>
                        <a:tabLst>
                          <a:tab pos="371475" algn="l"/>
                        </a:tabLst>
                        <a:defRPr sz="14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2pPr>
                      <a:lvl3pPr marL="1143000" marR="0" indent="-228600" algn="l" defTabSz="1097280" rtl="0" latinLnBrk="0">
                        <a:lnSpc>
                          <a:spcPct val="100000"/>
                        </a:lnSpc>
                        <a:spcBef>
                          <a:spcPct val="40000"/>
                        </a:spcBef>
                        <a:spcAft>
                          <a:spcPts val="0"/>
                        </a:spcAft>
                        <a:buClrTx/>
                        <a:buSzTx/>
                        <a:buFontTx/>
                        <a:buNone/>
                        <a:tabLst>
                          <a:tab pos="371475" algn="l"/>
                        </a:tabLst>
                        <a:defRPr sz="14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3pPr>
                      <a:lvl4pPr marL="1600200" marR="0" indent="-228600" algn="l" defTabSz="1097280" rtl="0" latinLnBrk="0">
                        <a:lnSpc>
                          <a:spcPct val="100000"/>
                        </a:lnSpc>
                        <a:spcBef>
                          <a:spcPct val="40000"/>
                        </a:spcBef>
                        <a:spcAft>
                          <a:spcPts val="0"/>
                        </a:spcAft>
                        <a:buClrTx/>
                        <a:buSzTx/>
                        <a:buFont typeface="Arial" panose="020B0604020202020204" pitchFamily="34" charset="0"/>
                        <a:buNone/>
                        <a:tabLst>
                          <a:tab pos="371475" algn="l"/>
                        </a:tabLst>
                        <a:defRPr sz="14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4pPr>
                      <a:lvl5pPr marL="2057400" marR="0" indent="-228600" algn="l" defTabSz="1097280" rtl="0" latinLnBrk="0">
                        <a:lnSpc>
                          <a:spcPct val="100000"/>
                        </a:lnSpc>
                        <a:spcBef>
                          <a:spcPct val="40000"/>
                        </a:spcBef>
                        <a:spcAft>
                          <a:spcPts val="0"/>
                        </a:spcAft>
                        <a:buClrTx/>
                        <a:buSzTx/>
                        <a:buFont typeface="Arial" panose="020B0604020202020204" pitchFamily="34" charset="0"/>
                        <a:buNone/>
                        <a:tabLst>
                          <a:tab pos="371475" algn="l"/>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5pPr>
                      <a:lvl6pPr marL="25146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tab pos="371475" algn="l"/>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6pPr>
                      <a:lvl7pPr marL="29718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tab pos="371475" algn="l"/>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7pPr>
                      <a:lvl8pPr marL="34290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tab pos="371475" algn="l"/>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8pPr>
                      <a:lvl9pPr marL="38862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tab pos="371475" algn="l"/>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9pPr>
                    </a:lstStyle>
                    <a:p>
                      <a:pPr marL="0" marR="0" lvl="0" indent="0" algn="l" rtl="0" eaLnBrk="1" fontAlgn="base" latinLnBrk="0" hangingPunct="1">
                        <a:lnSpc>
                          <a:spcPct val="100000"/>
                        </a:lnSpc>
                        <a:spcBef>
                          <a:spcPct val="0"/>
                        </a:spcBef>
                        <a:spcAft>
                          <a:spcPct val="0"/>
                        </a:spcAft>
                        <a:buClrTx/>
                        <a:buSzTx/>
                        <a:buFontTx/>
                        <a:buNone/>
                      </a:pPr>
                      <a:r>
                        <a:rPr kumimoji="0" lang="en-US" altLang="en-US" sz="2300" b="0" i="0" u="none" strike="noStrike" cap="none" normalizeH="0" baseline="0" dirty="0">
                          <a:ln>
                            <a:noFill/>
                          </a:ln>
                          <a:solidFill>
                            <a:sysClr val="windowText" lastClr="000000"/>
                          </a:solidFill>
                          <a:effectLst/>
                          <a:latin typeface="+mn-lt"/>
                          <a:cs typeface="Arial" panose="020B0604020202020204" pitchFamily="34" charset="0"/>
                        </a:rPr>
                        <a:t>Pruebas estáticas de vulnerabilidades</a:t>
                      </a:r>
                    </a:p>
                  </a:txBody>
                  <a:tcPr marL="108000" marR="72000" marT="93600" marB="93600" anchor="ctr" horzOverflow="overflow"/>
                </a:tc>
                <a:tc>
                  <a:txBody>
                    <a:bodyPr/>
                    <a:lstStyle/>
                    <a:p>
                      <a:pPr marL="0" marR="0" lvl="0" indent="0" algn="ctr" defTabSz="1828800" rtl="0" eaLnBrk="1" fontAlgn="ctr" latinLnBrk="0" hangingPunct="1">
                        <a:lnSpc>
                          <a:spcPct val="100000"/>
                        </a:lnSpc>
                        <a:spcBef>
                          <a:spcPts val="0"/>
                        </a:spcBef>
                        <a:spcAft>
                          <a:spcPts val="0"/>
                        </a:spcAft>
                        <a:buClrTx/>
                        <a:buSzTx/>
                        <a:buFontTx/>
                        <a:buNone/>
                        <a:tabLst/>
                        <a:defRPr/>
                      </a:pPr>
                      <a:r>
                        <a:rPr lang="es-ES" sz="1600" b="0" i="0" u="none" strike="noStrike" dirty="0">
                          <a:solidFill>
                            <a:srgbClr val="000000"/>
                          </a:solidFill>
                          <a:effectLst/>
                          <a:latin typeface="Arial" panose="020B0604020202020204" pitchFamily="34" charset="0"/>
                        </a:rPr>
                        <a:t>A/R</a:t>
                      </a: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s-ES" sz="1600" b="0" i="0" u="none" strike="noStrike" dirty="0">
                          <a:solidFill>
                            <a:srgbClr val="000000"/>
                          </a:solidFill>
                          <a:effectLst/>
                          <a:latin typeface="Arial" panose="020B0604020202020204" pitchFamily="34" charset="0"/>
                        </a:rPr>
                        <a:t>I</a:t>
                      </a:r>
                    </a:p>
                  </a:txBody>
                  <a:tcPr marL="9525" marR="9525" marT="9525" marB="0" anchor="ctr"/>
                </a:tc>
                <a:tc>
                  <a:txBody>
                    <a:bodyPr/>
                    <a:lstStyle/>
                    <a:p>
                      <a:pPr algn="ctr" fontAlgn="ctr"/>
                      <a:r>
                        <a:rPr lang="es-ES" sz="1600" b="0" i="0" u="none" strike="noStrike" dirty="0">
                          <a:solidFill>
                            <a:srgbClr val="000000"/>
                          </a:solidFill>
                          <a:effectLst/>
                          <a:latin typeface="Arial" panose="020B0604020202020204" pitchFamily="34" charset="0"/>
                        </a:rPr>
                        <a:t>C</a:t>
                      </a:r>
                    </a:p>
                  </a:txBody>
                  <a:tcPr marL="9525" marR="9525" marT="9525" marB="0" anchor="ctr"/>
                </a:tc>
                <a:extLst>
                  <a:ext uri="{0D108BD9-81ED-4DB2-BD59-A6C34878D82A}">
                    <a16:rowId xmlns:a16="http://schemas.microsoft.com/office/drawing/2014/main" val="2194775341"/>
                  </a:ext>
                </a:extLst>
              </a:tr>
              <a:tr h="648000">
                <a:tc>
                  <a:txBody>
                    <a:bodyPr/>
                    <a:lstStyle>
                      <a:lvl1pPr marL="0" marR="0" indent="0" algn="l" defTabSz="1097280" rtl="0" latinLnBrk="0">
                        <a:lnSpc>
                          <a:spcPct val="100000"/>
                        </a:lnSpc>
                        <a:spcBef>
                          <a:spcPct val="40000"/>
                        </a:spcBef>
                        <a:spcAft>
                          <a:spcPts val="0"/>
                        </a:spcAft>
                        <a:buClrTx/>
                        <a:buSzTx/>
                        <a:buFont typeface="Wingdings" panose="05000000000000000000" pitchFamily="2" charset="2"/>
                        <a:buNone/>
                        <a:tabLst/>
                        <a:defRPr sz="16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1pPr>
                      <a:lvl2pPr marL="742950" marR="0" indent="-285750" algn="l" defTabSz="1097280" rtl="0" latinLnBrk="0">
                        <a:lnSpc>
                          <a:spcPct val="100000"/>
                        </a:lnSpc>
                        <a:spcBef>
                          <a:spcPct val="40000"/>
                        </a:spcBef>
                        <a:spcAft>
                          <a:spcPts val="0"/>
                        </a:spcAft>
                        <a:buClrTx/>
                        <a:buSzTx/>
                        <a:buFont typeface="Arial" panose="020B0604020202020204" pitchFamily="34" charset="0"/>
                        <a:buNone/>
                        <a:tabLst/>
                        <a:defRPr sz="14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2pPr>
                      <a:lvl3pPr marL="1143000" marR="0" indent="-228600" algn="l" defTabSz="1097280" rtl="0" latinLnBrk="0">
                        <a:lnSpc>
                          <a:spcPct val="100000"/>
                        </a:lnSpc>
                        <a:spcBef>
                          <a:spcPct val="40000"/>
                        </a:spcBef>
                        <a:spcAft>
                          <a:spcPts val="0"/>
                        </a:spcAft>
                        <a:buClrTx/>
                        <a:buSzTx/>
                        <a:buFontTx/>
                        <a:buNone/>
                        <a:tabLst/>
                        <a:defRPr sz="14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3pPr>
                      <a:lvl4pPr marL="1600200" marR="0" indent="-228600" algn="l" defTabSz="1097280" rtl="0" latinLnBrk="0">
                        <a:lnSpc>
                          <a:spcPct val="100000"/>
                        </a:lnSpc>
                        <a:spcBef>
                          <a:spcPct val="40000"/>
                        </a:spcBef>
                        <a:spcAft>
                          <a:spcPts val="0"/>
                        </a:spcAft>
                        <a:buClrTx/>
                        <a:buSzTx/>
                        <a:buFont typeface="Arial" panose="020B0604020202020204" pitchFamily="34" charset="0"/>
                        <a:buNone/>
                        <a:tabLst/>
                        <a:defRPr sz="14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4pPr>
                      <a:lvl5pPr marL="2057400" marR="0" indent="-228600" algn="l" defTabSz="1097280" rtl="0" latinLnBrk="0">
                        <a:lnSpc>
                          <a:spcPct val="100000"/>
                        </a:lnSpc>
                        <a:spcBef>
                          <a:spcPct val="40000"/>
                        </a:spcBef>
                        <a:spcAft>
                          <a:spcPts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5pPr>
                      <a:lvl6pPr marL="25146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6pPr>
                      <a:lvl7pPr marL="29718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7pPr>
                      <a:lvl8pPr marL="34290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8pPr>
                      <a:lvl9pPr marL="38862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9pPr>
                    </a:lstStyle>
                    <a:p>
                      <a:pPr marL="0" marR="0" lvl="0" indent="0" algn="l" rtl="0" eaLnBrk="1" fontAlgn="base" latinLnBrk="0" hangingPunct="1">
                        <a:lnSpc>
                          <a:spcPct val="100000"/>
                        </a:lnSpc>
                        <a:spcBef>
                          <a:spcPct val="0"/>
                        </a:spcBef>
                        <a:spcAft>
                          <a:spcPct val="0"/>
                        </a:spcAft>
                        <a:buClrTx/>
                        <a:buSzTx/>
                        <a:buFontTx/>
                        <a:buNone/>
                      </a:pPr>
                      <a:r>
                        <a:rPr lang="en-US" altLang="en-US" sz="2300" b="0" i="0" u="none" strike="noStrike" cap="none" normalizeH="0" baseline="0" dirty="0">
                          <a:ln>
                            <a:noFill/>
                          </a:ln>
                          <a:effectLst/>
                          <a:latin typeface="+mn-lt"/>
                          <a:cs typeface="Arial"/>
                        </a:rPr>
                        <a:t>Desplegar en Entorno desarrollo</a:t>
                      </a:r>
                      <a:endParaRPr kumimoji="0" lang="en-US" altLang="en-US" sz="2300" b="0" i="0" u="none" strike="noStrike" cap="none" normalizeH="0" baseline="0" dirty="0">
                        <a:ln>
                          <a:noFill/>
                        </a:ln>
                        <a:solidFill>
                          <a:sysClr val="windowText" lastClr="000000"/>
                        </a:solidFill>
                        <a:effectLst/>
                        <a:latin typeface="+mn-lt"/>
                        <a:cs typeface="Arial"/>
                      </a:endParaRPr>
                    </a:p>
                  </a:txBody>
                  <a:tcPr marL="108000" marR="72000" marT="93600" marB="93600" anchor="ctr" horzOverflow="overflow"/>
                </a:tc>
                <a:tc>
                  <a:txBody>
                    <a:bodyPr/>
                    <a:lstStyle/>
                    <a:p>
                      <a:pPr marL="0" marR="0" lvl="0" indent="0" algn="ctr" defTabSz="1828800" rtl="0" eaLnBrk="1" fontAlgn="ctr" latinLnBrk="0" hangingPunct="1">
                        <a:lnSpc>
                          <a:spcPct val="100000"/>
                        </a:lnSpc>
                        <a:spcBef>
                          <a:spcPts val="0"/>
                        </a:spcBef>
                        <a:spcAft>
                          <a:spcPts val="0"/>
                        </a:spcAft>
                        <a:buClrTx/>
                        <a:buSzTx/>
                        <a:buFontTx/>
                        <a:buNone/>
                        <a:tabLst/>
                        <a:defRPr/>
                      </a:pPr>
                      <a:r>
                        <a:rPr lang="es-ES" sz="1600" b="0" i="0" u="none" strike="noStrike" dirty="0">
                          <a:solidFill>
                            <a:srgbClr val="000000"/>
                          </a:solidFill>
                          <a:effectLst/>
                          <a:latin typeface="Arial" panose="020B0604020202020204" pitchFamily="34" charset="0"/>
                        </a:rPr>
                        <a:t>A/R</a:t>
                      </a: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b="0" i="0" u="none" strike="noStrike" dirty="0">
                          <a:solidFill>
                            <a:srgbClr val="000000"/>
                          </a:solidFill>
                          <a:effectLst/>
                          <a:latin typeface="Arial" panose="020B0604020202020204" pitchFamily="34" charset="0"/>
                        </a:rPr>
                        <a:t>C</a:t>
                      </a: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1166545635"/>
                  </a:ext>
                </a:extLst>
              </a:tr>
              <a:tr h="648000">
                <a:tc>
                  <a:txBody>
                    <a:bodyPr/>
                    <a:lstStyle>
                      <a:lvl1pPr marL="0" marR="0" indent="0" algn="l" defTabSz="1097280" rtl="0" latinLnBrk="0">
                        <a:lnSpc>
                          <a:spcPct val="100000"/>
                        </a:lnSpc>
                        <a:spcBef>
                          <a:spcPct val="40000"/>
                        </a:spcBef>
                        <a:spcAft>
                          <a:spcPts val="0"/>
                        </a:spcAft>
                        <a:buClrTx/>
                        <a:buSzTx/>
                        <a:buFont typeface="Wingdings" panose="05000000000000000000" pitchFamily="2" charset="2"/>
                        <a:buNone/>
                        <a:tabLst/>
                        <a:defRPr sz="16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1pPr>
                      <a:lvl2pPr marL="742950" marR="0" indent="-285750" algn="l" defTabSz="1097280" rtl="0" latinLnBrk="0">
                        <a:lnSpc>
                          <a:spcPct val="100000"/>
                        </a:lnSpc>
                        <a:spcBef>
                          <a:spcPct val="40000"/>
                        </a:spcBef>
                        <a:spcAft>
                          <a:spcPts val="0"/>
                        </a:spcAft>
                        <a:buClrTx/>
                        <a:buSzTx/>
                        <a:buFont typeface="Arial" panose="020B0604020202020204" pitchFamily="34" charset="0"/>
                        <a:buNone/>
                        <a:tabLst/>
                        <a:defRPr sz="14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2pPr>
                      <a:lvl3pPr marL="1143000" marR="0" indent="-228600" algn="l" defTabSz="1097280" rtl="0" latinLnBrk="0">
                        <a:lnSpc>
                          <a:spcPct val="100000"/>
                        </a:lnSpc>
                        <a:spcBef>
                          <a:spcPct val="40000"/>
                        </a:spcBef>
                        <a:spcAft>
                          <a:spcPts val="0"/>
                        </a:spcAft>
                        <a:buClrTx/>
                        <a:buSzTx/>
                        <a:buFontTx/>
                        <a:buNone/>
                        <a:tabLst/>
                        <a:defRPr sz="14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3pPr>
                      <a:lvl4pPr marL="1600200" marR="0" indent="-228600" algn="l" defTabSz="1097280" rtl="0" latinLnBrk="0">
                        <a:lnSpc>
                          <a:spcPct val="100000"/>
                        </a:lnSpc>
                        <a:spcBef>
                          <a:spcPct val="40000"/>
                        </a:spcBef>
                        <a:spcAft>
                          <a:spcPts val="0"/>
                        </a:spcAft>
                        <a:buClrTx/>
                        <a:buSzTx/>
                        <a:buFont typeface="Arial" panose="020B0604020202020204" pitchFamily="34" charset="0"/>
                        <a:buNone/>
                        <a:tabLst/>
                        <a:defRPr sz="14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4pPr>
                      <a:lvl5pPr marL="2057400" marR="0" indent="-228600" algn="l" defTabSz="1097280" rtl="0" latinLnBrk="0">
                        <a:lnSpc>
                          <a:spcPct val="100000"/>
                        </a:lnSpc>
                        <a:spcBef>
                          <a:spcPct val="40000"/>
                        </a:spcBef>
                        <a:spcAft>
                          <a:spcPts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5pPr>
                      <a:lvl6pPr marL="25146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6pPr>
                      <a:lvl7pPr marL="29718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7pPr>
                      <a:lvl8pPr marL="34290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8pPr>
                      <a:lvl9pPr marL="38862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9pPr>
                    </a:lstStyle>
                    <a:p>
                      <a:pPr lvl="0" algn="l">
                        <a:lnSpc>
                          <a:spcPct val="100000"/>
                        </a:lnSpc>
                        <a:spcBef>
                          <a:spcPts val="0"/>
                        </a:spcBef>
                        <a:spcAft>
                          <a:spcPts val="0"/>
                        </a:spcAft>
                        <a:buNone/>
                      </a:pPr>
                      <a:r>
                        <a:rPr lang="es-ES" sz="2300" b="0" i="0" u="none" strike="noStrike" cap="none" normalizeH="0" baseline="0" noProof="0" dirty="0">
                          <a:ln>
                            <a:noFill/>
                          </a:ln>
                          <a:solidFill>
                            <a:srgbClr val="000000"/>
                          </a:solidFill>
                          <a:effectLst/>
                        </a:rPr>
                        <a:t>Realizar Test unitarios y depurar los componentes compilados</a:t>
                      </a:r>
                      <a:endParaRPr lang="en-US" dirty="0"/>
                    </a:p>
                  </a:txBody>
                  <a:tcPr marL="108000" marR="72000" marT="93600" marB="93600" anchor="ctr" horzOverflow="overflow"/>
                </a:tc>
                <a:tc>
                  <a:txBody>
                    <a:bodyPr/>
                    <a:lstStyle/>
                    <a:p>
                      <a:pPr marL="0" marR="0" lvl="0" indent="0" algn="ctr" defTabSz="1828800" rtl="0" eaLnBrk="1" fontAlgn="ctr" latinLnBrk="0" hangingPunct="1">
                        <a:lnSpc>
                          <a:spcPct val="100000"/>
                        </a:lnSpc>
                        <a:spcBef>
                          <a:spcPts val="0"/>
                        </a:spcBef>
                        <a:spcAft>
                          <a:spcPts val="0"/>
                        </a:spcAft>
                        <a:buClrTx/>
                        <a:buSzTx/>
                        <a:buFontTx/>
                        <a:buNone/>
                        <a:tabLst/>
                        <a:defRPr/>
                      </a:pPr>
                      <a:r>
                        <a:rPr lang="es-ES" sz="1600" b="0" i="0" u="none" strike="noStrike" dirty="0">
                          <a:solidFill>
                            <a:srgbClr val="000000"/>
                          </a:solidFill>
                          <a:effectLst/>
                          <a:latin typeface="Arial" panose="020B0604020202020204" pitchFamily="34" charset="0"/>
                        </a:rPr>
                        <a:t>A/R</a:t>
                      </a: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3804298921"/>
                  </a:ext>
                </a:extLst>
              </a:tr>
              <a:tr h="648000">
                <a:tc>
                  <a:txBody>
                    <a:bodyPr/>
                    <a:lstStyle/>
                    <a:p>
                      <a:r>
                        <a:rPr kumimoji="0" lang="es-ES" sz="2300" b="0" i="0" u="none" strike="noStrike" kern="1200" cap="none" spc="0" normalizeH="0" baseline="0" dirty="0">
                          <a:ln>
                            <a:noFill/>
                          </a:ln>
                          <a:solidFill>
                            <a:sysClr val="windowText" lastClr="000000"/>
                          </a:solidFill>
                          <a:effectLst/>
                          <a:uFillTx/>
                          <a:latin typeface="+mn-lt"/>
                          <a:ea typeface="+mn-ea"/>
                          <a:cs typeface="Arial" panose="020B0604020202020204" pitchFamily="34" charset="0"/>
                          <a:sym typeface="Arial"/>
                        </a:rPr>
                        <a:t>Crear scripts pruebas funcionales</a:t>
                      </a:r>
                    </a:p>
                  </a:txBody>
                  <a:tcPr marL="108000" marR="72000" marT="93600" marB="93600" anchor="ctr" horzOverflow="overflow"/>
                </a:tc>
                <a:tc>
                  <a:txBody>
                    <a:bodyPr/>
                    <a:lstStyle/>
                    <a:p>
                      <a:pPr marL="0" marR="0" lvl="0" indent="0" algn="ctr" defTabSz="1828800" rtl="0" eaLnBrk="1" fontAlgn="ctr" latinLnBrk="0" hangingPunct="1">
                        <a:lnSpc>
                          <a:spcPct val="100000"/>
                        </a:lnSpc>
                        <a:spcBef>
                          <a:spcPts val="0"/>
                        </a:spcBef>
                        <a:spcAft>
                          <a:spcPts val="0"/>
                        </a:spcAft>
                        <a:buClrTx/>
                        <a:buSzTx/>
                        <a:buFontTx/>
                        <a:buNone/>
                        <a:tabLst/>
                        <a:defRPr/>
                      </a:pPr>
                      <a:r>
                        <a:rPr lang="es-ES" sz="1600" b="0" i="0" u="none" strike="noStrike" dirty="0">
                          <a:solidFill>
                            <a:srgbClr val="000000"/>
                          </a:solidFill>
                          <a:effectLst/>
                          <a:latin typeface="Arial" panose="020B0604020202020204" pitchFamily="34" charset="0"/>
                        </a:rPr>
                        <a:t>A/R</a:t>
                      </a: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s-ES" sz="1600" b="0" i="0" u="none" strike="noStrike" dirty="0">
                          <a:solidFill>
                            <a:srgbClr val="000000"/>
                          </a:solidFill>
                          <a:effectLst/>
                          <a:latin typeface="Arial" panose="020B0604020202020204" pitchFamily="34" charset="0"/>
                        </a:rPr>
                        <a:t>C</a:t>
                      </a:r>
                    </a:p>
                  </a:txBody>
                  <a:tcPr marL="9525" marR="9525" marT="9525" marB="0" anchor="ctr"/>
                </a:tc>
                <a:tc>
                  <a:txBody>
                    <a:bodyPr/>
                    <a:lstStyle/>
                    <a:p>
                      <a:pPr algn="ctr" rtl="0" fontAlgn="ctr"/>
                      <a:r>
                        <a:rPr lang="es-ES" sz="1600" b="0" i="0" u="none" strike="noStrike" dirty="0">
                          <a:solidFill>
                            <a:srgbClr val="000000"/>
                          </a:solidFill>
                          <a:effectLst/>
                          <a:latin typeface="Arial" panose="020B0604020202020204" pitchFamily="34" charset="0"/>
                        </a:rPr>
                        <a:t>C</a:t>
                      </a: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1139263082"/>
                  </a:ext>
                </a:extLst>
              </a:tr>
              <a:tr h="648000">
                <a:tc>
                  <a:txBody>
                    <a:bodyPr/>
                    <a:lstStyle/>
                    <a:p>
                      <a:pPr marL="0" marR="0" lvl="0" indent="0" algn="l" rtl="0" eaLnBrk="1" fontAlgn="base" latinLnBrk="0" hangingPunct="1">
                        <a:lnSpc>
                          <a:spcPct val="100000"/>
                        </a:lnSpc>
                        <a:spcBef>
                          <a:spcPct val="0"/>
                        </a:spcBef>
                        <a:spcAft>
                          <a:spcPct val="0"/>
                        </a:spcAft>
                        <a:buClrTx/>
                        <a:buSzTx/>
                        <a:buFontTx/>
                        <a:buNone/>
                      </a:pPr>
                      <a:r>
                        <a:rPr kumimoji="0" lang="en-US" altLang="en-US" sz="2300" b="0" i="0" u="none" strike="noStrike" cap="none" normalizeH="0" baseline="0" dirty="0">
                          <a:ln>
                            <a:noFill/>
                          </a:ln>
                          <a:solidFill>
                            <a:sysClr val="windowText" lastClr="000000"/>
                          </a:solidFill>
                          <a:effectLst/>
                          <a:latin typeface="+mn-lt"/>
                          <a:cs typeface="Arial" panose="020B0604020202020204" pitchFamily="34" charset="0"/>
                        </a:rPr>
                        <a:t>Gestionar la configuración de SW</a:t>
                      </a:r>
                    </a:p>
                  </a:txBody>
                  <a:tcPr marL="108000" marR="72000" marT="93600" marB="93600" anchor="ctr" horzOverflow="overflow"/>
                </a:tc>
                <a:tc>
                  <a:txBody>
                    <a:bodyPr/>
                    <a:lstStyle/>
                    <a:p>
                      <a:pPr marL="0" marR="0" lvl="0" indent="0" algn="ctr" defTabSz="1828800" rtl="0" eaLnBrk="1" fontAlgn="ctr" latinLnBrk="0" hangingPunct="1">
                        <a:lnSpc>
                          <a:spcPct val="100000"/>
                        </a:lnSpc>
                        <a:spcBef>
                          <a:spcPts val="0"/>
                        </a:spcBef>
                        <a:spcAft>
                          <a:spcPts val="0"/>
                        </a:spcAft>
                        <a:buClrTx/>
                        <a:buSzTx/>
                        <a:buFontTx/>
                        <a:buNone/>
                        <a:tabLst/>
                        <a:defRPr/>
                      </a:pPr>
                      <a:r>
                        <a:rPr lang="es-ES" sz="1600" b="0" i="0" u="none" strike="noStrike" dirty="0">
                          <a:solidFill>
                            <a:srgbClr val="000000"/>
                          </a:solidFill>
                          <a:effectLst/>
                          <a:latin typeface="Arial" panose="020B0604020202020204" pitchFamily="34" charset="0"/>
                        </a:rPr>
                        <a:t>A/R</a:t>
                      </a:r>
                    </a:p>
                  </a:txBody>
                  <a:tcPr marL="9525" marR="9525" marT="9525" marB="0" anchor="ctr"/>
                </a:tc>
                <a:tc>
                  <a:txBody>
                    <a:bodyPr/>
                    <a:lstStyle/>
                    <a:p>
                      <a:pPr algn="ctr" fontAlgn="ctr"/>
                      <a:r>
                        <a:rPr lang="es-ES" sz="1600" b="0" i="0" u="none" strike="noStrike" dirty="0">
                          <a:solidFill>
                            <a:srgbClr val="000000"/>
                          </a:solidFill>
                          <a:effectLst/>
                          <a:latin typeface="Arial" panose="020B0604020202020204" pitchFamily="34" charset="0"/>
                        </a:rPr>
                        <a:t>C</a:t>
                      </a:r>
                    </a:p>
                  </a:txBody>
                  <a:tcPr marL="9525" marR="9525" marT="9525" marB="0" anchor="ctr"/>
                </a:tc>
                <a:tc>
                  <a:txBody>
                    <a:bodyPr/>
                    <a:lstStyle/>
                    <a:p>
                      <a:pPr algn="ctr" fontAlgn="ctr"/>
                      <a:r>
                        <a:rPr lang="es-ES" sz="1600" b="0" i="0" u="none" strike="noStrike" dirty="0">
                          <a:solidFill>
                            <a:srgbClr val="000000"/>
                          </a:solidFill>
                          <a:effectLst/>
                          <a:latin typeface="Arial" panose="020B0604020202020204" pitchFamily="34" charset="0"/>
                        </a:rPr>
                        <a:t>C</a:t>
                      </a: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3325560235"/>
                  </a:ext>
                </a:extLst>
              </a:tr>
            </a:tbl>
          </a:graphicData>
        </a:graphic>
      </p:graphicFrame>
    </p:spTree>
    <p:extLst>
      <p:ext uri="{BB962C8B-B14F-4D97-AF65-F5344CB8AC3E}">
        <p14:creationId xmlns:p14="http://schemas.microsoft.com/office/powerpoint/2010/main" val="19784778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23CC172-0644-4121-9FD9-911B532682E7}"/>
              </a:ext>
            </a:extLst>
          </p:cNvPr>
          <p:cNvSpPr txBox="1"/>
          <p:nvPr/>
        </p:nvSpPr>
        <p:spPr>
          <a:xfrm>
            <a:off x="650240" y="541319"/>
            <a:ext cx="22611504" cy="1138773"/>
          </a:xfrm>
          <a:prstGeom prst="rect">
            <a:avLst/>
          </a:prstGeom>
          <a:noFill/>
        </p:spPr>
        <p:txBody>
          <a:bodyPr wrap="square" rtlCol="0" anchor="t">
            <a:spAutoFit/>
          </a:bodyPr>
          <a:lstStyle/>
          <a:p>
            <a:pPr algn="l"/>
            <a:r>
              <a:rPr lang="en-GB" sz="4000" b="1" kern="1200" dirty="0">
                <a:solidFill>
                  <a:srgbClr val="C00000"/>
                </a:solidFill>
              </a:rPr>
              <a:t>CI / CD de releases</a:t>
            </a:r>
            <a:r>
              <a:rPr lang="en-US" sz="4000" b="1" kern="1200" dirty="0">
                <a:solidFill>
                  <a:srgbClr val="C00000"/>
                </a:solidFill>
              </a:rPr>
              <a:t>  </a:t>
            </a:r>
            <a:r>
              <a:rPr lang="en-US" sz="2800" kern="1200" dirty="0">
                <a:solidFill>
                  <a:srgbClr val="C00000"/>
                </a:solidFill>
              </a:rPr>
              <a:t>Desarrollo de releases</a:t>
            </a:r>
          </a:p>
          <a:p>
            <a:pPr algn="l"/>
            <a:r>
              <a:rPr lang="es-ES" altLang="en-US" sz="2800" kern="1200" dirty="0">
                <a:solidFill>
                  <a:schemeClr val="tx1"/>
                </a:solidFill>
              </a:rPr>
              <a:t>Vista de Procesos</a:t>
            </a:r>
            <a:endParaRPr lang="en-US" altLang="en-US" sz="2800" kern="1200" dirty="0">
              <a:solidFill>
                <a:schemeClr val="tx1"/>
              </a:solidFill>
            </a:endParaRPr>
          </a:p>
        </p:txBody>
      </p:sp>
      <p:pic>
        <p:nvPicPr>
          <p:cNvPr id="6" name="New picture">
            <a:extLst>
              <a:ext uri="{FF2B5EF4-FFF2-40B4-BE49-F238E27FC236}">
                <a16:creationId xmlns:a16="http://schemas.microsoft.com/office/drawing/2014/main" id="{D37CE96A-5BE5-4F07-92FD-3E798CAA1D72}"/>
              </a:ext>
            </a:extLst>
          </p:cNvPr>
          <p:cNvPicPr/>
          <p:nvPr/>
        </p:nvPicPr>
        <p:blipFill rotWithShape="1">
          <a:blip r:embed="rId3"/>
          <a:srcRect b="70321"/>
          <a:stretch/>
        </p:blipFill>
        <p:spPr>
          <a:xfrm>
            <a:off x="622234" y="3508513"/>
            <a:ext cx="23139532" cy="4434113"/>
          </a:xfrm>
          <a:prstGeom prst="rect">
            <a:avLst/>
          </a:prstGeom>
        </p:spPr>
      </p:pic>
    </p:spTree>
    <p:extLst>
      <p:ext uri="{BB962C8B-B14F-4D97-AF65-F5344CB8AC3E}">
        <p14:creationId xmlns:p14="http://schemas.microsoft.com/office/powerpoint/2010/main" val="6669090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sp>
        <p:nvSpPr>
          <p:cNvPr id="22" name="TextBox 21">
            <a:extLst>
              <a:ext uri="{FF2B5EF4-FFF2-40B4-BE49-F238E27FC236}">
                <a16:creationId xmlns:a16="http://schemas.microsoft.com/office/drawing/2014/main" id="{DBD2FC54-ADED-1945-9CAB-5D71A60CC211}"/>
              </a:ext>
            </a:extLst>
          </p:cNvPr>
          <p:cNvSpPr txBox="1"/>
          <p:nvPr/>
        </p:nvSpPr>
        <p:spPr>
          <a:xfrm>
            <a:off x="3225705" y="3138192"/>
            <a:ext cx="5465207" cy="1446550"/>
          </a:xfrm>
          <a:prstGeom prst="rect">
            <a:avLst/>
          </a:prstGeom>
          <a:noFill/>
        </p:spPr>
        <p:txBody>
          <a:bodyPr wrap="square" rtlCol="0" anchor="t">
            <a:spAutoFit/>
          </a:bodyPr>
          <a:lstStyle/>
          <a:p>
            <a:r>
              <a:rPr lang="es-ES_tradnl" sz="4400" b="1" kern="1200" dirty="0">
                <a:solidFill>
                  <a:srgbClr val="C00000"/>
                </a:solidFill>
              </a:rPr>
              <a:t>Tabla de contenidos</a:t>
            </a:r>
            <a:endParaRPr lang="es-ES_tradnl" sz="4000" dirty="0"/>
          </a:p>
        </p:txBody>
      </p:sp>
      <p:sp>
        <p:nvSpPr>
          <p:cNvPr id="46" name="Rectangle 45">
            <a:extLst>
              <a:ext uri="{FF2B5EF4-FFF2-40B4-BE49-F238E27FC236}">
                <a16:creationId xmlns:a16="http://schemas.microsoft.com/office/drawing/2014/main" id="{B5BD1DDC-656C-4DB5-BACB-6BABDC831D37}"/>
              </a:ext>
            </a:extLst>
          </p:cNvPr>
          <p:cNvSpPr/>
          <p:nvPr/>
        </p:nvSpPr>
        <p:spPr>
          <a:xfrm>
            <a:off x="9198452" y="2621758"/>
            <a:ext cx="5489480" cy="257175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endParaRPr lang="en-IN" sz="1600" b="1" dirty="0">
              <a:solidFill>
                <a:schemeClr val="bg1"/>
              </a:solidFill>
              <a:latin typeface="Arial" panose="020B0604020202020204"/>
              <a:ea typeface="MS PGothic" charset="-128"/>
            </a:endParaRPr>
          </a:p>
          <a:p>
            <a:pPr algn="r" defTabSz="1097280" fontAlgn="base">
              <a:spcBef>
                <a:spcPct val="0"/>
              </a:spcBef>
              <a:spcAft>
                <a:spcPct val="0"/>
              </a:spcAft>
            </a:pPr>
            <a:r>
              <a:rPr lang="en-IN" sz="2800" b="1" dirty="0">
                <a:solidFill>
                  <a:schemeClr val="bg1"/>
                </a:solidFill>
                <a:latin typeface="Arial" panose="020B0604020202020204"/>
                <a:ea typeface="MS PGothic" charset="-128"/>
              </a:rPr>
              <a:t>1</a:t>
            </a: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r>
              <a:rPr lang="en-US" sz="3200" b="1" dirty="0">
                <a:solidFill>
                  <a:schemeClr val="bg1"/>
                </a:solidFill>
                <a:latin typeface="Arial" panose="020B0604020202020204"/>
                <a:ea typeface="MS PGothic" charset="-128"/>
              </a:rPr>
              <a:t>Overview CTOM</a:t>
            </a:r>
          </a:p>
          <a:p>
            <a:pPr algn="r" defTabSz="1097280" fontAlgn="base">
              <a:spcBef>
                <a:spcPct val="0"/>
              </a:spcBef>
              <a:spcAft>
                <a:spcPct val="0"/>
              </a:spcAft>
            </a:pPr>
            <a:endParaRPr lang="en-IN" sz="1600" b="1" dirty="0">
              <a:solidFill>
                <a:schemeClr val="bg1"/>
              </a:solidFill>
              <a:latin typeface="Arial" panose="020B0604020202020204"/>
              <a:ea typeface="MS PGothic" charset="-128"/>
            </a:endParaRPr>
          </a:p>
        </p:txBody>
      </p:sp>
      <p:sp>
        <p:nvSpPr>
          <p:cNvPr id="49" name="Rectangle 48">
            <a:extLst>
              <a:ext uri="{FF2B5EF4-FFF2-40B4-BE49-F238E27FC236}">
                <a16:creationId xmlns:a16="http://schemas.microsoft.com/office/drawing/2014/main" id="{154B5044-884B-435A-933E-9F29936617F0}"/>
              </a:ext>
            </a:extLst>
          </p:cNvPr>
          <p:cNvSpPr/>
          <p:nvPr/>
        </p:nvSpPr>
        <p:spPr>
          <a:xfrm>
            <a:off x="15171199" y="2621758"/>
            <a:ext cx="5489480" cy="257175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r>
              <a:rPr lang="en-IN" sz="2800" b="1" dirty="0">
                <a:solidFill>
                  <a:schemeClr val="bg1"/>
                </a:solidFill>
                <a:latin typeface="Arial" panose="020B0604020202020204"/>
                <a:ea typeface="MS PGothic" charset="-128"/>
              </a:rPr>
              <a:t>2</a:t>
            </a: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r>
              <a:rPr lang="en-US" sz="2800" b="1" dirty="0">
                <a:solidFill>
                  <a:schemeClr val="bg1"/>
                </a:solidFill>
                <a:latin typeface="Arial" panose="020B0604020202020204"/>
                <a:ea typeface="MS PGothic" charset="-128"/>
              </a:rPr>
              <a:t>Organización y Areas</a:t>
            </a:r>
          </a:p>
        </p:txBody>
      </p:sp>
      <p:sp>
        <p:nvSpPr>
          <p:cNvPr id="50" name="Rectangle 49">
            <a:extLst>
              <a:ext uri="{FF2B5EF4-FFF2-40B4-BE49-F238E27FC236}">
                <a16:creationId xmlns:a16="http://schemas.microsoft.com/office/drawing/2014/main" id="{FBF5BA25-FC78-428C-944A-57D87B8EEA3D}"/>
              </a:ext>
            </a:extLst>
          </p:cNvPr>
          <p:cNvSpPr/>
          <p:nvPr/>
        </p:nvSpPr>
        <p:spPr>
          <a:xfrm>
            <a:off x="3225705" y="5414472"/>
            <a:ext cx="5489480" cy="257175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endParaRPr lang="en-IN" sz="1600" b="1" dirty="0">
              <a:solidFill>
                <a:schemeClr val="bg1"/>
              </a:solidFill>
              <a:latin typeface="Arial" panose="020B0604020202020204"/>
              <a:ea typeface="MS PGothic" charset="-128"/>
            </a:endParaRPr>
          </a:p>
          <a:p>
            <a:pPr algn="r" defTabSz="1097280" fontAlgn="base">
              <a:spcBef>
                <a:spcPct val="0"/>
              </a:spcBef>
              <a:spcAft>
                <a:spcPct val="0"/>
              </a:spcAft>
              <a:defRPr/>
            </a:pPr>
            <a:r>
              <a:rPr lang="en-IN" sz="2800" b="1" dirty="0">
                <a:solidFill>
                  <a:schemeClr val="bg1"/>
                </a:solidFill>
                <a:latin typeface="Arial" panose="020B0604020202020204"/>
                <a:ea typeface="MS PGothic" charset="-128"/>
              </a:rPr>
              <a:t>3</a:t>
            </a: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400" b="1" dirty="0">
              <a:solidFill>
                <a:schemeClr val="bg1"/>
              </a:solidFill>
              <a:latin typeface="Arial" panose="020B0604020202020204"/>
              <a:ea typeface="MS PGothic" charset="-128"/>
            </a:endParaRPr>
          </a:p>
          <a:p>
            <a:pPr defTabSz="1828837">
              <a:defRPr/>
            </a:pPr>
            <a:r>
              <a:rPr lang="en-US" sz="2400" b="1" kern="1200" dirty="0">
                <a:solidFill>
                  <a:srgbClr val="E7E6E6"/>
                </a:solidFill>
                <a:ea typeface="+mn-ea"/>
                <a:cs typeface="+mn-cs"/>
              </a:rPr>
              <a:t>Principales procesos operativos</a:t>
            </a:r>
            <a:endParaRPr lang="en-US" sz="2800" b="1" dirty="0">
              <a:ea typeface="+mn-ea"/>
              <a:cs typeface="+mn-cs"/>
            </a:endParaRPr>
          </a:p>
          <a:p>
            <a:pPr defTabSz="1097280" fontAlgn="base">
              <a:spcBef>
                <a:spcPct val="0"/>
              </a:spcBef>
              <a:spcAft>
                <a:spcPct val="0"/>
              </a:spcAft>
            </a:pPr>
            <a:endParaRPr lang="en-IN" sz="1600" b="1" dirty="0">
              <a:solidFill>
                <a:schemeClr val="bg1"/>
              </a:solidFill>
              <a:latin typeface="Arial" panose="020B0604020202020204"/>
              <a:ea typeface="MS PGothic" charset="-128"/>
            </a:endParaRPr>
          </a:p>
        </p:txBody>
      </p:sp>
      <p:sp>
        <p:nvSpPr>
          <p:cNvPr id="52" name="Rectangle 51">
            <a:extLst>
              <a:ext uri="{FF2B5EF4-FFF2-40B4-BE49-F238E27FC236}">
                <a16:creationId xmlns:a16="http://schemas.microsoft.com/office/drawing/2014/main" id="{7005AE54-F116-4292-812F-6FBFC95D871A}"/>
              </a:ext>
            </a:extLst>
          </p:cNvPr>
          <p:cNvSpPr/>
          <p:nvPr/>
        </p:nvSpPr>
        <p:spPr>
          <a:xfrm>
            <a:off x="9198452" y="5414472"/>
            <a:ext cx="5489480" cy="257175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r>
              <a:rPr lang="en-IN" sz="2800" b="1" dirty="0">
                <a:solidFill>
                  <a:schemeClr val="bg1"/>
                </a:solidFill>
                <a:latin typeface="Arial" panose="020B0604020202020204"/>
                <a:ea typeface="MS PGothic" charset="-128"/>
              </a:rPr>
              <a:t>4</a:t>
            </a: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r>
              <a:rPr lang="en-US" sz="2800" b="1" dirty="0">
                <a:solidFill>
                  <a:schemeClr val="bg1"/>
                </a:solidFill>
                <a:latin typeface="Arial" panose="020B0604020202020204"/>
                <a:ea typeface="MS PGothic" charset="-128"/>
              </a:rPr>
              <a:t>KPIs y Niveles de Servicio</a:t>
            </a:r>
          </a:p>
        </p:txBody>
      </p:sp>
      <p:pic>
        <p:nvPicPr>
          <p:cNvPr id="62" name="Graphic 61" descr="Gauge">
            <a:extLst>
              <a:ext uri="{FF2B5EF4-FFF2-40B4-BE49-F238E27FC236}">
                <a16:creationId xmlns:a16="http://schemas.microsoft.com/office/drawing/2014/main" id="{0895E6BF-6F42-49BE-A95E-892D97E89EC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036454" y="5552155"/>
            <a:ext cx="1463040" cy="1463040"/>
          </a:xfrm>
          <a:prstGeom prst="rect">
            <a:avLst/>
          </a:prstGeom>
        </p:spPr>
      </p:pic>
      <p:pic>
        <p:nvPicPr>
          <p:cNvPr id="64" name="Graphic 63" descr="Hierarchy">
            <a:extLst>
              <a:ext uri="{FF2B5EF4-FFF2-40B4-BE49-F238E27FC236}">
                <a16:creationId xmlns:a16="http://schemas.microsoft.com/office/drawing/2014/main" id="{F29C9CF4-AAB9-4BA5-BC19-AE25D962E06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7184419" y="2829150"/>
            <a:ext cx="1463040" cy="1463040"/>
          </a:xfrm>
          <a:prstGeom prst="rect">
            <a:avLst/>
          </a:prstGeom>
        </p:spPr>
      </p:pic>
      <p:pic>
        <p:nvPicPr>
          <p:cNvPr id="67" name="Graphic 66" descr="Network">
            <a:hlinkClick r:id="rId7" action="ppaction://hlinksldjump"/>
            <a:extLst>
              <a:ext uri="{FF2B5EF4-FFF2-40B4-BE49-F238E27FC236}">
                <a16:creationId xmlns:a16="http://schemas.microsoft.com/office/drawing/2014/main" id="{C5C5A0AC-C8EC-4E16-861B-4E0C9001283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38925" y="5529090"/>
            <a:ext cx="1463040" cy="1463040"/>
          </a:xfrm>
          <a:prstGeom prst="rect">
            <a:avLst/>
          </a:prstGeom>
        </p:spPr>
      </p:pic>
      <p:pic>
        <p:nvPicPr>
          <p:cNvPr id="70" name="Graphic 69" descr="Teacher">
            <a:extLst>
              <a:ext uri="{FF2B5EF4-FFF2-40B4-BE49-F238E27FC236}">
                <a16:creationId xmlns:a16="http://schemas.microsoft.com/office/drawing/2014/main" id="{9C387544-8DBB-4EDB-BE90-4D3117DE6CD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965108" y="2842722"/>
            <a:ext cx="1463040" cy="1463040"/>
          </a:xfrm>
          <a:prstGeom prst="rect">
            <a:avLst/>
          </a:prstGeom>
        </p:spPr>
      </p:pic>
      <p:pic>
        <p:nvPicPr>
          <p:cNvPr id="3" name="Gráfico 2" descr="Clip">
            <a:extLst>
              <a:ext uri="{FF2B5EF4-FFF2-40B4-BE49-F238E27FC236}">
                <a16:creationId xmlns:a16="http://schemas.microsoft.com/office/drawing/2014/main" id="{803EE050-D601-4C76-B9B1-AE86744FB1B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7321579" y="5816152"/>
            <a:ext cx="1188720" cy="1188720"/>
          </a:xfrm>
          <a:prstGeom prst="rect">
            <a:avLst/>
          </a:prstGeom>
        </p:spPr>
      </p:pic>
    </p:spTree>
    <p:extLst>
      <p:ext uri="{BB962C8B-B14F-4D97-AF65-F5344CB8AC3E}">
        <p14:creationId xmlns:p14="http://schemas.microsoft.com/office/powerpoint/2010/main" val="1415206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43D98EF2-D46E-4459-A7A6-F3EDA2FD1F18}"/>
              </a:ext>
            </a:extLst>
          </p:cNvPr>
          <p:cNvSpPr/>
          <p:nvPr/>
        </p:nvSpPr>
        <p:spPr>
          <a:xfrm>
            <a:off x="483686" y="4361543"/>
            <a:ext cx="22944611" cy="84647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Arquitectura</a:t>
            </a:r>
          </a:p>
        </p:txBody>
      </p:sp>
      <p:sp>
        <p:nvSpPr>
          <p:cNvPr id="33" name="TextBox 27">
            <a:extLst>
              <a:ext uri="{FF2B5EF4-FFF2-40B4-BE49-F238E27FC236}">
                <a16:creationId xmlns:a16="http://schemas.microsoft.com/office/drawing/2014/main" id="{5F7CA834-FAFB-4475-98EA-B5B24B1B9ACA}"/>
              </a:ext>
            </a:extLst>
          </p:cNvPr>
          <p:cNvSpPr txBox="1">
            <a:spLocks noChangeArrowheads="1"/>
          </p:cNvSpPr>
          <p:nvPr/>
        </p:nvSpPr>
        <p:spPr bwMode="auto">
          <a:xfrm>
            <a:off x="1934085" y="5266146"/>
            <a:ext cx="7852466" cy="646331"/>
          </a:xfrm>
          <a:prstGeom prst="rect">
            <a:avLst/>
          </a:prstGeom>
          <a:noFill/>
          <a:ln>
            <a:noFill/>
          </a:ln>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eaLnBrk="1" hangingPunct="1"/>
            <a:r>
              <a:rPr lang="en-US" altLang="en-US" sz="3600" dirty="0">
                <a:solidFill>
                  <a:srgbClr val="C00000"/>
                </a:solidFill>
                <a:cs typeface="Arial" panose="020B0604020202020204" pitchFamily="34" charset="0"/>
              </a:rPr>
              <a:t>Responsible   </a:t>
            </a:r>
            <a:r>
              <a:rPr lang="en-US" altLang="en-US" sz="3200" b="0" dirty="0">
                <a:cs typeface="Arial" panose="020B0604020202020204" pitchFamily="34" charset="0"/>
              </a:rPr>
              <a:t>Arquitectura (SanTec)</a:t>
            </a:r>
          </a:p>
        </p:txBody>
      </p:sp>
      <p:sp>
        <p:nvSpPr>
          <p:cNvPr id="37" name="TextBox 27">
            <a:extLst>
              <a:ext uri="{FF2B5EF4-FFF2-40B4-BE49-F238E27FC236}">
                <a16:creationId xmlns:a16="http://schemas.microsoft.com/office/drawing/2014/main" id="{FB642CBA-7B42-427A-BDC9-6EF281856AF5}"/>
              </a:ext>
            </a:extLst>
          </p:cNvPr>
          <p:cNvSpPr txBox="1">
            <a:spLocks noChangeArrowheads="1"/>
          </p:cNvSpPr>
          <p:nvPr/>
        </p:nvSpPr>
        <p:spPr bwMode="auto">
          <a:xfrm>
            <a:off x="1140883" y="7935102"/>
            <a:ext cx="1851470" cy="34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a:r>
              <a:rPr lang="en-US" sz="2000" dirty="0">
                <a:solidFill>
                  <a:srgbClr val="C00000"/>
                </a:solidFill>
                <a:cs typeface="Arial" panose="020B0604020202020204" pitchFamily="34" charset="0"/>
              </a:rPr>
              <a:t>Informed</a:t>
            </a: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r>
              <a:rPr lang="en-US" sz="2000" dirty="0">
                <a:solidFill>
                  <a:srgbClr val="C00000"/>
                </a:solidFill>
                <a:cs typeface="Arial" panose="020B0604020202020204" pitchFamily="34" charset="0"/>
              </a:rPr>
              <a:t>Accountable</a:t>
            </a: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r>
              <a:rPr lang="en-US" altLang="en-US" sz="2000" dirty="0">
                <a:solidFill>
                  <a:srgbClr val="C00000"/>
                </a:solidFill>
                <a:cs typeface="Arial" panose="020B0604020202020204" pitchFamily="34" charset="0"/>
              </a:rPr>
              <a:t>Consulted</a:t>
            </a:r>
          </a:p>
        </p:txBody>
      </p:sp>
      <p:pic>
        <p:nvPicPr>
          <p:cNvPr id="44" name="Picture 25">
            <a:extLst>
              <a:ext uri="{FF2B5EF4-FFF2-40B4-BE49-F238E27FC236}">
                <a16:creationId xmlns:a16="http://schemas.microsoft.com/office/drawing/2014/main" id="{D72724ED-7B48-4488-B887-5833733403C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2300"/>
                    </a14:imgEffect>
                  </a14:imgLayer>
                </a14:imgProps>
              </a:ext>
              <a:ext uri="{28A0092B-C50C-407E-A947-70E740481C1C}">
                <a14:useLocalDpi xmlns:a14="http://schemas.microsoft.com/office/drawing/2010/main" val="0"/>
              </a:ext>
            </a:extLst>
          </a:blip>
          <a:stretch>
            <a:fillRect/>
          </a:stretch>
        </p:blipFill>
        <p:spPr>
          <a:xfrm>
            <a:off x="255221" y="4554484"/>
            <a:ext cx="1817801" cy="1817801"/>
          </a:xfrm>
          <a:prstGeom prst="rect">
            <a:avLst/>
          </a:prstGeom>
        </p:spPr>
      </p:pic>
      <p:pic>
        <p:nvPicPr>
          <p:cNvPr id="45" name="Graphic 6" descr="Handshake">
            <a:extLst>
              <a:ext uri="{FF2B5EF4-FFF2-40B4-BE49-F238E27FC236}">
                <a16:creationId xmlns:a16="http://schemas.microsoft.com/office/drawing/2014/main" id="{1CEDBCFD-0F2B-486C-95CC-C39ACBF1545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7146" y="10546135"/>
            <a:ext cx="788947" cy="788947"/>
          </a:xfrm>
          <a:prstGeom prst="rect">
            <a:avLst/>
          </a:prstGeom>
        </p:spPr>
      </p:pic>
      <p:pic>
        <p:nvPicPr>
          <p:cNvPr id="46" name="Graphic 26" descr="Research">
            <a:extLst>
              <a:ext uri="{FF2B5EF4-FFF2-40B4-BE49-F238E27FC236}">
                <a16:creationId xmlns:a16="http://schemas.microsoft.com/office/drawing/2014/main" id="{792414B5-258C-4791-AF8F-05CCAD981FC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0876" y="8982625"/>
            <a:ext cx="741219" cy="741219"/>
          </a:xfrm>
          <a:prstGeom prst="rect">
            <a:avLst/>
          </a:prstGeom>
        </p:spPr>
      </p:pic>
      <p:pic>
        <p:nvPicPr>
          <p:cNvPr id="47" name="Graphic 34" descr="Information">
            <a:extLst>
              <a:ext uri="{FF2B5EF4-FFF2-40B4-BE49-F238E27FC236}">
                <a16:creationId xmlns:a16="http://schemas.microsoft.com/office/drawing/2014/main" id="{5001615A-0993-464C-96E9-2539D97517E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94255" y="7445529"/>
            <a:ext cx="747097" cy="747097"/>
          </a:xfrm>
          <a:prstGeom prst="rect">
            <a:avLst/>
          </a:prstGeom>
        </p:spPr>
      </p:pic>
      <p:sp>
        <p:nvSpPr>
          <p:cNvPr id="51" name="Rectángulo 50">
            <a:extLst>
              <a:ext uri="{FF2B5EF4-FFF2-40B4-BE49-F238E27FC236}">
                <a16:creationId xmlns:a16="http://schemas.microsoft.com/office/drawing/2014/main" id="{B0184B83-E13F-4D4F-8AF9-5F0DDC7C818E}"/>
              </a:ext>
            </a:extLst>
          </p:cNvPr>
          <p:cNvSpPr/>
          <p:nvPr/>
        </p:nvSpPr>
        <p:spPr>
          <a:xfrm>
            <a:off x="3386474" y="6876299"/>
            <a:ext cx="4831253" cy="2408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3" name="CuadroTexto 52">
            <a:extLst>
              <a:ext uri="{FF2B5EF4-FFF2-40B4-BE49-F238E27FC236}">
                <a16:creationId xmlns:a16="http://schemas.microsoft.com/office/drawing/2014/main" id="{D2D193C5-050E-4531-B4AF-D77A8F3165C6}"/>
              </a:ext>
            </a:extLst>
          </p:cNvPr>
          <p:cNvSpPr txBox="1"/>
          <p:nvPr/>
        </p:nvSpPr>
        <p:spPr>
          <a:xfrm>
            <a:off x="3386474" y="6260281"/>
            <a:ext cx="5029200" cy="400110"/>
          </a:xfrm>
          <a:prstGeom prst="rect">
            <a:avLst/>
          </a:prstGeom>
          <a:noFill/>
        </p:spPr>
        <p:txBody>
          <a:bodyPr wrap="square" rtlCol="0">
            <a:spAutoFit/>
          </a:bodyPr>
          <a:lstStyle/>
          <a:p>
            <a:pPr algn="l"/>
            <a:r>
              <a:rPr lang="es-ES" sz="2000" b="1" dirty="0">
                <a:solidFill>
                  <a:srgbClr val="C00000"/>
                </a:solidFill>
              </a:rPr>
              <a:t>Diseñar el Servicio o Componente</a:t>
            </a:r>
            <a:endParaRPr lang="es-ES" sz="2800" b="1" dirty="0">
              <a:solidFill>
                <a:srgbClr val="C00000"/>
              </a:solidFill>
            </a:endParaRPr>
          </a:p>
        </p:txBody>
      </p:sp>
      <p:cxnSp>
        <p:nvCxnSpPr>
          <p:cNvPr id="59" name="Conector recto 58">
            <a:extLst>
              <a:ext uri="{FF2B5EF4-FFF2-40B4-BE49-F238E27FC236}">
                <a16:creationId xmlns:a16="http://schemas.microsoft.com/office/drawing/2014/main" id="{3FBEC719-2758-4AB4-90E3-703B4EE281EB}"/>
              </a:ext>
            </a:extLst>
          </p:cNvPr>
          <p:cNvCxnSpPr/>
          <p:nvPr/>
        </p:nvCxnSpPr>
        <p:spPr>
          <a:xfrm>
            <a:off x="483686" y="8425282"/>
            <a:ext cx="19846064"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60" name="Conector recto 59">
            <a:extLst>
              <a:ext uri="{FF2B5EF4-FFF2-40B4-BE49-F238E27FC236}">
                <a16:creationId xmlns:a16="http://schemas.microsoft.com/office/drawing/2014/main" id="{C0D1CF2D-A964-417A-B998-5AA259630957}"/>
              </a:ext>
            </a:extLst>
          </p:cNvPr>
          <p:cNvCxnSpPr/>
          <p:nvPr/>
        </p:nvCxnSpPr>
        <p:spPr>
          <a:xfrm>
            <a:off x="483686" y="9867955"/>
            <a:ext cx="19846064"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24" name="Conector recto 23">
            <a:extLst>
              <a:ext uri="{FF2B5EF4-FFF2-40B4-BE49-F238E27FC236}">
                <a16:creationId xmlns:a16="http://schemas.microsoft.com/office/drawing/2014/main" id="{472E8580-85BE-49E8-9BBD-3F4628CEF649}"/>
              </a:ext>
            </a:extLst>
          </p:cNvPr>
          <p:cNvCxnSpPr/>
          <p:nvPr/>
        </p:nvCxnSpPr>
        <p:spPr>
          <a:xfrm>
            <a:off x="483686" y="11374029"/>
            <a:ext cx="19846064"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pic>
        <p:nvPicPr>
          <p:cNvPr id="23" name="New picture">
            <a:extLst>
              <a:ext uri="{FF2B5EF4-FFF2-40B4-BE49-F238E27FC236}">
                <a16:creationId xmlns:a16="http://schemas.microsoft.com/office/drawing/2014/main" id="{F168BFB4-B725-4C47-AF67-245EA8B6C585}"/>
              </a:ext>
            </a:extLst>
          </p:cNvPr>
          <p:cNvPicPr/>
          <p:nvPr/>
        </p:nvPicPr>
        <p:blipFill rotWithShape="1">
          <a:blip r:embed="rId11"/>
          <a:srcRect b="87507"/>
          <a:stretch/>
        </p:blipFill>
        <p:spPr>
          <a:xfrm>
            <a:off x="547146" y="2028717"/>
            <a:ext cx="23030580" cy="1857729"/>
          </a:xfrm>
          <a:prstGeom prst="rect">
            <a:avLst/>
          </a:prstGeom>
        </p:spPr>
      </p:pic>
      <p:sp>
        <p:nvSpPr>
          <p:cNvPr id="30" name="CuadroTexto 29">
            <a:extLst>
              <a:ext uri="{FF2B5EF4-FFF2-40B4-BE49-F238E27FC236}">
                <a16:creationId xmlns:a16="http://schemas.microsoft.com/office/drawing/2014/main" id="{BD2C6102-43E7-4C7F-BC42-160BB3CE0732}"/>
              </a:ext>
            </a:extLst>
          </p:cNvPr>
          <p:cNvSpPr txBox="1"/>
          <p:nvPr/>
        </p:nvSpPr>
        <p:spPr>
          <a:xfrm>
            <a:off x="3316252" y="7353970"/>
            <a:ext cx="5654842" cy="3416320"/>
          </a:xfrm>
          <a:prstGeom prst="rect">
            <a:avLst/>
          </a:prstGeom>
          <a:noFill/>
        </p:spPr>
        <p:txBody>
          <a:bodyPr wrap="square" rtlCol="0">
            <a:spAutoFit/>
          </a:bodyPr>
          <a:lstStyle/>
          <a:p>
            <a:pPr algn="l"/>
            <a:endParaRPr lang="en-US" altLang="en-US" sz="2400" dirty="0"/>
          </a:p>
          <a:p>
            <a:pPr algn="l"/>
            <a:endParaRPr lang="en-US" altLang="en-US" sz="2400" dirty="0"/>
          </a:p>
          <a:p>
            <a:pPr algn="l"/>
            <a:endParaRPr lang="en-US" altLang="en-US" sz="2400" dirty="0"/>
          </a:p>
          <a:p>
            <a:pPr algn="l"/>
            <a:endParaRPr lang="en-US" altLang="en-US" sz="2400" dirty="0"/>
          </a:p>
          <a:p>
            <a:pPr algn="l"/>
            <a:r>
              <a:rPr lang="es-ES" sz="2400" dirty="0"/>
              <a:t>Arquitectura (SanTec)</a:t>
            </a:r>
            <a:r>
              <a:rPr lang="en-US" altLang="en-US" sz="2400" dirty="0"/>
              <a:t> </a:t>
            </a:r>
          </a:p>
          <a:p>
            <a:pPr algn="l"/>
            <a:endParaRPr lang="en-US" altLang="en-US" sz="2400" dirty="0"/>
          </a:p>
          <a:p>
            <a:pPr algn="l"/>
            <a:endParaRPr lang="en-US" altLang="en-US" sz="2400" dirty="0"/>
          </a:p>
          <a:p>
            <a:pPr algn="l"/>
            <a:endParaRPr lang="en-US" altLang="en-US" sz="2400" dirty="0"/>
          </a:p>
          <a:p>
            <a:pPr algn="l"/>
            <a:r>
              <a:rPr lang="es-ES" sz="2400" dirty="0"/>
              <a:t>Dominio de Negocio </a:t>
            </a:r>
            <a:r>
              <a:rPr lang="en-US" altLang="en-US" sz="2400" dirty="0"/>
              <a:t> </a:t>
            </a:r>
            <a:endParaRPr lang="es-ES" sz="2400" dirty="0"/>
          </a:p>
        </p:txBody>
      </p:sp>
      <p:sp>
        <p:nvSpPr>
          <p:cNvPr id="17" name="TextBox 1">
            <a:extLst>
              <a:ext uri="{FF2B5EF4-FFF2-40B4-BE49-F238E27FC236}">
                <a16:creationId xmlns:a16="http://schemas.microsoft.com/office/drawing/2014/main" id="{3924CDCA-8B40-4927-A88F-2959D81E0196}"/>
              </a:ext>
            </a:extLst>
          </p:cNvPr>
          <p:cNvSpPr txBox="1"/>
          <p:nvPr/>
        </p:nvSpPr>
        <p:spPr>
          <a:xfrm>
            <a:off x="650240" y="541319"/>
            <a:ext cx="22611504" cy="1138773"/>
          </a:xfrm>
          <a:prstGeom prst="rect">
            <a:avLst/>
          </a:prstGeom>
          <a:noFill/>
        </p:spPr>
        <p:txBody>
          <a:bodyPr wrap="square" rtlCol="0" anchor="t">
            <a:spAutoFit/>
          </a:bodyPr>
          <a:lstStyle/>
          <a:p>
            <a:pPr algn="l"/>
            <a:r>
              <a:rPr lang="en-GB" sz="4000" b="1" kern="1200" dirty="0">
                <a:solidFill>
                  <a:srgbClr val="C00000"/>
                </a:solidFill>
              </a:rPr>
              <a:t>CI / CD de releases</a:t>
            </a:r>
            <a:r>
              <a:rPr lang="en-US" sz="4000" b="1" kern="1200" dirty="0">
                <a:solidFill>
                  <a:srgbClr val="C00000"/>
                </a:solidFill>
              </a:rPr>
              <a:t>  </a:t>
            </a:r>
            <a:r>
              <a:rPr lang="en-US" sz="2800" kern="1200" dirty="0">
                <a:solidFill>
                  <a:srgbClr val="C00000"/>
                </a:solidFill>
              </a:rPr>
              <a:t>Desarrollo de releases</a:t>
            </a:r>
          </a:p>
          <a:p>
            <a:pPr algn="l"/>
            <a:r>
              <a:rPr lang="es-ES" altLang="en-US" sz="2800" kern="1200" dirty="0">
                <a:solidFill>
                  <a:schemeClr val="tx1"/>
                </a:solidFill>
              </a:rPr>
              <a:t>Vista de Procesos</a:t>
            </a:r>
            <a:endParaRPr lang="en-US" altLang="en-US" sz="2800" kern="1200" dirty="0">
              <a:solidFill>
                <a:schemeClr val="tx1"/>
              </a:solidFill>
            </a:endParaRPr>
          </a:p>
        </p:txBody>
      </p:sp>
    </p:spTree>
    <p:extLst>
      <p:ext uri="{BB962C8B-B14F-4D97-AF65-F5344CB8AC3E}">
        <p14:creationId xmlns:p14="http://schemas.microsoft.com/office/powerpoint/2010/main" val="18749126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Box 27">
            <a:extLst>
              <a:ext uri="{FF2B5EF4-FFF2-40B4-BE49-F238E27FC236}">
                <a16:creationId xmlns:a16="http://schemas.microsoft.com/office/drawing/2014/main" id="{24738201-B6B2-4B2D-8E5D-168FE35ADD9F}"/>
              </a:ext>
            </a:extLst>
          </p:cNvPr>
          <p:cNvSpPr txBox="1">
            <a:spLocks noChangeArrowheads="1"/>
          </p:cNvSpPr>
          <p:nvPr/>
        </p:nvSpPr>
        <p:spPr bwMode="auto">
          <a:xfrm>
            <a:off x="1140883" y="7935102"/>
            <a:ext cx="1851470" cy="34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a:r>
              <a:rPr lang="en-US" sz="2000" dirty="0">
                <a:solidFill>
                  <a:srgbClr val="C00000"/>
                </a:solidFill>
                <a:cs typeface="Arial" panose="020B0604020202020204" pitchFamily="34" charset="0"/>
              </a:rPr>
              <a:t>Informed</a:t>
            </a: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r>
              <a:rPr lang="en-US" sz="2000" dirty="0">
                <a:solidFill>
                  <a:srgbClr val="C00000"/>
                </a:solidFill>
                <a:cs typeface="Arial" panose="020B0604020202020204" pitchFamily="34" charset="0"/>
              </a:rPr>
              <a:t>Accountable</a:t>
            </a: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r>
              <a:rPr lang="en-US" altLang="en-US" sz="2000" dirty="0">
                <a:solidFill>
                  <a:srgbClr val="C00000"/>
                </a:solidFill>
                <a:cs typeface="Arial" panose="020B0604020202020204" pitchFamily="34" charset="0"/>
              </a:rPr>
              <a:t>Consulted</a:t>
            </a:r>
          </a:p>
        </p:txBody>
      </p:sp>
      <p:pic>
        <p:nvPicPr>
          <p:cNvPr id="26" name="Graphic 6" descr="Handshake">
            <a:extLst>
              <a:ext uri="{FF2B5EF4-FFF2-40B4-BE49-F238E27FC236}">
                <a16:creationId xmlns:a16="http://schemas.microsoft.com/office/drawing/2014/main" id="{0E81DC43-AEDB-4693-9AD6-FAB0D80D2A9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7146" y="10546135"/>
            <a:ext cx="788947" cy="788947"/>
          </a:xfrm>
          <a:prstGeom prst="rect">
            <a:avLst/>
          </a:prstGeom>
        </p:spPr>
      </p:pic>
      <p:pic>
        <p:nvPicPr>
          <p:cNvPr id="27" name="Graphic 26" descr="Research">
            <a:extLst>
              <a:ext uri="{FF2B5EF4-FFF2-40B4-BE49-F238E27FC236}">
                <a16:creationId xmlns:a16="http://schemas.microsoft.com/office/drawing/2014/main" id="{5B9CFFB0-E3AA-445F-B22B-0E1B765B649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0876" y="8982625"/>
            <a:ext cx="741219" cy="741219"/>
          </a:xfrm>
          <a:prstGeom prst="rect">
            <a:avLst/>
          </a:prstGeom>
        </p:spPr>
      </p:pic>
      <p:pic>
        <p:nvPicPr>
          <p:cNvPr id="28" name="Graphic 34" descr="Information">
            <a:extLst>
              <a:ext uri="{FF2B5EF4-FFF2-40B4-BE49-F238E27FC236}">
                <a16:creationId xmlns:a16="http://schemas.microsoft.com/office/drawing/2014/main" id="{F80D6F76-C38A-4548-BE0D-E1876828EB4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94255" y="7445529"/>
            <a:ext cx="747097" cy="747097"/>
          </a:xfrm>
          <a:prstGeom prst="rect">
            <a:avLst/>
          </a:prstGeom>
        </p:spPr>
      </p:pic>
      <p:sp>
        <p:nvSpPr>
          <p:cNvPr id="29" name="Rectángulo 28">
            <a:extLst>
              <a:ext uri="{FF2B5EF4-FFF2-40B4-BE49-F238E27FC236}">
                <a16:creationId xmlns:a16="http://schemas.microsoft.com/office/drawing/2014/main" id="{9F812CFA-392E-4516-B9EC-A6A2CD387118}"/>
              </a:ext>
            </a:extLst>
          </p:cNvPr>
          <p:cNvSpPr/>
          <p:nvPr/>
        </p:nvSpPr>
        <p:spPr>
          <a:xfrm>
            <a:off x="3386475" y="6876299"/>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30" name="CuadroTexto 29">
            <a:extLst>
              <a:ext uri="{FF2B5EF4-FFF2-40B4-BE49-F238E27FC236}">
                <a16:creationId xmlns:a16="http://schemas.microsoft.com/office/drawing/2014/main" id="{1BA56A54-B0F1-42A1-BF50-D4C6B48186C3}"/>
              </a:ext>
            </a:extLst>
          </p:cNvPr>
          <p:cNvSpPr txBox="1"/>
          <p:nvPr/>
        </p:nvSpPr>
        <p:spPr>
          <a:xfrm>
            <a:off x="3386474" y="6284344"/>
            <a:ext cx="3880600" cy="646331"/>
          </a:xfrm>
          <a:prstGeom prst="rect">
            <a:avLst/>
          </a:prstGeom>
          <a:noFill/>
        </p:spPr>
        <p:txBody>
          <a:bodyPr wrap="square" rtlCol="0">
            <a:spAutoFit/>
          </a:bodyPr>
          <a:lstStyle/>
          <a:p>
            <a:pPr algn="l"/>
            <a:r>
              <a:rPr lang="es-ES" sz="1800" b="1" dirty="0">
                <a:solidFill>
                  <a:srgbClr val="C00000"/>
                </a:solidFill>
              </a:rPr>
              <a:t>Desarrollo y pruebas estáticas en local</a:t>
            </a:r>
            <a:endParaRPr lang="es-ES" sz="2400" b="1" dirty="0">
              <a:solidFill>
                <a:srgbClr val="C00000"/>
              </a:solidFill>
            </a:endParaRPr>
          </a:p>
        </p:txBody>
      </p:sp>
      <p:sp>
        <p:nvSpPr>
          <p:cNvPr id="31" name="CuadroTexto 30">
            <a:extLst>
              <a:ext uri="{FF2B5EF4-FFF2-40B4-BE49-F238E27FC236}">
                <a16:creationId xmlns:a16="http://schemas.microsoft.com/office/drawing/2014/main" id="{65FB64E5-14C3-488A-A765-14B69329C558}"/>
              </a:ext>
            </a:extLst>
          </p:cNvPr>
          <p:cNvSpPr txBox="1"/>
          <p:nvPr/>
        </p:nvSpPr>
        <p:spPr>
          <a:xfrm>
            <a:off x="3316252" y="7353970"/>
            <a:ext cx="5654842" cy="3416320"/>
          </a:xfrm>
          <a:prstGeom prst="rect">
            <a:avLst/>
          </a:prstGeom>
          <a:noFill/>
        </p:spPr>
        <p:txBody>
          <a:bodyPr wrap="square" rtlCol="0">
            <a:spAutoFit/>
          </a:bodyPr>
          <a:lstStyle/>
          <a:p>
            <a:pPr algn="l"/>
            <a:endParaRPr lang="en-US" altLang="en-US" sz="2400" dirty="0"/>
          </a:p>
          <a:p>
            <a:pPr algn="l"/>
            <a:endParaRPr lang="en-US" altLang="en-US" sz="2400" dirty="0"/>
          </a:p>
          <a:p>
            <a:pPr algn="l"/>
            <a:endParaRPr lang="en-US" altLang="en-US" sz="2400" dirty="0"/>
          </a:p>
          <a:p>
            <a:pPr algn="l"/>
            <a:endParaRPr lang="en-US" altLang="en-US" sz="2400" dirty="0"/>
          </a:p>
          <a:p>
            <a:pPr algn="l"/>
            <a:r>
              <a:rPr lang="es-ES" sz="2400" dirty="0"/>
              <a:t>Dominio de Negocio</a:t>
            </a:r>
            <a:r>
              <a:rPr lang="en-US" altLang="en-US" sz="2400" dirty="0"/>
              <a:t> </a:t>
            </a:r>
          </a:p>
          <a:p>
            <a:pPr algn="l"/>
            <a:endParaRPr lang="en-US" altLang="en-US" sz="2400" dirty="0"/>
          </a:p>
          <a:p>
            <a:pPr algn="l"/>
            <a:endParaRPr lang="en-US" altLang="en-US" sz="2400" dirty="0"/>
          </a:p>
          <a:p>
            <a:pPr algn="l"/>
            <a:endParaRPr lang="en-US" altLang="en-US" sz="2400" dirty="0"/>
          </a:p>
          <a:p>
            <a:pPr algn="l"/>
            <a:r>
              <a:rPr lang="en-US" altLang="en-US" sz="2400" dirty="0"/>
              <a:t> </a:t>
            </a:r>
            <a:endParaRPr lang="es-ES" sz="2400" dirty="0"/>
          </a:p>
        </p:txBody>
      </p:sp>
      <p:cxnSp>
        <p:nvCxnSpPr>
          <p:cNvPr id="32" name="Conector recto 31">
            <a:extLst>
              <a:ext uri="{FF2B5EF4-FFF2-40B4-BE49-F238E27FC236}">
                <a16:creationId xmlns:a16="http://schemas.microsoft.com/office/drawing/2014/main" id="{592B5894-E39F-406F-9BF6-ED7BB1B2CF99}"/>
              </a:ext>
            </a:extLst>
          </p:cNvPr>
          <p:cNvCxnSpPr>
            <a:cxnSpLocks/>
          </p:cNvCxnSpPr>
          <p:nvPr/>
        </p:nvCxnSpPr>
        <p:spPr>
          <a:xfrm>
            <a:off x="483686" y="8425282"/>
            <a:ext cx="22915389"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34" name="Conector recto 33">
            <a:extLst>
              <a:ext uri="{FF2B5EF4-FFF2-40B4-BE49-F238E27FC236}">
                <a16:creationId xmlns:a16="http://schemas.microsoft.com/office/drawing/2014/main" id="{BD77BD8E-96BD-48B1-97EB-2ED66920087C}"/>
              </a:ext>
            </a:extLst>
          </p:cNvPr>
          <p:cNvCxnSpPr>
            <a:cxnSpLocks/>
          </p:cNvCxnSpPr>
          <p:nvPr/>
        </p:nvCxnSpPr>
        <p:spPr>
          <a:xfrm>
            <a:off x="483686" y="9867955"/>
            <a:ext cx="22778058"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35" name="Conector recto 34">
            <a:extLst>
              <a:ext uri="{FF2B5EF4-FFF2-40B4-BE49-F238E27FC236}">
                <a16:creationId xmlns:a16="http://schemas.microsoft.com/office/drawing/2014/main" id="{47606E63-1FCD-4CF2-90C9-169D7EF6F9E2}"/>
              </a:ext>
            </a:extLst>
          </p:cNvPr>
          <p:cNvCxnSpPr>
            <a:cxnSpLocks/>
          </p:cNvCxnSpPr>
          <p:nvPr/>
        </p:nvCxnSpPr>
        <p:spPr>
          <a:xfrm flipV="1">
            <a:off x="483686" y="11335082"/>
            <a:ext cx="22915389" cy="38947"/>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sp>
        <p:nvSpPr>
          <p:cNvPr id="40" name="CuadroTexto 39">
            <a:extLst>
              <a:ext uri="{FF2B5EF4-FFF2-40B4-BE49-F238E27FC236}">
                <a16:creationId xmlns:a16="http://schemas.microsoft.com/office/drawing/2014/main" id="{1AD743A4-3041-4821-87B6-744A7AB5A0F8}"/>
              </a:ext>
            </a:extLst>
          </p:cNvPr>
          <p:cNvSpPr txBox="1"/>
          <p:nvPr/>
        </p:nvSpPr>
        <p:spPr>
          <a:xfrm>
            <a:off x="7419475" y="6260281"/>
            <a:ext cx="3907900" cy="646331"/>
          </a:xfrm>
          <a:prstGeom prst="rect">
            <a:avLst/>
          </a:prstGeom>
          <a:noFill/>
        </p:spPr>
        <p:txBody>
          <a:bodyPr wrap="square" rtlCol="0">
            <a:spAutoFit/>
          </a:bodyPr>
          <a:lstStyle/>
          <a:p>
            <a:pPr algn="l"/>
            <a:r>
              <a:rPr lang="es-ES" sz="1800" b="1" dirty="0">
                <a:solidFill>
                  <a:srgbClr val="C00000"/>
                </a:solidFill>
              </a:rPr>
              <a:t>Desarrollo de dependencias On-Premise</a:t>
            </a:r>
            <a:endParaRPr lang="es-ES" sz="2400" b="1" dirty="0">
              <a:solidFill>
                <a:srgbClr val="C00000"/>
              </a:solidFill>
            </a:endParaRPr>
          </a:p>
        </p:txBody>
      </p:sp>
      <p:sp>
        <p:nvSpPr>
          <p:cNvPr id="41" name="CuadroTexto 40">
            <a:extLst>
              <a:ext uri="{FF2B5EF4-FFF2-40B4-BE49-F238E27FC236}">
                <a16:creationId xmlns:a16="http://schemas.microsoft.com/office/drawing/2014/main" id="{F9C8B312-1DBD-44F7-8A1A-A92C9941097A}"/>
              </a:ext>
            </a:extLst>
          </p:cNvPr>
          <p:cNvSpPr txBox="1"/>
          <p:nvPr/>
        </p:nvSpPr>
        <p:spPr>
          <a:xfrm>
            <a:off x="7380527" y="7355657"/>
            <a:ext cx="5654842" cy="4524315"/>
          </a:xfrm>
          <a:prstGeom prst="rect">
            <a:avLst/>
          </a:prstGeom>
          <a:noFill/>
        </p:spPr>
        <p:txBody>
          <a:bodyPr wrap="square" rtlCol="0">
            <a:spAutoFit/>
          </a:bodyPr>
          <a:lstStyle/>
          <a:p>
            <a:pPr algn="l"/>
            <a:r>
              <a:rPr lang="en-US" altLang="en-US" sz="2400" dirty="0"/>
              <a:t>Testing (SanTec)</a:t>
            </a:r>
          </a:p>
          <a:p>
            <a:pPr algn="l"/>
            <a:endParaRPr lang="en-US" altLang="en-US" sz="2400" dirty="0"/>
          </a:p>
          <a:p>
            <a:pPr algn="l"/>
            <a:endParaRPr lang="en-US" altLang="en-US" sz="2400" dirty="0"/>
          </a:p>
          <a:p>
            <a:pPr algn="l"/>
            <a:endParaRPr lang="en-US" altLang="en-US" sz="2400" dirty="0"/>
          </a:p>
          <a:p>
            <a:pPr algn="l"/>
            <a:r>
              <a:rPr lang="es-ES" sz="2400" dirty="0"/>
              <a:t>Dominio de Negocio</a:t>
            </a:r>
          </a:p>
          <a:p>
            <a:pPr algn="l"/>
            <a:endParaRPr lang="es-ES" altLang="en-US" sz="2400" dirty="0"/>
          </a:p>
          <a:p>
            <a:pPr algn="l"/>
            <a:endParaRPr lang="es-ES" altLang="en-US" sz="2400" dirty="0"/>
          </a:p>
          <a:p>
            <a:pPr algn="l"/>
            <a:endParaRPr lang="es-ES" altLang="en-US" sz="2400" dirty="0"/>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p:txBody>
      </p:sp>
      <p:sp>
        <p:nvSpPr>
          <p:cNvPr id="43" name="CuadroTexto 42">
            <a:extLst>
              <a:ext uri="{FF2B5EF4-FFF2-40B4-BE49-F238E27FC236}">
                <a16:creationId xmlns:a16="http://schemas.microsoft.com/office/drawing/2014/main" id="{D0EA2174-2A26-41B8-91D5-6624F417342B}"/>
              </a:ext>
            </a:extLst>
          </p:cNvPr>
          <p:cNvSpPr txBox="1"/>
          <p:nvPr/>
        </p:nvSpPr>
        <p:spPr>
          <a:xfrm>
            <a:off x="11389925" y="6261968"/>
            <a:ext cx="3880600" cy="646331"/>
          </a:xfrm>
          <a:prstGeom prst="rect">
            <a:avLst/>
          </a:prstGeom>
          <a:noFill/>
        </p:spPr>
        <p:txBody>
          <a:bodyPr wrap="square" rtlCol="0">
            <a:spAutoFit/>
          </a:bodyPr>
          <a:lstStyle/>
          <a:p>
            <a:pPr algn="l"/>
            <a:r>
              <a:rPr lang="es-ES" sz="1800" b="1" dirty="0">
                <a:solidFill>
                  <a:srgbClr val="C00000"/>
                </a:solidFill>
              </a:rPr>
              <a:t>Versionar y publicar código en GitHub</a:t>
            </a:r>
            <a:endParaRPr lang="es-ES" sz="2400" b="1" dirty="0">
              <a:solidFill>
                <a:srgbClr val="C00000"/>
              </a:solidFill>
            </a:endParaRPr>
          </a:p>
        </p:txBody>
      </p:sp>
      <p:sp>
        <p:nvSpPr>
          <p:cNvPr id="48" name="CuadroTexto 47">
            <a:extLst>
              <a:ext uri="{FF2B5EF4-FFF2-40B4-BE49-F238E27FC236}">
                <a16:creationId xmlns:a16="http://schemas.microsoft.com/office/drawing/2014/main" id="{FF5EB115-519D-4F87-807D-CFDE6251026F}"/>
              </a:ext>
            </a:extLst>
          </p:cNvPr>
          <p:cNvSpPr txBox="1"/>
          <p:nvPr/>
        </p:nvSpPr>
        <p:spPr>
          <a:xfrm>
            <a:off x="11389925" y="7332911"/>
            <a:ext cx="5654842" cy="4524315"/>
          </a:xfrm>
          <a:prstGeom prst="rect">
            <a:avLst/>
          </a:prstGeom>
          <a:noFill/>
        </p:spPr>
        <p:txBody>
          <a:bodyPr wrap="square" rtlCol="0">
            <a:spAutoFit/>
          </a:bodyPr>
          <a:lstStyle/>
          <a:p>
            <a:pPr algn="l"/>
            <a:endParaRPr lang="en-US" altLang="en-US" sz="2400" dirty="0"/>
          </a:p>
          <a:p>
            <a:pPr algn="l"/>
            <a:endParaRPr lang="en-US" altLang="en-US" sz="2400" dirty="0"/>
          </a:p>
          <a:p>
            <a:pPr algn="l"/>
            <a:endParaRPr lang="en-US" altLang="en-US" sz="2400" dirty="0"/>
          </a:p>
          <a:p>
            <a:pPr algn="l"/>
            <a:endParaRPr lang="en-US" altLang="en-US" sz="2400" dirty="0"/>
          </a:p>
          <a:p>
            <a:pPr algn="l"/>
            <a:r>
              <a:rPr lang="es-ES" sz="2400" dirty="0"/>
              <a:t>Dominio de Negocio</a:t>
            </a:r>
          </a:p>
          <a:p>
            <a:pPr algn="l"/>
            <a:endParaRPr lang="es-ES" altLang="en-US" sz="2400" dirty="0"/>
          </a:p>
          <a:p>
            <a:pPr algn="l"/>
            <a:endParaRPr lang="es-ES" altLang="en-US" sz="2400" dirty="0"/>
          </a:p>
          <a:p>
            <a:pPr algn="l"/>
            <a:endParaRPr lang="es-ES" altLang="en-US" sz="2400" dirty="0"/>
          </a:p>
          <a:p>
            <a:pPr algn="l"/>
            <a:r>
              <a:rPr lang="es-ES" sz="2400" dirty="0"/>
              <a:t>Ingeniería</a:t>
            </a:r>
            <a:r>
              <a:rPr lang="es-ES" altLang="en-US" sz="2400" dirty="0"/>
              <a:t> (SanTec)</a:t>
            </a:r>
            <a:r>
              <a:rPr lang="en-US" altLang="en-US" sz="2400" dirty="0"/>
              <a:t> </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endParaRPr lang="en-US" altLang="en-US" sz="2400" dirty="0"/>
          </a:p>
        </p:txBody>
      </p:sp>
      <p:sp>
        <p:nvSpPr>
          <p:cNvPr id="49" name="TextBox 27">
            <a:extLst>
              <a:ext uri="{FF2B5EF4-FFF2-40B4-BE49-F238E27FC236}">
                <a16:creationId xmlns:a16="http://schemas.microsoft.com/office/drawing/2014/main" id="{86643CDD-FE19-46A5-AACB-31D4DAB005F2}"/>
              </a:ext>
            </a:extLst>
          </p:cNvPr>
          <p:cNvSpPr txBox="1">
            <a:spLocks noChangeArrowheads="1"/>
          </p:cNvSpPr>
          <p:nvPr/>
        </p:nvSpPr>
        <p:spPr bwMode="auto">
          <a:xfrm>
            <a:off x="1934085" y="5266146"/>
            <a:ext cx="9455840" cy="646331"/>
          </a:xfrm>
          <a:prstGeom prst="rect">
            <a:avLst/>
          </a:prstGeom>
          <a:noFill/>
          <a:ln>
            <a:noFill/>
          </a:ln>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eaLnBrk="1" hangingPunct="1"/>
            <a:r>
              <a:rPr lang="en-US" altLang="en-US" sz="3600" dirty="0">
                <a:solidFill>
                  <a:srgbClr val="C00000"/>
                </a:solidFill>
                <a:cs typeface="Arial" panose="020B0604020202020204" pitchFamily="34" charset="0"/>
              </a:rPr>
              <a:t>Responsible   </a:t>
            </a:r>
            <a:r>
              <a:rPr lang="en-US" altLang="en-US" sz="3200" b="0" dirty="0">
                <a:cs typeface="Arial" panose="020B0604020202020204" pitchFamily="34" charset="0"/>
              </a:rPr>
              <a:t>Dominio de Negocio</a:t>
            </a:r>
          </a:p>
        </p:txBody>
      </p:sp>
      <p:pic>
        <p:nvPicPr>
          <p:cNvPr id="50" name="Picture 25">
            <a:extLst>
              <a:ext uri="{FF2B5EF4-FFF2-40B4-BE49-F238E27FC236}">
                <a16:creationId xmlns:a16="http://schemas.microsoft.com/office/drawing/2014/main" id="{8C0A00FE-818F-41E6-859A-645B338F5D35}"/>
              </a:ext>
            </a:extLst>
          </p:cNvPr>
          <p:cNvPicPr>
            <a:picLocks noChangeAspect="1"/>
          </p:cNvPicPr>
          <p:nvPr/>
        </p:nvPicPr>
        <p:blipFill>
          <a:blip r:embed="rId9">
            <a:extLst>
              <a:ext uri="{BEBA8EAE-BF5A-486C-A8C5-ECC9F3942E4B}">
                <a14:imgProps xmlns:a14="http://schemas.microsoft.com/office/drawing/2010/main">
                  <a14:imgLayer r:embed="rId10">
                    <a14:imgEffect>
                      <a14:colorTemperature colorTemp="2300"/>
                    </a14:imgEffect>
                  </a14:imgLayer>
                </a14:imgProps>
              </a:ext>
              <a:ext uri="{28A0092B-C50C-407E-A947-70E740481C1C}">
                <a14:useLocalDpi xmlns:a14="http://schemas.microsoft.com/office/drawing/2010/main" val="0"/>
              </a:ext>
            </a:extLst>
          </a:blip>
          <a:stretch>
            <a:fillRect/>
          </a:stretch>
        </p:blipFill>
        <p:spPr>
          <a:xfrm>
            <a:off x="255221" y="4554484"/>
            <a:ext cx="1817801" cy="1817801"/>
          </a:xfrm>
          <a:prstGeom prst="rect">
            <a:avLst/>
          </a:prstGeom>
        </p:spPr>
      </p:pic>
      <p:sp>
        <p:nvSpPr>
          <p:cNvPr id="55" name="Rectángulo 54">
            <a:extLst>
              <a:ext uri="{FF2B5EF4-FFF2-40B4-BE49-F238E27FC236}">
                <a16:creationId xmlns:a16="http://schemas.microsoft.com/office/drawing/2014/main" id="{973863A9-88D9-43BE-BBD6-8D283B291663}"/>
              </a:ext>
            </a:extLst>
          </p:cNvPr>
          <p:cNvSpPr/>
          <p:nvPr/>
        </p:nvSpPr>
        <p:spPr>
          <a:xfrm>
            <a:off x="19518475" y="6851179"/>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8" name="Rectángulo 57">
            <a:extLst>
              <a:ext uri="{FF2B5EF4-FFF2-40B4-BE49-F238E27FC236}">
                <a16:creationId xmlns:a16="http://schemas.microsoft.com/office/drawing/2014/main" id="{035797FA-9F57-4177-932A-7A20E345EE98}"/>
              </a:ext>
            </a:extLst>
          </p:cNvPr>
          <p:cNvSpPr/>
          <p:nvPr/>
        </p:nvSpPr>
        <p:spPr>
          <a:xfrm>
            <a:off x="15485475" y="6892180"/>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63" name="Rectángulo 62">
            <a:extLst>
              <a:ext uri="{FF2B5EF4-FFF2-40B4-BE49-F238E27FC236}">
                <a16:creationId xmlns:a16="http://schemas.microsoft.com/office/drawing/2014/main" id="{A9723F52-0204-4030-BE59-15275E889D60}"/>
              </a:ext>
            </a:extLst>
          </p:cNvPr>
          <p:cNvSpPr/>
          <p:nvPr/>
        </p:nvSpPr>
        <p:spPr>
          <a:xfrm>
            <a:off x="11452475" y="6876299"/>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64" name="Rectángulo 63">
            <a:extLst>
              <a:ext uri="{FF2B5EF4-FFF2-40B4-BE49-F238E27FC236}">
                <a16:creationId xmlns:a16="http://schemas.microsoft.com/office/drawing/2014/main" id="{F6D8C325-F79B-40EB-AC81-AE521AF39363}"/>
              </a:ext>
            </a:extLst>
          </p:cNvPr>
          <p:cNvSpPr/>
          <p:nvPr/>
        </p:nvSpPr>
        <p:spPr>
          <a:xfrm>
            <a:off x="7419475" y="6882281"/>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65" name="CuadroTexto 64">
            <a:extLst>
              <a:ext uri="{FF2B5EF4-FFF2-40B4-BE49-F238E27FC236}">
                <a16:creationId xmlns:a16="http://schemas.microsoft.com/office/drawing/2014/main" id="{71FDBE16-0DA9-4562-ABA9-70FA9898A378}"/>
              </a:ext>
            </a:extLst>
          </p:cNvPr>
          <p:cNvSpPr txBox="1"/>
          <p:nvPr/>
        </p:nvSpPr>
        <p:spPr>
          <a:xfrm>
            <a:off x="15485475" y="6294815"/>
            <a:ext cx="3907900" cy="646331"/>
          </a:xfrm>
          <a:prstGeom prst="rect">
            <a:avLst/>
          </a:prstGeom>
          <a:noFill/>
        </p:spPr>
        <p:txBody>
          <a:bodyPr wrap="square" rtlCol="0">
            <a:spAutoFit/>
          </a:bodyPr>
          <a:lstStyle/>
          <a:p>
            <a:pPr algn="l"/>
            <a:r>
              <a:rPr lang="es-ES" sz="1800" b="1" dirty="0">
                <a:solidFill>
                  <a:srgbClr val="C00000"/>
                </a:solidFill>
              </a:rPr>
              <a:t>Escanear calidad de Código en Sonar</a:t>
            </a:r>
            <a:endParaRPr lang="es-ES" sz="2400" b="1" dirty="0">
              <a:solidFill>
                <a:srgbClr val="C00000"/>
              </a:solidFill>
            </a:endParaRPr>
          </a:p>
        </p:txBody>
      </p:sp>
      <p:sp>
        <p:nvSpPr>
          <p:cNvPr id="66" name="CuadroTexto 65">
            <a:extLst>
              <a:ext uri="{FF2B5EF4-FFF2-40B4-BE49-F238E27FC236}">
                <a16:creationId xmlns:a16="http://schemas.microsoft.com/office/drawing/2014/main" id="{D20F0A53-6604-482F-9D25-5A51C8D6E05D}"/>
              </a:ext>
            </a:extLst>
          </p:cNvPr>
          <p:cNvSpPr txBox="1"/>
          <p:nvPr/>
        </p:nvSpPr>
        <p:spPr>
          <a:xfrm>
            <a:off x="19545775" y="6204848"/>
            <a:ext cx="3907900" cy="646331"/>
          </a:xfrm>
          <a:prstGeom prst="rect">
            <a:avLst/>
          </a:prstGeom>
          <a:noFill/>
        </p:spPr>
        <p:txBody>
          <a:bodyPr wrap="square" rtlCol="0">
            <a:spAutoFit/>
          </a:bodyPr>
          <a:lstStyle/>
          <a:p>
            <a:pPr algn="l"/>
            <a:r>
              <a:rPr lang="es-ES" sz="1800" b="1" dirty="0">
                <a:solidFill>
                  <a:srgbClr val="C00000"/>
                </a:solidFill>
              </a:rPr>
              <a:t>Pruebas estáticas de Vulnerabilidades</a:t>
            </a:r>
            <a:endParaRPr lang="es-ES" sz="2400" b="1" dirty="0">
              <a:solidFill>
                <a:srgbClr val="C00000"/>
              </a:solidFill>
            </a:endParaRPr>
          </a:p>
        </p:txBody>
      </p:sp>
      <p:sp>
        <p:nvSpPr>
          <p:cNvPr id="67" name="CuadroTexto 66">
            <a:extLst>
              <a:ext uri="{FF2B5EF4-FFF2-40B4-BE49-F238E27FC236}">
                <a16:creationId xmlns:a16="http://schemas.microsoft.com/office/drawing/2014/main" id="{9B435933-1F5F-41CF-AD6C-2F62CA8E9F0E}"/>
              </a:ext>
            </a:extLst>
          </p:cNvPr>
          <p:cNvSpPr txBox="1"/>
          <p:nvPr/>
        </p:nvSpPr>
        <p:spPr>
          <a:xfrm>
            <a:off x="15509077" y="7327163"/>
            <a:ext cx="5654842" cy="4524315"/>
          </a:xfrm>
          <a:prstGeom prst="rect">
            <a:avLst/>
          </a:prstGeom>
          <a:noFill/>
        </p:spPr>
        <p:txBody>
          <a:bodyPr wrap="square" rtlCol="0">
            <a:spAutoFit/>
          </a:bodyPr>
          <a:lstStyle/>
          <a:p>
            <a:pPr algn="l"/>
            <a:endParaRPr lang="en-US" altLang="en-US" sz="2400" dirty="0"/>
          </a:p>
          <a:p>
            <a:pPr algn="l"/>
            <a:endParaRPr lang="en-US" altLang="en-US" sz="2400" dirty="0"/>
          </a:p>
          <a:p>
            <a:pPr algn="l"/>
            <a:endParaRPr lang="en-US" altLang="en-US" sz="2400" dirty="0"/>
          </a:p>
          <a:p>
            <a:pPr algn="l"/>
            <a:endParaRPr lang="en-US" altLang="en-US" sz="2400" dirty="0"/>
          </a:p>
          <a:p>
            <a:pPr algn="l"/>
            <a:r>
              <a:rPr lang="es-ES" sz="2400" dirty="0"/>
              <a:t>Dominio de Negocio</a:t>
            </a:r>
          </a:p>
          <a:p>
            <a:pPr algn="l"/>
            <a:endParaRPr lang="en-US" altLang="en-US" sz="2400" dirty="0"/>
          </a:p>
          <a:p>
            <a:pPr algn="l"/>
            <a:endParaRPr lang="en-US" altLang="en-US" sz="2400" dirty="0"/>
          </a:p>
          <a:p>
            <a:pPr algn="l"/>
            <a:endParaRPr lang="en-US" altLang="en-US" sz="2400" dirty="0"/>
          </a:p>
          <a:p>
            <a:pPr algn="l"/>
            <a:r>
              <a:rPr lang="en-US" altLang="en-US" sz="2400" dirty="0"/>
              <a:t>Arquitectura (SanTec)</a:t>
            </a:r>
          </a:p>
          <a:p>
            <a:pPr algn="l"/>
            <a:r>
              <a:rPr lang="es-ES" sz="2400" dirty="0"/>
              <a:t>Ingeniería</a:t>
            </a:r>
            <a:r>
              <a:rPr lang="es-ES" altLang="en-US" sz="2400" dirty="0"/>
              <a:t> (SanTec)</a:t>
            </a:r>
            <a:endParaRPr lang="en-US" altLang="en-US" sz="2400" dirty="0"/>
          </a:p>
          <a:p>
            <a:pPr algn="l"/>
            <a:endParaRPr lang="en-US" altLang="en-US" sz="2400" dirty="0"/>
          </a:p>
          <a:p>
            <a:pPr algn="l"/>
            <a:endParaRPr lang="en-US" altLang="en-US" sz="2400" dirty="0"/>
          </a:p>
        </p:txBody>
      </p:sp>
      <p:sp>
        <p:nvSpPr>
          <p:cNvPr id="68" name="CuadroTexto 67">
            <a:extLst>
              <a:ext uri="{FF2B5EF4-FFF2-40B4-BE49-F238E27FC236}">
                <a16:creationId xmlns:a16="http://schemas.microsoft.com/office/drawing/2014/main" id="{A11A8EA2-53E7-44C4-A088-350079721F00}"/>
              </a:ext>
            </a:extLst>
          </p:cNvPr>
          <p:cNvSpPr txBox="1"/>
          <p:nvPr/>
        </p:nvSpPr>
        <p:spPr>
          <a:xfrm>
            <a:off x="19518475" y="7327163"/>
            <a:ext cx="5654842" cy="3785652"/>
          </a:xfrm>
          <a:prstGeom prst="rect">
            <a:avLst/>
          </a:prstGeom>
          <a:noFill/>
        </p:spPr>
        <p:txBody>
          <a:bodyPr wrap="square" rtlCol="0">
            <a:spAutoFit/>
          </a:bodyPr>
          <a:lstStyle/>
          <a:p>
            <a:pPr algn="l"/>
            <a:r>
              <a:rPr lang="en-US" altLang="en-US" sz="2400" dirty="0"/>
              <a:t>Testing (SanTec)</a:t>
            </a:r>
          </a:p>
          <a:p>
            <a:pPr algn="l"/>
            <a:endParaRPr lang="en-US" altLang="en-US" sz="2400" dirty="0"/>
          </a:p>
          <a:p>
            <a:pPr algn="l"/>
            <a:endParaRPr lang="en-US" altLang="en-US" sz="2400" dirty="0"/>
          </a:p>
          <a:p>
            <a:pPr algn="l"/>
            <a:endParaRPr lang="en-US" altLang="en-US" sz="2400" dirty="0"/>
          </a:p>
          <a:p>
            <a:pPr algn="l"/>
            <a:r>
              <a:rPr lang="es-ES" sz="2400" dirty="0"/>
              <a:t>Dominio de Negocio</a:t>
            </a:r>
          </a:p>
          <a:p>
            <a:pPr algn="l"/>
            <a:endParaRPr lang="es-ES" sz="2400" dirty="0"/>
          </a:p>
          <a:p>
            <a:pPr algn="l"/>
            <a:endParaRPr lang="es-ES" sz="2400" dirty="0"/>
          </a:p>
          <a:p>
            <a:pPr algn="l"/>
            <a:endParaRPr lang="es-ES" sz="2400" dirty="0"/>
          </a:p>
          <a:p>
            <a:pPr algn="l"/>
            <a:r>
              <a:rPr lang="es-ES" sz="2400" dirty="0"/>
              <a:t>RTYO (SanTec)</a:t>
            </a:r>
          </a:p>
          <a:p>
            <a:pPr algn="l"/>
            <a:endParaRPr lang="en-US" altLang="en-US" sz="2400" dirty="0"/>
          </a:p>
        </p:txBody>
      </p:sp>
      <p:pic>
        <p:nvPicPr>
          <p:cNvPr id="33" name="New picture">
            <a:extLst>
              <a:ext uri="{FF2B5EF4-FFF2-40B4-BE49-F238E27FC236}">
                <a16:creationId xmlns:a16="http://schemas.microsoft.com/office/drawing/2014/main" id="{EC01130A-3F3F-444C-995F-0F0FB76532E3}"/>
              </a:ext>
            </a:extLst>
          </p:cNvPr>
          <p:cNvPicPr/>
          <p:nvPr/>
        </p:nvPicPr>
        <p:blipFill rotWithShape="1">
          <a:blip r:embed="rId11"/>
          <a:srcRect t="10178" b="70321"/>
          <a:stretch/>
        </p:blipFill>
        <p:spPr>
          <a:xfrm>
            <a:off x="596962" y="1748725"/>
            <a:ext cx="23139532" cy="2913426"/>
          </a:xfrm>
          <a:prstGeom prst="rect">
            <a:avLst/>
          </a:prstGeom>
        </p:spPr>
      </p:pic>
      <p:sp>
        <p:nvSpPr>
          <p:cNvPr id="36" name="TextBox 1">
            <a:extLst>
              <a:ext uri="{FF2B5EF4-FFF2-40B4-BE49-F238E27FC236}">
                <a16:creationId xmlns:a16="http://schemas.microsoft.com/office/drawing/2014/main" id="{6DA110F7-BAAA-441F-A87B-C44E0C46FD69}"/>
              </a:ext>
            </a:extLst>
          </p:cNvPr>
          <p:cNvSpPr txBox="1"/>
          <p:nvPr/>
        </p:nvSpPr>
        <p:spPr>
          <a:xfrm>
            <a:off x="650240" y="541319"/>
            <a:ext cx="22611504" cy="1138773"/>
          </a:xfrm>
          <a:prstGeom prst="rect">
            <a:avLst/>
          </a:prstGeom>
          <a:noFill/>
        </p:spPr>
        <p:txBody>
          <a:bodyPr wrap="square" rtlCol="0" anchor="t">
            <a:spAutoFit/>
          </a:bodyPr>
          <a:lstStyle/>
          <a:p>
            <a:pPr algn="l"/>
            <a:r>
              <a:rPr lang="en-GB" sz="4000" b="1" kern="1200" dirty="0">
                <a:solidFill>
                  <a:srgbClr val="C00000"/>
                </a:solidFill>
              </a:rPr>
              <a:t>CI / CD de releases</a:t>
            </a:r>
            <a:r>
              <a:rPr lang="en-US" sz="4000" b="1" kern="1200" dirty="0">
                <a:solidFill>
                  <a:srgbClr val="C00000"/>
                </a:solidFill>
              </a:rPr>
              <a:t>  </a:t>
            </a:r>
            <a:r>
              <a:rPr lang="en-US" sz="2800" kern="1200" dirty="0">
                <a:solidFill>
                  <a:srgbClr val="C00000"/>
                </a:solidFill>
              </a:rPr>
              <a:t>Desarrollo de releases</a:t>
            </a:r>
          </a:p>
          <a:p>
            <a:pPr algn="l"/>
            <a:r>
              <a:rPr lang="es-ES" altLang="en-US" sz="2800" kern="1200" dirty="0">
                <a:solidFill>
                  <a:schemeClr val="tx1"/>
                </a:solidFill>
              </a:rPr>
              <a:t>Vista de Procesos</a:t>
            </a:r>
            <a:endParaRPr lang="en-US" altLang="en-US" sz="2800" kern="1200" dirty="0">
              <a:solidFill>
                <a:schemeClr val="tx1"/>
              </a:solidFill>
            </a:endParaRPr>
          </a:p>
        </p:txBody>
      </p:sp>
    </p:spTree>
    <p:extLst>
      <p:ext uri="{BB962C8B-B14F-4D97-AF65-F5344CB8AC3E}">
        <p14:creationId xmlns:p14="http://schemas.microsoft.com/office/powerpoint/2010/main" val="22254860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Box 27">
            <a:extLst>
              <a:ext uri="{FF2B5EF4-FFF2-40B4-BE49-F238E27FC236}">
                <a16:creationId xmlns:a16="http://schemas.microsoft.com/office/drawing/2014/main" id="{24738201-B6B2-4B2D-8E5D-168FE35ADD9F}"/>
              </a:ext>
            </a:extLst>
          </p:cNvPr>
          <p:cNvSpPr txBox="1">
            <a:spLocks noChangeArrowheads="1"/>
          </p:cNvSpPr>
          <p:nvPr/>
        </p:nvSpPr>
        <p:spPr bwMode="auto">
          <a:xfrm>
            <a:off x="1140883" y="7935102"/>
            <a:ext cx="1851470" cy="34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a:r>
              <a:rPr lang="en-US" sz="2000" dirty="0">
                <a:solidFill>
                  <a:srgbClr val="C00000"/>
                </a:solidFill>
                <a:cs typeface="Arial" panose="020B0604020202020204" pitchFamily="34" charset="0"/>
              </a:rPr>
              <a:t>Informed</a:t>
            </a: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r>
              <a:rPr lang="en-US" sz="2000" dirty="0">
                <a:solidFill>
                  <a:srgbClr val="C00000"/>
                </a:solidFill>
                <a:cs typeface="Arial" panose="020B0604020202020204" pitchFamily="34" charset="0"/>
              </a:rPr>
              <a:t>Accountable</a:t>
            </a: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r>
              <a:rPr lang="en-US" altLang="en-US" sz="2000" dirty="0">
                <a:solidFill>
                  <a:srgbClr val="C00000"/>
                </a:solidFill>
                <a:cs typeface="Arial" panose="020B0604020202020204" pitchFamily="34" charset="0"/>
              </a:rPr>
              <a:t>Consulted</a:t>
            </a:r>
          </a:p>
        </p:txBody>
      </p:sp>
      <p:pic>
        <p:nvPicPr>
          <p:cNvPr id="26" name="Graphic 6" descr="Handshake">
            <a:extLst>
              <a:ext uri="{FF2B5EF4-FFF2-40B4-BE49-F238E27FC236}">
                <a16:creationId xmlns:a16="http://schemas.microsoft.com/office/drawing/2014/main" id="{0E81DC43-AEDB-4693-9AD6-FAB0D80D2A9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7146" y="10546135"/>
            <a:ext cx="788947" cy="788947"/>
          </a:xfrm>
          <a:prstGeom prst="rect">
            <a:avLst/>
          </a:prstGeom>
        </p:spPr>
      </p:pic>
      <p:pic>
        <p:nvPicPr>
          <p:cNvPr id="27" name="Graphic 26" descr="Research">
            <a:extLst>
              <a:ext uri="{FF2B5EF4-FFF2-40B4-BE49-F238E27FC236}">
                <a16:creationId xmlns:a16="http://schemas.microsoft.com/office/drawing/2014/main" id="{5B9CFFB0-E3AA-445F-B22B-0E1B765B649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0876" y="8982625"/>
            <a:ext cx="741219" cy="741219"/>
          </a:xfrm>
          <a:prstGeom prst="rect">
            <a:avLst/>
          </a:prstGeom>
        </p:spPr>
      </p:pic>
      <p:pic>
        <p:nvPicPr>
          <p:cNvPr id="28" name="Graphic 34" descr="Information">
            <a:extLst>
              <a:ext uri="{FF2B5EF4-FFF2-40B4-BE49-F238E27FC236}">
                <a16:creationId xmlns:a16="http://schemas.microsoft.com/office/drawing/2014/main" id="{F80D6F76-C38A-4548-BE0D-E1876828EB4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94255" y="7445529"/>
            <a:ext cx="747097" cy="747097"/>
          </a:xfrm>
          <a:prstGeom prst="rect">
            <a:avLst/>
          </a:prstGeom>
        </p:spPr>
      </p:pic>
      <p:sp>
        <p:nvSpPr>
          <p:cNvPr id="29" name="Rectángulo 28">
            <a:extLst>
              <a:ext uri="{FF2B5EF4-FFF2-40B4-BE49-F238E27FC236}">
                <a16:creationId xmlns:a16="http://schemas.microsoft.com/office/drawing/2014/main" id="{9F812CFA-392E-4516-B9EC-A6A2CD387118}"/>
              </a:ext>
            </a:extLst>
          </p:cNvPr>
          <p:cNvSpPr/>
          <p:nvPr/>
        </p:nvSpPr>
        <p:spPr>
          <a:xfrm>
            <a:off x="7380956" y="6876299"/>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30" name="CuadroTexto 29">
            <a:extLst>
              <a:ext uri="{FF2B5EF4-FFF2-40B4-BE49-F238E27FC236}">
                <a16:creationId xmlns:a16="http://schemas.microsoft.com/office/drawing/2014/main" id="{1BA56A54-B0F1-42A1-BF50-D4C6B48186C3}"/>
              </a:ext>
            </a:extLst>
          </p:cNvPr>
          <p:cNvSpPr txBox="1"/>
          <p:nvPr/>
        </p:nvSpPr>
        <p:spPr>
          <a:xfrm>
            <a:off x="7413954" y="6284344"/>
            <a:ext cx="3880600" cy="369332"/>
          </a:xfrm>
          <a:prstGeom prst="rect">
            <a:avLst/>
          </a:prstGeom>
          <a:noFill/>
        </p:spPr>
        <p:txBody>
          <a:bodyPr wrap="square" rtlCol="0">
            <a:spAutoFit/>
          </a:bodyPr>
          <a:lstStyle/>
          <a:p>
            <a:pPr algn="l"/>
            <a:r>
              <a:rPr lang="es-ES" sz="1800" b="1" dirty="0">
                <a:solidFill>
                  <a:srgbClr val="C00000"/>
                </a:solidFill>
              </a:rPr>
              <a:t>Desarrollar scripts test unitarios</a:t>
            </a:r>
            <a:endParaRPr lang="es-ES" sz="2400" b="1" dirty="0">
              <a:solidFill>
                <a:srgbClr val="C00000"/>
              </a:solidFill>
            </a:endParaRPr>
          </a:p>
        </p:txBody>
      </p:sp>
      <p:sp>
        <p:nvSpPr>
          <p:cNvPr id="31" name="CuadroTexto 30">
            <a:extLst>
              <a:ext uri="{FF2B5EF4-FFF2-40B4-BE49-F238E27FC236}">
                <a16:creationId xmlns:a16="http://schemas.microsoft.com/office/drawing/2014/main" id="{65FB64E5-14C3-488A-A765-14B69329C558}"/>
              </a:ext>
            </a:extLst>
          </p:cNvPr>
          <p:cNvSpPr txBox="1"/>
          <p:nvPr/>
        </p:nvSpPr>
        <p:spPr>
          <a:xfrm>
            <a:off x="7310733" y="7353970"/>
            <a:ext cx="5654842" cy="3416320"/>
          </a:xfrm>
          <a:prstGeom prst="rect">
            <a:avLst/>
          </a:prstGeom>
          <a:noFill/>
        </p:spPr>
        <p:txBody>
          <a:bodyPr wrap="square" rtlCol="0">
            <a:spAutoFit/>
          </a:bodyPr>
          <a:lstStyle/>
          <a:p>
            <a:pPr algn="l"/>
            <a:endParaRPr lang="es-ES" sz="2400" dirty="0"/>
          </a:p>
          <a:p>
            <a:pPr algn="l"/>
            <a:endParaRPr lang="es-ES" sz="2400" dirty="0"/>
          </a:p>
          <a:p>
            <a:pPr algn="l"/>
            <a:endParaRPr lang="es-ES" sz="2400" dirty="0"/>
          </a:p>
          <a:p>
            <a:pPr algn="l"/>
            <a:endParaRPr lang="es-ES" sz="2400" dirty="0"/>
          </a:p>
          <a:p>
            <a:pPr algn="l"/>
            <a:r>
              <a:rPr lang="es-ES" sz="2400" dirty="0"/>
              <a:t>Dominio de Negocio</a:t>
            </a:r>
            <a:endParaRPr lang="en-US" altLang="en-US" sz="2400" dirty="0"/>
          </a:p>
          <a:p>
            <a:pPr algn="l"/>
            <a:r>
              <a:rPr lang="en-US" altLang="en-US" sz="2400" dirty="0"/>
              <a:t> </a:t>
            </a:r>
          </a:p>
          <a:p>
            <a:pPr algn="l"/>
            <a:endParaRPr lang="en-US" sz="2400" dirty="0"/>
          </a:p>
          <a:p>
            <a:pPr algn="l"/>
            <a:endParaRPr lang="en-US" sz="2400" dirty="0"/>
          </a:p>
          <a:p>
            <a:pPr algn="l"/>
            <a:r>
              <a:rPr lang="en-US" sz="2400" dirty="0"/>
              <a:t>Arquitectura (SanTec)</a:t>
            </a:r>
            <a:endParaRPr lang="es-ES" sz="2400" dirty="0"/>
          </a:p>
        </p:txBody>
      </p:sp>
      <p:sp>
        <p:nvSpPr>
          <p:cNvPr id="40" name="CuadroTexto 39">
            <a:extLst>
              <a:ext uri="{FF2B5EF4-FFF2-40B4-BE49-F238E27FC236}">
                <a16:creationId xmlns:a16="http://schemas.microsoft.com/office/drawing/2014/main" id="{1AD743A4-3041-4821-87B6-744A7AB5A0F8}"/>
              </a:ext>
            </a:extLst>
          </p:cNvPr>
          <p:cNvSpPr txBox="1"/>
          <p:nvPr/>
        </p:nvSpPr>
        <p:spPr>
          <a:xfrm>
            <a:off x="11413956" y="6188091"/>
            <a:ext cx="3505199" cy="646331"/>
          </a:xfrm>
          <a:prstGeom prst="rect">
            <a:avLst/>
          </a:prstGeom>
          <a:noFill/>
        </p:spPr>
        <p:txBody>
          <a:bodyPr wrap="square" rtlCol="0">
            <a:spAutoFit/>
          </a:bodyPr>
          <a:lstStyle/>
          <a:p>
            <a:pPr algn="l"/>
            <a:r>
              <a:rPr lang="es-ES" sz="1800" b="1" dirty="0">
                <a:solidFill>
                  <a:srgbClr val="C00000"/>
                </a:solidFill>
              </a:rPr>
              <a:t>Realizar test unitarios y depurar compilados</a:t>
            </a:r>
            <a:endParaRPr lang="es-ES" sz="2000" b="1" dirty="0">
              <a:solidFill>
                <a:srgbClr val="C00000"/>
              </a:solidFill>
            </a:endParaRPr>
          </a:p>
        </p:txBody>
      </p:sp>
      <p:sp>
        <p:nvSpPr>
          <p:cNvPr id="41" name="CuadroTexto 40">
            <a:extLst>
              <a:ext uri="{FF2B5EF4-FFF2-40B4-BE49-F238E27FC236}">
                <a16:creationId xmlns:a16="http://schemas.microsoft.com/office/drawing/2014/main" id="{F9C8B312-1DBD-44F7-8A1A-A92C9941097A}"/>
              </a:ext>
            </a:extLst>
          </p:cNvPr>
          <p:cNvSpPr txBox="1"/>
          <p:nvPr/>
        </p:nvSpPr>
        <p:spPr>
          <a:xfrm>
            <a:off x="11375008" y="7355657"/>
            <a:ext cx="5654842" cy="2308324"/>
          </a:xfrm>
          <a:prstGeom prst="rect">
            <a:avLst/>
          </a:prstGeom>
          <a:noFill/>
        </p:spPr>
        <p:txBody>
          <a:bodyPr wrap="square" rtlCol="0">
            <a:spAutoFit/>
          </a:bodyPr>
          <a:lstStyle/>
          <a:p>
            <a:pPr algn="l"/>
            <a:endParaRPr lang="en-US" altLang="en-US" sz="2400" dirty="0"/>
          </a:p>
          <a:p>
            <a:pPr algn="l"/>
            <a:endParaRPr lang="en-US" altLang="en-US" sz="2400" dirty="0"/>
          </a:p>
          <a:p>
            <a:pPr algn="l"/>
            <a:endParaRPr lang="en-US" altLang="en-US" sz="2400" dirty="0"/>
          </a:p>
          <a:p>
            <a:pPr algn="l"/>
            <a:endParaRPr lang="en-US" altLang="en-US" sz="2400" dirty="0"/>
          </a:p>
          <a:p>
            <a:pPr algn="l"/>
            <a:r>
              <a:rPr lang="es-ES" sz="2400" dirty="0"/>
              <a:t>Dominio de Negocio</a:t>
            </a:r>
            <a:r>
              <a:rPr lang="en-US" altLang="en-US" sz="2400" dirty="0"/>
              <a:t> </a:t>
            </a:r>
          </a:p>
          <a:p>
            <a:pPr marL="457200" indent="-457200" algn="l">
              <a:buFont typeface="Arial" panose="020B0604020202020204" pitchFamily="34" charset="0"/>
              <a:buChar char="•"/>
            </a:pPr>
            <a:endParaRPr lang="en-US" altLang="en-US" sz="2400" dirty="0"/>
          </a:p>
        </p:txBody>
      </p:sp>
      <p:sp>
        <p:nvSpPr>
          <p:cNvPr id="43" name="CuadroTexto 42">
            <a:extLst>
              <a:ext uri="{FF2B5EF4-FFF2-40B4-BE49-F238E27FC236}">
                <a16:creationId xmlns:a16="http://schemas.microsoft.com/office/drawing/2014/main" id="{D0EA2174-2A26-41B8-91D5-6624F417342B}"/>
              </a:ext>
            </a:extLst>
          </p:cNvPr>
          <p:cNvSpPr txBox="1"/>
          <p:nvPr/>
        </p:nvSpPr>
        <p:spPr>
          <a:xfrm>
            <a:off x="15384406" y="6189779"/>
            <a:ext cx="3880600" cy="369332"/>
          </a:xfrm>
          <a:prstGeom prst="rect">
            <a:avLst/>
          </a:prstGeom>
          <a:noFill/>
        </p:spPr>
        <p:txBody>
          <a:bodyPr wrap="square" rtlCol="0">
            <a:spAutoFit/>
          </a:bodyPr>
          <a:lstStyle/>
          <a:p>
            <a:pPr algn="l"/>
            <a:r>
              <a:rPr lang="es-ES" sz="1800" b="1" dirty="0">
                <a:solidFill>
                  <a:srgbClr val="C00000"/>
                </a:solidFill>
              </a:rPr>
              <a:t>Crear scripts pruebas funcionales</a:t>
            </a:r>
            <a:endParaRPr lang="es-ES" sz="2400" b="1" dirty="0">
              <a:solidFill>
                <a:srgbClr val="C00000"/>
              </a:solidFill>
            </a:endParaRPr>
          </a:p>
        </p:txBody>
      </p:sp>
      <p:sp>
        <p:nvSpPr>
          <p:cNvPr id="48" name="CuadroTexto 47">
            <a:extLst>
              <a:ext uri="{FF2B5EF4-FFF2-40B4-BE49-F238E27FC236}">
                <a16:creationId xmlns:a16="http://schemas.microsoft.com/office/drawing/2014/main" id="{FF5EB115-519D-4F87-807D-CFDE6251026F}"/>
              </a:ext>
            </a:extLst>
          </p:cNvPr>
          <p:cNvSpPr txBox="1"/>
          <p:nvPr/>
        </p:nvSpPr>
        <p:spPr>
          <a:xfrm>
            <a:off x="15369489" y="7320551"/>
            <a:ext cx="5654842" cy="5262979"/>
          </a:xfrm>
          <a:prstGeom prst="rect">
            <a:avLst/>
          </a:prstGeom>
          <a:noFill/>
        </p:spPr>
        <p:txBody>
          <a:bodyPr wrap="square" rtlCol="0">
            <a:spAutoFit/>
          </a:bodyPr>
          <a:lstStyle/>
          <a:p>
            <a:pPr algn="l"/>
            <a:endParaRPr lang="es-ES" altLang="en-US" sz="2400" dirty="0"/>
          </a:p>
          <a:p>
            <a:pPr algn="l"/>
            <a:endParaRPr lang="en-US" altLang="en-US" sz="2400" dirty="0"/>
          </a:p>
          <a:p>
            <a:pPr algn="l"/>
            <a:endParaRPr lang="en-US" altLang="en-US" sz="2400" dirty="0"/>
          </a:p>
          <a:p>
            <a:pPr algn="l"/>
            <a:endParaRPr lang="en-US" altLang="en-US" sz="2400" dirty="0"/>
          </a:p>
          <a:p>
            <a:pPr algn="l"/>
            <a:r>
              <a:rPr lang="es-ES" sz="2400" dirty="0"/>
              <a:t>Dominio de Negocio</a:t>
            </a:r>
            <a:endParaRPr lang="en-US" altLang="en-US" sz="2400" dirty="0"/>
          </a:p>
          <a:p>
            <a:pPr algn="l"/>
            <a:endParaRPr lang="en-US" altLang="en-US" sz="2400" dirty="0"/>
          </a:p>
          <a:p>
            <a:pPr algn="l"/>
            <a:endParaRPr lang="en-US" altLang="en-US" sz="2400" dirty="0"/>
          </a:p>
          <a:p>
            <a:pPr algn="l"/>
            <a:endParaRPr lang="en-US" altLang="en-US" sz="2400" dirty="0"/>
          </a:p>
          <a:p>
            <a:pPr algn="l"/>
            <a:r>
              <a:rPr lang="en-US" altLang="en-US" sz="2400" dirty="0"/>
              <a:t>Testing (SanTec)</a:t>
            </a:r>
          </a:p>
          <a:p>
            <a:pPr algn="l"/>
            <a:r>
              <a:rPr lang="en-US" altLang="en-US" sz="2400" dirty="0"/>
              <a:t>Ingeniería (SanTec)</a:t>
            </a:r>
          </a:p>
          <a:p>
            <a:pPr algn="l"/>
            <a:r>
              <a:rPr lang="en-US" altLang="en-US" sz="2400" dirty="0"/>
              <a:t> </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endParaRPr lang="en-US" altLang="en-US" sz="2400" dirty="0"/>
          </a:p>
        </p:txBody>
      </p:sp>
      <p:pic>
        <p:nvPicPr>
          <p:cNvPr id="50" name="Picture 25">
            <a:extLst>
              <a:ext uri="{FF2B5EF4-FFF2-40B4-BE49-F238E27FC236}">
                <a16:creationId xmlns:a16="http://schemas.microsoft.com/office/drawing/2014/main" id="{8C0A00FE-818F-41E6-859A-645B338F5D35}"/>
              </a:ext>
            </a:extLst>
          </p:cNvPr>
          <p:cNvPicPr>
            <a:picLocks noChangeAspect="1"/>
          </p:cNvPicPr>
          <p:nvPr/>
        </p:nvPicPr>
        <p:blipFill>
          <a:blip r:embed="rId9">
            <a:extLst>
              <a:ext uri="{BEBA8EAE-BF5A-486C-A8C5-ECC9F3942E4B}">
                <a14:imgProps xmlns:a14="http://schemas.microsoft.com/office/drawing/2010/main">
                  <a14:imgLayer r:embed="rId10">
                    <a14:imgEffect>
                      <a14:colorTemperature colorTemp="2300"/>
                    </a14:imgEffect>
                  </a14:imgLayer>
                </a14:imgProps>
              </a:ext>
              <a:ext uri="{28A0092B-C50C-407E-A947-70E740481C1C}">
                <a14:useLocalDpi xmlns:a14="http://schemas.microsoft.com/office/drawing/2010/main" val="0"/>
              </a:ext>
            </a:extLst>
          </a:blip>
          <a:stretch>
            <a:fillRect/>
          </a:stretch>
        </p:blipFill>
        <p:spPr>
          <a:xfrm>
            <a:off x="255221" y="4554484"/>
            <a:ext cx="1817801" cy="1817801"/>
          </a:xfrm>
          <a:prstGeom prst="rect">
            <a:avLst/>
          </a:prstGeom>
        </p:spPr>
      </p:pic>
      <p:sp>
        <p:nvSpPr>
          <p:cNvPr id="63" name="Rectángulo 62">
            <a:extLst>
              <a:ext uri="{FF2B5EF4-FFF2-40B4-BE49-F238E27FC236}">
                <a16:creationId xmlns:a16="http://schemas.microsoft.com/office/drawing/2014/main" id="{A9723F52-0204-4030-BE59-15275E889D60}"/>
              </a:ext>
            </a:extLst>
          </p:cNvPr>
          <p:cNvSpPr/>
          <p:nvPr/>
        </p:nvSpPr>
        <p:spPr>
          <a:xfrm>
            <a:off x="15446956" y="6876299"/>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64" name="Rectángulo 63">
            <a:extLst>
              <a:ext uri="{FF2B5EF4-FFF2-40B4-BE49-F238E27FC236}">
                <a16:creationId xmlns:a16="http://schemas.microsoft.com/office/drawing/2014/main" id="{F6D8C325-F79B-40EB-AC81-AE521AF39363}"/>
              </a:ext>
            </a:extLst>
          </p:cNvPr>
          <p:cNvSpPr/>
          <p:nvPr/>
        </p:nvSpPr>
        <p:spPr>
          <a:xfrm>
            <a:off x="11413956" y="6882281"/>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2" name="TextBox 27">
            <a:extLst>
              <a:ext uri="{FF2B5EF4-FFF2-40B4-BE49-F238E27FC236}">
                <a16:creationId xmlns:a16="http://schemas.microsoft.com/office/drawing/2014/main" id="{44146969-2EB4-43F7-AC58-5B757F72591C}"/>
              </a:ext>
            </a:extLst>
          </p:cNvPr>
          <p:cNvSpPr txBox="1">
            <a:spLocks noChangeArrowheads="1"/>
          </p:cNvSpPr>
          <p:nvPr/>
        </p:nvSpPr>
        <p:spPr bwMode="auto">
          <a:xfrm>
            <a:off x="1934085" y="5266146"/>
            <a:ext cx="9455840" cy="646331"/>
          </a:xfrm>
          <a:prstGeom prst="rect">
            <a:avLst/>
          </a:prstGeom>
          <a:noFill/>
          <a:ln>
            <a:noFill/>
          </a:ln>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eaLnBrk="1" hangingPunct="1"/>
            <a:r>
              <a:rPr lang="en-US" altLang="en-US" sz="3600" dirty="0">
                <a:solidFill>
                  <a:srgbClr val="C00000"/>
                </a:solidFill>
                <a:cs typeface="Arial" panose="020B0604020202020204" pitchFamily="34" charset="0"/>
              </a:rPr>
              <a:t>Responsible   </a:t>
            </a:r>
            <a:r>
              <a:rPr lang="en-US" altLang="en-US" sz="3200" b="0" dirty="0">
                <a:cs typeface="Arial" panose="020B0604020202020204" pitchFamily="34" charset="0"/>
              </a:rPr>
              <a:t>Dominio de Negocio</a:t>
            </a:r>
          </a:p>
        </p:txBody>
      </p:sp>
      <p:pic>
        <p:nvPicPr>
          <p:cNvPr id="36" name="New picture">
            <a:extLst>
              <a:ext uri="{FF2B5EF4-FFF2-40B4-BE49-F238E27FC236}">
                <a16:creationId xmlns:a16="http://schemas.microsoft.com/office/drawing/2014/main" id="{3719E032-D6F1-4A06-91FC-277757F286DE}"/>
              </a:ext>
            </a:extLst>
          </p:cNvPr>
          <p:cNvPicPr/>
          <p:nvPr/>
        </p:nvPicPr>
        <p:blipFill rotWithShape="1">
          <a:blip r:embed="rId11"/>
          <a:srcRect t="10178" b="70321"/>
          <a:stretch/>
        </p:blipFill>
        <p:spPr>
          <a:xfrm>
            <a:off x="596962" y="1767775"/>
            <a:ext cx="23139532" cy="2913426"/>
          </a:xfrm>
          <a:prstGeom prst="rect">
            <a:avLst/>
          </a:prstGeom>
        </p:spPr>
      </p:pic>
      <p:cxnSp>
        <p:nvCxnSpPr>
          <p:cNvPr id="37" name="Conector recto 36">
            <a:extLst>
              <a:ext uri="{FF2B5EF4-FFF2-40B4-BE49-F238E27FC236}">
                <a16:creationId xmlns:a16="http://schemas.microsoft.com/office/drawing/2014/main" id="{B4747704-65EA-435F-AFE0-6833962E962A}"/>
              </a:ext>
            </a:extLst>
          </p:cNvPr>
          <p:cNvCxnSpPr>
            <a:cxnSpLocks/>
          </p:cNvCxnSpPr>
          <p:nvPr/>
        </p:nvCxnSpPr>
        <p:spPr>
          <a:xfrm>
            <a:off x="483686" y="8425282"/>
            <a:ext cx="22915389"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44" name="Conector recto 43">
            <a:extLst>
              <a:ext uri="{FF2B5EF4-FFF2-40B4-BE49-F238E27FC236}">
                <a16:creationId xmlns:a16="http://schemas.microsoft.com/office/drawing/2014/main" id="{E8BBFB4E-89A3-4CD7-9674-BC3844E73B51}"/>
              </a:ext>
            </a:extLst>
          </p:cNvPr>
          <p:cNvCxnSpPr>
            <a:cxnSpLocks/>
          </p:cNvCxnSpPr>
          <p:nvPr/>
        </p:nvCxnSpPr>
        <p:spPr>
          <a:xfrm>
            <a:off x="483686" y="9867955"/>
            <a:ext cx="22778058"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45" name="Conector recto 44">
            <a:extLst>
              <a:ext uri="{FF2B5EF4-FFF2-40B4-BE49-F238E27FC236}">
                <a16:creationId xmlns:a16="http://schemas.microsoft.com/office/drawing/2014/main" id="{8E496407-971D-4DED-B3EB-50A9346B5FC0}"/>
              </a:ext>
            </a:extLst>
          </p:cNvPr>
          <p:cNvCxnSpPr>
            <a:cxnSpLocks/>
          </p:cNvCxnSpPr>
          <p:nvPr/>
        </p:nvCxnSpPr>
        <p:spPr>
          <a:xfrm flipV="1">
            <a:off x="483686" y="11335082"/>
            <a:ext cx="22915389" cy="38947"/>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sp>
        <p:nvSpPr>
          <p:cNvPr id="46" name="Rectángulo 45">
            <a:extLst>
              <a:ext uri="{FF2B5EF4-FFF2-40B4-BE49-F238E27FC236}">
                <a16:creationId xmlns:a16="http://schemas.microsoft.com/office/drawing/2014/main" id="{2FAAE954-74F6-4B3D-A5DB-9D3EBF2CEFB1}"/>
              </a:ext>
            </a:extLst>
          </p:cNvPr>
          <p:cNvSpPr/>
          <p:nvPr/>
        </p:nvSpPr>
        <p:spPr>
          <a:xfrm>
            <a:off x="3386475" y="6876299"/>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7" name="CuadroTexto 46">
            <a:extLst>
              <a:ext uri="{FF2B5EF4-FFF2-40B4-BE49-F238E27FC236}">
                <a16:creationId xmlns:a16="http://schemas.microsoft.com/office/drawing/2014/main" id="{C40F810B-D33E-49A0-91A0-5CCF42F75B33}"/>
              </a:ext>
            </a:extLst>
          </p:cNvPr>
          <p:cNvSpPr txBox="1"/>
          <p:nvPr/>
        </p:nvSpPr>
        <p:spPr>
          <a:xfrm>
            <a:off x="3386474" y="6284344"/>
            <a:ext cx="3880600" cy="646331"/>
          </a:xfrm>
          <a:prstGeom prst="rect">
            <a:avLst/>
          </a:prstGeom>
          <a:noFill/>
        </p:spPr>
        <p:txBody>
          <a:bodyPr wrap="square" rtlCol="0">
            <a:spAutoFit/>
          </a:bodyPr>
          <a:lstStyle/>
          <a:p>
            <a:pPr algn="l"/>
            <a:r>
              <a:rPr lang="es-ES" sz="1800" b="1" dirty="0">
                <a:solidFill>
                  <a:srgbClr val="C00000"/>
                </a:solidFill>
              </a:rPr>
              <a:t>Desplegar en Entorno de Desarrollo</a:t>
            </a:r>
            <a:endParaRPr lang="es-ES" sz="2400" b="1" dirty="0">
              <a:solidFill>
                <a:srgbClr val="C00000"/>
              </a:solidFill>
            </a:endParaRPr>
          </a:p>
        </p:txBody>
      </p:sp>
      <p:sp>
        <p:nvSpPr>
          <p:cNvPr id="49" name="CuadroTexto 48">
            <a:extLst>
              <a:ext uri="{FF2B5EF4-FFF2-40B4-BE49-F238E27FC236}">
                <a16:creationId xmlns:a16="http://schemas.microsoft.com/office/drawing/2014/main" id="{8866DFB0-2E06-43D0-B690-C60B04D18330}"/>
              </a:ext>
            </a:extLst>
          </p:cNvPr>
          <p:cNvSpPr txBox="1"/>
          <p:nvPr/>
        </p:nvSpPr>
        <p:spPr>
          <a:xfrm>
            <a:off x="3316252" y="7353970"/>
            <a:ext cx="5654842" cy="3785652"/>
          </a:xfrm>
          <a:prstGeom prst="rect">
            <a:avLst/>
          </a:prstGeom>
          <a:noFill/>
        </p:spPr>
        <p:txBody>
          <a:bodyPr wrap="square" rtlCol="0">
            <a:spAutoFit/>
          </a:bodyPr>
          <a:lstStyle/>
          <a:p>
            <a:pPr algn="l"/>
            <a:endParaRPr lang="en-US" altLang="en-US" sz="2400" dirty="0"/>
          </a:p>
          <a:p>
            <a:pPr algn="l"/>
            <a:endParaRPr lang="en-US" altLang="en-US" sz="2400" dirty="0"/>
          </a:p>
          <a:p>
            <a:pPr algn="l"/>
            <a:endParaRPr lang="en-US" altLang="en-US" sz="2400" dirty="0"/>
          </a:p>
          <a:p>
            <a:pPr algn="l"/>
            <a:endParaRPr lang="en-US" altLang="en-US" sz="2400" dirty="0"/>
          </a:p>
          <a:p>
            <a:pPr algn="l"/>
            <a:r>
              <a:rPr lang="es-ES" sz="2400" dirty="0"/>
              <a:t>Dominio de Negocio</a:t>
            </a:r>
            <a:endParaRPr lang="en-US" altLang="en-US" sz="2400" dirty="0"/>
          </a:p>
          <a:p>
            <a:pPr algn="l"/>
            <a:endParaRPr lang="en-US" altLang="en-US" sz="2400" dirty="0"/>
          </a:p>
          <a:p>
            <a:pPr algn="l"/>
            <a:endParaRPr lang="en-US" altLang="en-US" sz="2400" dirty="0"/>
          </a:p>
          <a:p>
            <a:pPr algn="l"/>
            <a:endParaRPr lang="en-US" altLang="en-US" sz="2400" dirty="0"/>
          </a:p>
          <a:p>
            <a:pPr algn="l"/>
            <a:r>
              <a:rPr lang="en-US" altLang="en-US" sz="2400" dirty="0"/>
              <a:t> Ingeniería (SanTec)</a:t>
            </a:r>
          </a:p>
          <a:p>
            <a:pPr algn="l"/>
            <a:endParaRPr lang="es-ES" sz="2400" dirty="0"/>
          </a:p>
        </p:txBody>
      </p:sp>
      <p:sp>
        <p:nvSpPr>
          <p:cNvPr id="54" name="CuadroTexto 53">
            <a:extLst>
              <a:ext uri="{FF2B5EF4-FFF2-40B4-BE49-F238E27FC236}">
                <a16:creationId xmlns:a16="http://schemas.microsoft.com/office/drawing/2014/main" id="{5036083E-18AC-4769-A799-3EEBD8D66E85}"/>
              </a:ext>
            </a:extLst>
          </p:cNvPr>
          <p:cNvSpPr txBox="1"/>
          <p:nvPr/>
        </p:nvSpPr>
        <p:spPr>
          <a:xfrm>
            <a:off x="19342473" y="6204820"/>
            <a:ext cx="3880600" cy="369332"/>
          </a:xfrm>
          <a:prstGeom prst="rect">
            <a:avLst/>
          </a:prstGeom>
          <a:noFill/>
        </p:spPr>
        <p:txBody>
          <a:bodyPr wrap="square" rtlCol="0">
            <a:spAutoFit/>
          </a:bodyPr>
          <a:lstStyle/>
          <a:p>
            <a:pPr algn="l"/>
            <a:r>
              <a:rPr lang="es-ES" sz="1800" b="1" dirty="0">
                <a:solidFill>
                  <a:srgbClr val="C00000"/>
                </a:solidFill>
              </a:rPr>
              <a:t>Gestionar configuración SW</a:t>
            </a:r>
            <a:endParaRPr lang="es-ES" sz="2400" b="1" dirty="0">
              <a:solidFill>
                <a:srgbClr val="C00000"/>
              </a:solidFill>
            </a:endParaRPr>
          </a:p>
        </p:txBody>
      </p:sp>
      <p:sp>
        <p:nvSpPr>
          <p:cNvPr id="55" name="CuadroTexto 54">
            <a:extLst>
              <a:ext uri="{FF2B5EF4-FFF2-40B4-BE49-F238E27FC236}">
                <a16:creationId xmlns:a16="http://schemas.microsoft.com/office/drawing/2014/main" id="{FE9A0837-205A-4DBE-B5BF-9DF46F727164}"/>
              </a:ext>
            </a:extLst>
          </p:cNvPr>
          <p:cNvSpPr txBox="1"/>
          <p:nvPr/>
        </p:nvSpPr>
        <p:spPr>
          <a:xfrm>
            <a:off x="19327556" y="7335592"/>
            <a:ext cx="5654842" cy="5262979"/>
          </a:xfrm>
          <a:prstGeom prst="rect">
            <a:avLst/>
          </a:prstGeom>
          <a:noFill/>
        </p:spPr>
        <p:txBody>
          <a:bodyPr wrap="square" rtlCol="0">
            <a:spAutoFit/>
          </a:bodyPr>
          <a:lstStyle/>
          <a:p>
            <a:pPr algn="l"/>
            <a:endParaRPr lang="es-ES" altLang="en-US" sz="2400" dirty="0"/>
          </a:p>
          <a:p>
            <a:pPr algn="l"/>
            <a:endParaRPr lang="en-US" altLang="en-US" sz="2400" dirty="0"/>
          </a:p>
          <a:p>
            <a:pPr algn="l"/>
            <a:endParaRPr lang="en-US" altLang="en-US" sz="2400" dirty="0"/>
          </a:p>
          <a:p>
            <a:pPr algn="l"/>
            <a:endParaRPr lang="en-US" altLang="en-US" sz="2400" dirty="0"/>
          </a:p>
          <a:p>
            <a:pPr algn="l"/>
            <a:r>
              <a:rPr lang="es-ES" sz="2400" dirty="0"/>
              <a:t>Dominio de Negocio</a:t>
            </a:r>
            <a:endParaRPr lang="en-US" altLang="en-US" sz="2400" dirty="0"/>
          </a:p>
          <a:p>
            <a:pPr algn="l"/>
            <a:endParaRPr lang="en-US" altLang="en-US" sz="2400" dirty="0"/>
          </a:p>
          <a:p>
            <a:pPr algn="l"/>
            <a:endParaRPr lang="en-US" altLang="en-US" sz="2400" dirty="0"/>
          </a:p>
          <a:p>
            <a:pPr algn="l"/>
            <a:endParaRPr lang="en-US" altLang="en-US" sz="2400" dirty="0"/>
          </a:p>
          <a:p>
            <a:pPr algn="l"/>
            <a:r>
              <a:rPr lang="en-US" altLang="en-US" sz="2400" dirty="0"/>
              <a:t>Arquitectura (SanTec)</a:t>
            </a:r>
          </a:p>
          <a:p>
            <a:pPr algn="l"/>
            <a:r>
              <a:rPr lang="en-US" altLang="en-US" sz="2400" dirty="0"/>
              <a:t>Ingeniería (SanTec)</a:t>
            </a:r>
          </a:p>
          <a:p>
            <a:pPr algn="l"/>
            <a:r>
              <a:rPr lang="en-US" altLang="en-US" sz="2400" dirty="0"/>
              <a:t> </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endParaRPr lang="en-US" altLang="en-US" sz="2400" dirty="0"/>
          </a:p>
        </p:txBody>
      </p:sp>
      <p:sp>
        <p:nvSpPr>
          <p:cNvPr id="56" name="Rectángulo 55">
            <a:extLst>
              <a:ext uri="{FF2B5EF4-FFF2-40B4-BE49-F238E27FC236}">
                <a16:creationId xmlns:a16="http://schemas.microsoft.com/office/drawing/2014/main" id="{0AF4DD1E-73A6-468A-935B-7139490EA129}"/>
              </a:ext>
            </a:extLst>
          </p:cNvPr>
          <p:cNvSpPr/>
          <p:nvPr/>
        </p:nvSpPr>
        <p:spPr>
          <a:xfrm>
            <a:off x="19405023" y="6891340"/>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32" name="TextBox 1">
            <a:extLst>
              <a:ext uri="{FF2B5EF4-FFF2-40B4-BE49-F238E27FC236}">
                <a16:creationId xmlns:a16="http://schemas.microsoft.com/office/drawing/2014/main" id="{FAF97DCA-ED92-4DCE-8006-CDF14BFF061F}"/>
              </a:ext>
            </a:extLst>
          </p:cNvPr>
          <p:cNvSpPr txBox="1"/>
          <p:nvPr/>
        </p:nvSpPr>
        <p:spPr>
          <a:xfrm>
            <a:off x="650240" y="541319"/>
            <a:ext cx="22611504" cy="1138773"/>
          </a:xfrm>
          <a:prstGeom prst="rect">
            <a:avLst/>
          </a:prstGeom>
          <a:noFill/>
        </p:spPr>
        <p:txBody>
          <a:bodyPr wrap="square" rtlCol="0" anchor="t">
            <a:spAutoFit/>
          </a:bodyPr>
          <a:lstStyle/>
          <a:p>
            <a:pPr algn="l"/>
            <a:r>
              <a:rPr lang="en-GB" sz="4000" b="1" kern="1200" dirty="0">
                <a:solidFill>
                  <a:srgbClr val="C00000"/>
                </a:solidFill>
              </a:rPr>
              <a:t>CI / CD de releases</a:t>
            </a:r>
            <a:r>
              <a:rPr lang="en-US" sz="4000" b="1" kern="1200" dirty="0">
                <a:solidFill>
                  <a:srgbClr val="C00000"/>
                </a:solidFill>
              </a:rPr>
              <a:t>  </a:t>
            </a:r>
            <a:r>
              <a:rPr lang="en-US" sz="2800" kern="1200" dirty="0">
                <a:solidFill>
                  <a:srgbClr val="C00000"/>
                </a:solidFill>
              </a:rPr>
              <a:t>Desarrollo de releases</a:t>
            </a:r>
          </a:p>
          <a:p>
            <a:pPr algn="l"/>
            <a:r>
              <a:rPr lang="es-ES" altLang="en-US" sz="2800" kern="1200" dirty="0">
                <a:solidFill>
                  <a:schemeClr val="tx1"/>
                </a:solidFill>
              </a:rPr>
              <a:t>Vista de Procesos</a:t>
            </a:r>
            <a:endParaRPr lang="en-US" altLang="en-US" sz="2800" kern="1200" dirty="0">
              <a:solidFill>
                <a:schemeClr val="tx1"/>
              </a:solidFill>
            </a:endParaRPr>
          </a:p>
        </p:txBody>
      </p:sp>
    </p:spTree>
    <p:extLst>
      <p:ext uri="{BB962C8B-B14F-4D97-AF65-F5344CB8AC3E}">
        <p14:creationId xmlns:p14="http://schemas.microsoft.com/office/powerpoint/2010/main" val="27822769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sp>
        <p:nvSpPr>
          <p:cNvPr id="42" name="TextBox 41">
            <a:extLst>
              <a:ext uri="{FF2B5EF4-FFF2-40B4-BE49-F238E27FC236}">
                <a16:creationId xmlns:a16="http://schemas.microsoft.com/office/drawing/2014/main" id="{9856064B-55C3-42E8-A4B0-E96580BF58E8}"/>
              </a:ext>
            </a:extLst>
          </p:cNvPr>
          <p:cNvSpPr txBox="1"/>
          <p:nvPr/>
        </p:nvSpPr>
        <p:spPr>
          <a:xfrm>
            <a:off x="650240" y="541319"/>
            <a:ext cx="22611504" cy="2616101"/>
          </a:xfrm>
          <a:prstGeom prst="rect">
            <a:avLst/>
          </a:prstGeom>
          <a:noFill/>
        </p:spPr>
        <p:txBody>
          <a:bodyPr wrap="square" rtlCol="0" anchor="t">
            <a:spAutoFit/>
          </a:bodyPr>
          <a:lstStyle/>
          <a:p>
            <a:pPr algn="l"/>
            <a:r>
              <a:rPr lang="en-GB" sz="4000" b="1" kern="1200" dirty="0">
                <a:solidFill>
                  <a:srgbClr val="C00000"/>
                </a:solidFill>
                <a:ea typeface="+mj-lt"/>
                <a:cs typeface="+mj-lt"/>
              </a:rPr>
              <a:t>CI / CD de releases</a:t>
            </a:r>
            <a:r>
              <a:rPr lang="es-ES_tradnl" altLang="en-US" sz="2800" b="1" dirty="0">
                <a:solidFill>
                  <a:schemeClr val="tx1"/>
                </a:solidFill>
                <a:ea typeface="MS PGothic"/>
                <a:cs typeface="Arial"/>
              </a:rPr>
              <a:t>  </a:t>
            </a:r>
            <a:r>
              <a:rPr lang="es-ES_tradnl" altLang="en-US" sz="2800" kern="1200" dirty="0">
                <a:solidFill>
                  <a:srgbClr val="C00000"/>
                </a:solidFill>
              </a:rPr>
              <a:t>Integración QA &amp; testing de releases</a:t>
            </a:r>
          </a:p>
          <a:p>
            <a:pPr algn="l"/>
            <a:r>
              <a:rPr lang="es-ES" altLang="en-US" sz="2800" kern="1200" dirty="0">
                <a:solidFill>
                  <a:schemeClr val="tx1"/>
                </a:solidFill>
              </a:rPr>
              <a:t>Descripción del proceso</a:t>
            </a:r>
            <a:endParaRPr lang="en-US" altLang="en-US" sz="2800" kern="1200" dirty="0">
              <a:solidFill>
                <a:schemeClr val="tx1"/>
              </a:solidFill>
            </a:endParaRPr>
          </a:p>
          <a:p>
            <a:pPr algn="l"/>
            <a:endParaRPr lang="es-ES_tradnl" altLang="en-US" sz="2800" kern="1200" dirty="0">
              <a:solidFill>
                <a:srgbClr val="C00000"/>
              </a:solidFill>
              <a:latin typeface="IBM Plex Sans"/>
            </a:endParaRPr>
          </a:p>
          <a:p>
            <a:pPr algn="l"/>
            <a:endParaRPr lang="en-GB" altLang="en-US" sz="2800" kern="1200" dirty="0">
              <a:solidFill>
                <a:srgbClr val="C00000"/>
              </a:solidFill>
              <a:latin typeface="IBM Plex Sans" panose="020B0503050203000203" pitchFamily="34" charset="77"/>
            </a:endParaRPr>
          </a:p>
          <a:p>
            <a:pPr algn="l"/>
            <a:endParaRPr lang="en-US" altLang="en-US" sz="4000" kern="1200" dirty="0">
              <a:solidFill>
                <a:srgbClr val="C00000"/>
              </a:solidFill>
              <a:latin typeface="IBM Plex Sans" panose="020B0503050203000203" pitchFamily="34" charset="77"/>
            </a:endParaRPr>
          </a:p>
        </p:txBody>
      </p:sp>
      <p:sp>
        <p:nvSpPr>
          <p:cNvPr id="4" name="Rectangle 3">
            <a:extLst>
              <a:ext uri="{FF2B5EF4-FFF2-40B4-BE49-F238E27FC236}">
                <a16:creationId xmlns:a16="http://schemas.microsoft.com/office/drawing/2014/main" id="{9E0DABF9-32BF-4A64-A354-739A40DBFC2B}"/>
              </a:ext>
            </a:extLst>
          </p:cNvPr>
          <p:cNvSpPr/>
          <p:nvPr/>
        </p:nvSpPr>
        <p:spPr bwMode="auto">
          <a:xfrm>
            <a:off x="566222" y="1726453"/>
            <a:ext cx="23225760" cy="2003757"/>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l" defTabSz="1097280" fontAlgn="base">
              <a:spcBef>
                <a:spcPct val="0"/>
              </a:spcBef>
              <a:spcAft>
                <a:spcPct val="0"/>
              </a:spcAft>
            </a:pPr>
            <a:endParaRPr lang="en-US" sz="1600" b="1" dirty="0">
              <a:solidFill>
                <a:schemeClr val="bg1"/>
              </a:solidFill>
              <a:latin typeface="Arial" panose="020B0604020202020204"/>
              <a:ea typeface="MS PGothic" charset="-128"/>
            </a:endParaRPr>
          </a:p>
        </p:txBody>
      </p:sp>
      <p:sp>
        <p:nvSpPr>
          <p:cNvPr id="6" name="Rectangle: Diagonal Corners Snipped 5">
            <a:extLst>
              <a:ext uri="{FF2B5EF4-FFF2-40B4-BE49-F238E27FC236}">
                <a16:creationId xmlns:a16="http://schemas.microsoft.com/office/drawing/2014/main" id="{1FA5ACE5-ED2E-4D37-959D-127545097D14}"/>
              </a:ext>
            </a:extLst>
          </p:cNvPr>
          <p:cNvSpPr/>
          <p:nvPr/>
        </p:nvSpPr>
        <p:spPr>
          <a:xfrm>
            <a:off x="566222" y="3826170"/>
            <a:ext cx="23225760" cy="7183833"/>
          </a:xfrm>
          <a:prstGeom prst="snip2DiagRect">
            <a:avLst>
              <a:gd name="adj1" fmla="val 0"/>
              <a:gd name="adj2" fmla="val 4798"/>
            </a:avLst>
          </a:prstGeom>
          <a:noFill/>
          <a:ln w="6350" cap="flat" cmpd="sng">
            <a:solidFill>
              <a:schemeClr val="accent1"/>
            </a:solidFill>
            <a:prstDash val="solid"/>
            <a:round/>
            <a:headEnd type="none" w="med" len="med"/>
            <a:tailEnd type="none" w="med" len="med"/>
          </a:ln>
        </p:spPr>
        <p:txBody>
          <a:bodyPr lIns="0" tIns="91400" rIns="0" bIns="91400" rtlCol="0" anchor="ctr" anchorCtr="0">
            <a:noAutofit/>
          </a:bodyPr>
          <a:lstStyle/>
          <a:p>
            <a:pPr defTabSz="1828837">
              <a:buClr>
                <a:srgbClr val="000000"/>
              </a:buClr>
              <a:buSzPct val="25000"/>
              <a:defRPr/>
            </a:pPr>
            <a:endParaRPr lang="en-US" sz="2000" dirty="0">
              <a:solidFill>
                <a:srgbClr val="FFFFFF"/>
              </a:solidFill>
              <a:latin typeface="Century Gothic"/>
              <a:ea typeface="Century Gothic"/>
              <a:cs typeface="Century Gothic"/>
              <a:sym typeface="Century Gothic"/>
            </a:endParaRPr>
          </a:p>
        </p:txBody>
      </p:sp>
      <p:sp>
        <p:nvSpPr>
          <p:cNvPr id="7" name="Content Placeholder 2">
            <a:extLst>
              <a:ext uri="{FF2B5EF4-FFF2-40B4-BE49-F238E27FC236}">
                <a16:creationId xmlns:a16="http://schemas.microsoft.com/office/drawing/2014/main" id="{A48F0FD1-42D2-4301-B858-47EB441D9530}"/>
              </a:ext>
            </a:extLst>
          </p:cNvPr>
          <p:cNvSpPr txBox="1">
            <a:spLocks/>
          </p:cNvSpPr>
          <p:nvPr/>
        </p:nvSpPr>
        <p:spPr bwMode="auto">
          <a:xfrm>
            <a:off x="12073677" y="3869678"/>
            <a:ext cx="11250032" cy="3543077"/>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243808" tIns="121907" rIns="243808" bIns="121907" numCol="1" anchor="t" anchorCtr="0" compatLnSpc="1">
            <a:prstTxWarp prst="textNoShape">
              <a:avLst/>
            </a:prstTxWarp>
          </a:bodyPr>
          <a:lstStyle>
            <a:lvl1pPr marL="257143" indent="-257143" algn="l" rtl="0" eaLnBrk="0" fontAlgn="base" hangingPunct="0">
              <a:spcBef>
                <a:spcPct val="50000"/>
              </a:spcBef>
              <a:spcAft>
                <a:spcPct val="0"/>
              </a:spcAft>
              <a:buClr>
                <a:schemeClr val="tx1"/>
              </a:buClr>
              <a:buFont typeface="Wingdings" pitchFamily="2" charset="2"/>
              <a:buChar char="§"/>
              <a:defRPr sz="1200" kern="1200">
                <a:solidFill>
                  <a:schemeClr val="tx1"/>
                </a:solidFill>
                <a:latin typeface="Arial" pitchFamily="34" charset="0"/>
                <a:ea typeface="ＭＳ Ｐゴシック" charset="0"/>
                <a:cs typeface="Arial" pitchFamily="34" charset="0"/>
              </a:defRPr>
            </a:lvl1pPr>
            <a:lvl2pPr marL="382191" indent="-122635" algn="l" rtl="0" eaLnBrk="0" fontAlgn="base" hangingPunct="0">
              <a:spcBef>
                <a:spcPct val="0"/>
              </a:spcBef>
              <a:spcAft>
                <a:spcPct val="0"/>
              </a:spcAft>
              <a:buClr>
                <a:schemeClr val="tx1"/>
              </a:buClr>
              <a:buFont typeface="Arial" charset="0"/>
              <a:buChar char="–"/>
              <a:defRPr sz="1200" kern="1200">
                <a:solidFill>
                  <a:schemeClr val="tx1"/>
                </a:solidFill>
                <a:latin typeface="Arial" pitchFamily="34" charset="0"/>
                <a:ea typeface="ＭＳ Ｐゴシック" charset="0"/>
                <a:cs typeface="Arial" pitchFamily="34" charset="0"/>
              </a:defRPr>
            </a:lvl2pPr>
            <a:lvl3pPr marL="641747" indent="-129779" algn="l" rtl="0" eaLnBrk="0" fontAlgn="base" hangingPunct="0">
              <a:spcBef>
                <a:spcPct val="0"/>
              </a:spcBef>
              <a:spcAft>
                <a:spcPct val="0"/>
              </a:spcAft>
              <a:buClr>
                <a:schemeClr val="tx1"/>
              </a:buClr>
              <a:buChar char="•"/>
              <a:defRPr sz="1200" kern="1200">
                <a:solidFill>
                  <a:schemeClr val="tx1"/>
                </a:solidFill>
                <a:latin typeface="Arial" pitchFamily="34" charset="0"/>
                <a:ea typeface="ＭＳ Ｐゴシック" charset="0"/>
                <a:cs typeface="Arial" pitchFamily="34" charset="0"/>
              </a:defRPr>
            </a:lvl3pPr>
            <a:lvl4pPr marL="902494" indent="-129779" algn="l" rtl="0" eaLnBrk="0" fontAlgn="base" hangingPunct="0">
              <a:spcBef>
                <a:spcPct val="20000"/>
              </a:spcBef>
              <a:spcAft>
                <a:spcPct val="0"/>
              </a:spcAft>
              <a:buClr>
                <a:schemeClr val="bg1"/>
              </a:buClr>
              <a:defRPr sz="1200" kern="1200">
                <a:solidFill>
                  <a:schemeClr val="bg1"/>
                </a:solidFill>
                <a:latin typeface="Arial" pitchFamily="34" charset="0"/>
                <a:ea typeface="ＭＳ Ｐゴシック" charset="0"/>
                <a:cs typeface="Arial" pitchFamily="34" charset="0"/>
              </a:defRPr>
            </a:lvl4pPr>
            <a:lvl5pPr marL="1154906" indent="-122635" algn="l" rtl="0" eaLnBrk="0" fontAlgn="base" hangingPunct="0">
              <a:spcBef>
                <a:spcPct val="20000"/>
              </a:spcBef>
              <a:spcAft>
                <a:spcPct val="0"/>
              </a:spcAft>
              <a:buClr>
                <a:schemeClr val="bg1"/>
              </a:buClr>
              <a:buChar char="»"/>
              <a:defRPr sz="1200" kern="1200">
                <a:solidFill>
                  <a:schemeClr val="bg1"/>
                </a:solidFill>
                <a:latin typeface="Arial" pitchFamily="34" charset="0"/>
                <a:ea typeface="ＭＳ Ｐゴシック" charset="0"/>
                <a:cs typeface="Arial"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2438389">
              <a:spcBef>
                <a:spcPts val="0"/>
              </a:spcBef>
              <a:buClr>
                <a:srgbClr val="000000"/>
              </a:buClr>
              <a:buNone/>
              <a:defRPr/>
            </a:pPr>
            <a:r>
              <a:rPr lang="es-ES_tradnl" sz="2800" b="1">
                <a:latin typeface="IBM Plex Sans Light"/>
                <a:ea typeface="Helvetica Neue Light" charset="0"/>
                <a:cs typeface="Helvetica Neue Light" charset="0"/>
              </a:rPr>
              <a:t>Actividades:</a:t>
            </a:r>
          </a:p>
          <a:p>
            <a:pPr marL="684544" indent="-684544" defTabSz="2438389">
              <a:spcBef>
                <a:spcPts val="0"/>
              </a:spcBef>
              <a:buClrTx/>
              <a:buFont typeface="+mj-lt"/>
              <a:buAutoNum type="arabicPeriod"/>
              <a:defRPr/>
            </a:pPr>
            <a:r>
              <a:rPr lang="es-ES_tradnl" sz="2600">
                <a:solidFill>
                  <a:srgbClr val="000000"/>
                </a:solidFill>
                <a:latin typeface="IBM Plex Sans Light"/>
                <a:ea typeface="MS PGothic"/>
                <a:cs typeface="Arial"/>
              </a:rPr>
              <a:t>Crear caso de Test y scripts asociados</a:t>
            </a:r>
          </a:p>
          <a:p>
            <a:pPr marL="684544" indent="-684544" defTabSz="2438389">
              <a:spcBef>
                <a:spcPts val="0"/>
              </a:spcBef>
              <a:buClrTx/>
              <a:buFont typeface="+mj-lt"/>
              <a:buAutoNum type="arabicPeriod"/>
              <a:defRPr/>
            </a:pPr>
            <a:r>
              <a:rPr lang="es-ES_tradnl" sz="2600">
                <a:solidFill>
                  <a:srgbClr val="000000"/>
                </a:solidFill>
                <a:latin typeface="IBM Plex Sans Light"/>
                <a:ea typeface="MS PGothic"/>
                <a:cs typeface="Arial"/>
              </a:rPr>
              <a:t>Instalar Test</a:t>
            </a:r>
          </a:p>
          <a:p>
            <a:pPr marL="684544" indent="-684544" defTabSz="2438389">
              <a:spcBef>
                <a:spcPts val="0"/>
              </a:spcBef>
              <a:buClrTx/>
              <a:buFont typeface="+mj-lt"/>
              <a:buAutoNum type="arabicPeriod"/>
              <a:defRPr/>
            </a:pPr>
            <a:r>
              <a:rPr lang="es-ES_tradnl" sz="2600">
                <a:solidFill>
                  <a:srgbClr val="000000"/>
                </a:solidFill>
                <a:latin typeface="IBM Plex Sans Light"/>
                <a:ea typeface="MS PGothic"/>
                <a:cs typeface="Arial"/>
              </a:rPr>
              <a:t>Probar Paquete de pruebas</a:t>
            </a:r>
          </a:p>
          <a:p>
            <a:pPr marL="684544" indent="-684544" defTabSz="2438389">
              <a:spcBef>
                <a:spcPts val="0"/>
              </a:spcBef>
              <a:buClrTx/>
              <a:buFont typeface="+mj-lt"/>
              <a:buAutoNum type="arabicPeriod"/>
              <a:defRPr/>
            </a:pPr>
            <a:r>
              <a:rPr lang="es-ES_tradnl" sz="2600">
                <a:solidFill>
                  <a:srgbClr val="000000"/>
                </a:solidFill>
                <a:latin typeface="IBM Plex Sans Light"/>
                <a:ea typeface="MS PGothic"/>
                <a:cs typeface="Arial"/>
              </a:rPr>
              <a:t>Hacer seguimiento y resolver errores</a:t>
            </a:r>
          </a:p>
          <a:p>
            <a:pPr marL="684544" indent="-684544" defTabSz="2438389">
              <a:spcBef>
                <a:spcPts val="0"/>
              </a:spcBef>
              <a:buClrTx/>
              <a:buFont typeface="+mj-lt"/>
              <a:buAutoNum type="arabicPeriod"/>
              <a:defRPr/>
            </a:pPr>
            <a:r>
              <a:rPr lang="es-ES_tradnl" sz="2600">
                <a:solidFill>
                  <a:srgbClr val="000000"/>
                </a:solidFill>
                <a:latin typeface="IBM Plex Sans Light"/>
                <a:ea typeface="MS PGothic"/>
                <a:cs typeface="Arial"/>
              </a:rPr>
              <a:t>Documentar resultados</a:t>
            </a:r>
          </a:p>
        </p:txBody>
      </p:sp>
      <p:sp>
        <p:nvSpPr>
          <p:cNvPr id="8" name="TextBox 7">
            <a:extLst>
              <a:ext uri="{FF2B5EF4-FFF2-40B4-BE49-F238E27FC236}">
                <a16:creationId xmlns:a16="http://schemas.microsoft.com/office/drawing/2014/main" id="{92FDB928-00D5-418D-A899-D75BAD27ADE0}"/>
              </a:ext>
            </a:extLst>
          </p:cNvPr>
          <p:cNvSpPr txBox="1"/>
          <p:nvPr/>
        </p:nvSpPr>
        <p:spPr>
          <a:xfrm>
            <a:off x="637682" y="1908581"/>
            <a:ext cx="19860597" cy="1384995"/>
          </a:xfrm>
          <a:prstGeom prst="rect">
            <a:avLst/>
          </a:prstGeom>
          <a:noFill/>
        </p:spPr>
        <p:txBody>
          <a:bodyPr wrap="square" rtlCol="0">
            <a:spAutoFit/>
          </a:bodyPr>
          <a:lstStyle/>
          <a:p>
            <a:pPr algn="l" defTabSz="1214591">
              <a:defRPr/>
            </a:pPr>
            <a:r>
              <a:rPr lang="en-US" sz="2800" b="1" dirty="0">
                <a:solidFill>
                  <a:srgbClr val="FFFFFF"/>
                </a:solidFill>
                <a:latin typeface="IBM Plex Sans Light"/>
                <a:ea typeface="Helvetica Neue Light" charset="0"/>
                <a:cs typeface="Helvetica Neue Light" charset="0"/>
              </a:rPr>
              <a:t>Definición</a:t>
            </a:r>
            <a:r>
              <a:rPr lang="es-ES" sz="2800" b="1" dirty="0">
                <a:solidFill>
                  <a:srgbClr val="FFFFFF"/>
                </a:solidFill>
                <a:latin typeface="IBM Plex Sans Light"/>
                <a:ea typeface="Helvetica Neue Light" charset="0"/>
                <a:cs typeface="Helvetica Neue Light" charset="0"/>
              </a:rPr>
              <a:t>:</a:t>
            </a:r>
            <a:r>
              <a:rPr lang="es-ES" sz="2800" dirty="0">
                <a:solidFill>
                  <a:srgbClr val="FFFFFF"/>
                </a:solidFill>
                <a:latin typeface="IBM Plex Sans Light"/>
                <a:ea typeface="Helvetica Neue Light" charset="0"/>
                <a:cs typeface="Helvetica Neue Light" charset="0"/>
              </a:rPr>
              <a:t> El proceso de verificación de servicios de plataforma y componentes con respecto a características funcionales y no funcionales (operacionales), incluyendo un marco de seguridad y cumplimiento normativo, para garantizar que los servicios de plataforma pueden operar de forma segura, para escalar dentro de los SLAs y el objetivo de cumplimiento</a:t>
            </a:r>
          </a:p>
        </p:txBody>
      </p:sp>
      <p:pic>
        <p:nvPicPr>
          <p:cNvPr id="9" name="Picture 4" descr="Imagen relacionada">
            <a:extLst>
              <a:ext uri="{FF2B5EF4-FFF2-40B4-BE49-F238E27FC236}">
                <a16:creationId xmlns:a16="http://schemas.microsoft.com/office/drawing/2014/main" id="{7AA26662-9FE2-4947-94DD-3AC127748C8F}"/>
              </a:ext>
            </a:extLst>
          </p:cNvPr>
          <p:cNvPicPr>
            <a:picLocks noChangeAspect="1" noChangeArrowheads="1"/>
          </p:cNvPicPr>
          <p:nvPr/>
        </p:nvPicPr>
        <p:blipFill>
          <a:blip r:embed="rId3" cstate="email">
            <a:biLevel thresh="25000"/>
            <a:extLst>
              <a:ext uri="{28A0092B-C50C-407E-A947-70E740481C1C}">
                <a14:useLocalDpi xmlns:a14="http://schemas.microsoft.com/office/drawing/2010/main"/>
              </a:ext>
            </a:extLst>
          </a:blip>
          <a:srcRect/>
          <a:stretch>
            <a:fillRect/>
          </a:stretch>
        </p:blipFill>
        <p:spPr bwMode="auto">
          <a:xfrm>
            <a:off x="20891712" y="1910112"/>
            <a:ext cx="1658033" cy="1695497"/>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3FA09EC6-AEF1-4FCA-A51E-C3C73230FA03}"/>
              </a:ext>
            </a:extLst>
          </p:cNvPr>
          <p:cNvSpPr/>
          <p:nvPr/>
        </p:nvSpPr>
        <p:spPr>
          <a:xfrm>
            <a:off x="637684" y="3869678"/>
            <a:ext cx="11435993" cy="2523768"/>
          </a:xfrm>
          <a:prstGeom prst="rect">
            <a:avLst/>
          </a:prstGeom>
        </p:spPr>
        <p:txBody>
          <a:bodyPr wrap="square" anchor="t">
            <a:spAutoFit/>
          </a:bodyPr>
          <a:lstStyle/>
          <a:p>
            <a:pPr algn="l" defTabSz="1214591">
              <a:defRPr/>
            </a:pPr>
            <a:r>
              <a:rPr lang="es-ES_tradnl" sz="2800" b="1" dirty="0">
                <a:latin typeface="IBM Plex Sans Light"/>
                <a:ea typeface="Helvetica Neue Light" charset="0"/>
                <a:cs typeface="Helvetica Neue Light" charset="0"/>
              </a:rPr>
              <a:t>Objetivos:</a:t>
            </a:r>
          </a:p>
          <a:p>
            <a:pPr marL="571511" indent="-571511" algn="l" defTabSz="1214591">
              <a:buFont typeface="Arial"/>
              <a:buChar char="•"/>
              <a:defRPr/>
            </a:pPr>
            <a:r>
              <a:rPr lang="es-ES_tradnl" sz="2600" dirty="0">
                <a:latin typeface="IBM Plex Sans Light"/>
                <a:ea typeface="MS PGothic"/>
                <a:cs typeface="Arial"/>
              </a:rPr>
              <a:t>Minimizar los defectos de Gravedad 1 y 2 lanzados a producción</a:t>
            </a:r>
          </a:p>
          <a:p>
            <a:pPr marL="571511" indent="-571511" algn="l" defTabSz="1214591">
              <a:buFont typeface="Arial"/>
              <a:buChar char="•"/>
              <a:defRPr/>
            </a:pPr>
            <a:r>
              <a:rPr lang="es-ES_tradnl" sz="2600" dirty="0">
                <a:latin typeface="IBM Plex Sans Light"/>
                <a:ea typeface="MS PGothic"/>
                <a:cs typeface="Arial"/>
              </a:rPr>
              <a:t>Minimizar los servicios de la plataforma non-compliance en producción</a:t>
            </a:r>
          </a:p>
          <a:p>
            <a:pPr marL="571511" indent="-571511" algn="l" defTabSz="1214591">
              <a:buFont typeface="Arial"/>
              <a:buChar char="•"/>
              <a:defRPr/>
            </a:pPr>
            <a:r>
              <a:rPr lang="es-ES_tradnl" sz="2600" dirty="0">
                <a:latin typeface="IBM Plex Sans Light"/>
                <a:ea typeface="MS PGothic"/>
                <a:cs typeface="Arial"/>
              </a:rPr>
              <a:t>Maximizar la cobertura de los casos de test</a:t>
            </a:r>
          </a:p>
          <a:p>
            <a:pPr marL="571511" indent="-571511" algn="l" defTabSz="1214591">
              <a:buFont typeface="Arial"/>
              <a:buChar char="•"/>
              <a:defRPr/>
            </a:pPr>
            <a:r>
              <a:rPr lang="es-ES_tradnl" sz="2600" dirty="0">
                <a:latin typeface="IBM Plex Sans Light"/>
                <a:ea typeface="MS PGothic"/>
                <a:cs typeface="Arial"/>
              </a:rPr>
              <a:t>Evaluar características no funcionales a escala</a:t>
            </a:r>
          </a:p>
          <a:p>
            <a:pPr marL="571500" indent="-571500" algn="l" defTabSz="1214591">
              <a:buFont typeface="Arial"/>
              <a:buChar char="•"/>
              <a:defRPr/>
            </a:pPr>
            <a:r>
              <a:rPr lang="es-ES_tradnl" sz="2600" dirty="0">
                <a:latin typeface="IBM Plex Sans Light"/>
                <a:ea typeface="MS PGothic"/>
                <a:cs typeface="Arial"/>
              </a:rPr>
              <a:t>Evaluar el riesgo de fallo de la plataforma debido a releases / cambios</a:t>
            </a:r>
          </a:p>
        </p:txBody>
      </p:sp>
      <p:sp>
        <p:nvSpPr>
          <p:cNvPr id="11" name="Rectangle 10">
            <a:extLst>
              <a:ext uri="{FF2B5EF4-FFF2-40B4-BE49-F238E27FC236}">
                <a16:creationId xmlns:a16="http://schemas.microsoft.com/office/drawing/2014/main" id="{1783E079-702E-4BAD-AB11-82B93481C4B0}"/>
              </a:ext>
            </a:extLst>
          </p:cNvPr>
          <p:cNvSpPr/>
          <p:nvPr/>
        </p:nvSpPr>
        <p:spPr>
          <a:xfrm>
            <a:off x="12111490" y="7125278"/>
            <a:ext cx="10491139" cy="2941195"/>
          </a:xfrm>
          <a:prstGeom prst="rect">
            <a:avLst/>
          </a:prstGeom>
        </p:spPr>
        <p:txBody>
          <a:bodyPr wrap="square" anchor="t">
            <a:spAutoFit/>
          </a:bodyPr>
          <a:lstStyle/>
          <a:p>
            <a:pPr algn="l" defTabSz="1214591">
              <a:defRPr/>
            </a:pPr>
            <a:r>
              <a:rPr lang="es-ES_tradnl" sz="2800" b="1" dirty="0">
                <a:latin typeface="IBM Plex Sans Light"/>
                <a:ea typeface="Helvetica Neue Light" charset="0"/>
                <a:cs typeface="Helvetica Neue Light" charset="0"/>
              </a:rPr>
              <a:t>Consideraciones de la adopción Cloud :</a:t>
            </a:r>
          </a:p>
          <a:p>
            <a:pPr marL="513080" indent="-513080" algn="l" defTabSz="1214591" fontAlgn="base" hangingPunct="1">
              <a:spcAft>
                <a:spcPct val="0"/>
              </a:spcAft>
              <a:buFont typeface="Arial" panose="020B0604020202020204" pitchFamily="34" charset="0"/>
              <a:buChar char="•"/>
              <a:defRPr/>
            </a:pPr>
            <a:r>
              <a:rPr lang="es-ES_tradnl" sz="2600" kern="1200" dirty="0">
                <a:latin typeface="IBM Plex Sans Light"/>
                <a:ea typeface="MS PGothic"/>
                <a:cs typeface="Arial"/>
              </a:rPr>
              <a:t>Potenciar los desarrollos guiados (Test-driven development) y las pruebas de regresión a lo largo de todo el ciclo de vida DevOps</a:t>
            </a:r>
          </a:p>
          <a:p>
            <a:pPr marL="513080" indent="-513080" algn="l" defTabSz="1214591" fontAlgn="base" hangingPunct="1">
              <a:spcAft>
                <a:spcPct val="0"/>
              </a:spcAft>
              <a:buFont typeface="Arial" panose="020B0604020202020204" pitchFamily="34" charset="0"/>
              <a:buChar char="•"/>
              <a:defRPr/>
            </a:pPr>
            <a:r>
              <a:rPr lang="es-ES_tradnl" sz="2600" kern="1200" dirty="0">
                <a:latin typeface="IBM Plex Sans Light"/>
                <a:ea typeface="MS PGothic"/>
                <a:cs typeface="Arial"/>
              </a:rPr>
              <a:t>Librerías de Datos de Pruebas y Scripts de test automatizados</a:t>
            </a:r>
          </a:p>
          <a:p>
            <a:pPr marL="513080" indent="-513080" algn="l" defTabSz="1214591" fontAlgn="base" hangingPunct="1">
              <a:spcAft>
                <a:spcPct val="0"/>
              </a:spcAft>
              <a:buFont typeface="Arial" panose="020B0604020202020204" pitchFamily="34" charset="0"/>
              <a:buChar char="•"/>
              <a:defRPr/>
            </a:pPr>
            <a:r>
              <a:rPr lang="es-ES_tradnl" sz="2600" kern="1200" dirty="0">
                <a:latin typeface="IBM Plex Sans Light"/>
                <a:ea typeface="MS PGothic"/>
                <a:cs typeface="Arial"/>
              </a:rPr>
              <a:t>Pruebas de rendimiento operativo y automatización de pruebas de error guiadas</a:t>
            </a:r>
          </a:p>
          <a:p>
            <a:pPr marL="513080" indent="-513080" algn="l" defTabSz="1214591" fontAlgn="base" hangingPunct="1">
              <a:spcAft>
                <a:spcPct val="0"/>
              </a:spcAft>
              <a:buFont typeface="Arial" panose="020B0604020202020204" pitchFamily="34" charset="0"/>
              <a:buChar char="•"/>
              <a:defRPr/>
            </a:pPr>
            <a:r>
              <a:rPr lang="es-ES_tradnl" sz="2600" kern="1200" dirty="0">
                <a:latin typeface="IBM Plex Sans Light"/>
                <a:ea typeface="MS PGothic"/>
                <a:cs typeface="Arial"/>
              </a:rPr>
              <a:t>Automatización de test de cumplimiento normativo y vulnerabilidades</a:t>
            </a:r>
          </a:p>
        </p:txBody>
      </p:sp>
      <p:sp>
        <p:nvSpPr>
          <p:cNvPr id="12" name="Content Placeholder 2">
            <a:extLst>
              <a:ext uri="{FF2B5EF4-FFF2-40B4-BE49-F238E27FC236}">
                <a16:creationId xmlns:a16="http://schemas.microsoft.com/office/drawing/2014/main" id="{079239B9-C3A4-41B9-8154-FF44BBD63AD4}"/>
              </a:ext>
            </a:extLst>
          </p:cNvPr>
          <p:cNvSpPr txBox="1">
            <a:spLocks/>
          </p:cNvSpPr>
          <p:nvPr/>
        </p:nvSpPr>
        <p:spPr bwMode="auto">
          <a:xfrm>
            <a:off x="571709" y="7129892"/>
            <a:ext cx="10609260" cy="3543077"/>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243808" tIns="121907" rIns="243808" bIns="121907" numCol="1" anchor="t" anchorCtr="0" compatLnSpc="1">
            <a:prstTxWarp prst="textNoShape">
              <a:avLst/>
            </a:prstTxWarp>
          </a:bodyPr>
          <a:lstStyle>
            <a:lvl1pPr marL="257143" indent="-257143" algn="l" rtl="0" eaLnBrk="0" fontAlgn="base" hangingPunct="0">
              <a:spcBef>
                <a:spcPct val="50000"/>
              </a:spcBef>
              <a:spcAft>
                <a:spcPct val="0"/>
              </a:spcAft>
              <a:buClr>
                <a:schemeClr val="tx1"/>
              </a:buClr>
              <a:buFont typeface="Wingdings" pitchFamily="2" charset="2"/>
              <a:buChar char="§"/>
              <a:defRPr sz="1200" kern="1200">
                <a:solidFill>
                  <a:schemeClr val="tx1"/>
                </a:solidFill>
                <a:latin typeface="Arial" pitchFamily="34" charset="0"/>
                <a:ea typeface="ＭＳ Ｐゴシック" charset="0"/>
                <a:cs typeface="Arial" pitchFamily="34" charset="0"/>
              </a:defRPr>
            </a:lvl1pPr>
            <a:lvl2pPr marL="382191" indent="-122635" algn="l" rtl="0" eaLnBrk="0" fontAlgn="base" hangingPunct="0">
              <a:spcBef>
                <a:spcPct val="0"/>
              </a:spcBef>
              <a:spcAft>
                <a:spcPct val="0"/>
              </a:spcAft>
              <a:buClr>
                <a:schemeClr val="tx1"/>
              </a:buClr>
              <a:buFont typeface="Arial" charset="0"/>
              <a:buChar char="–"/>
              <a:defRPr sz="1200" kern="1200">
                <a:solidFill>
                  <a:schemeClr val="tx1"/>
                </a:solidFill>
                <a:latin typeface="Arial" pitchFamily="34" charset="0"/>
                <a:ea typeface="ＭＳ Ｐゴシック" charset="0"/>
                <a:cs typeface="Arial" pitchFamily="34" charset="0"/>
              </a:defRPr>
            </a:lvl2pPr>
            <a:lvl3pPr marL="641747" indent="-129779" algn="l" rtl="0" eaLnBrk="0" fontAlgn="base" hangingPunct="0">
              <a:spcBef>
                <a:spcPct val="0"/>
              </a:spcBef>
              <a:spcAft>
                <a:spcPct val="0"/>
              </a:spcAft>
              <a:buClr>
                <a:schemeClr val="tx1"/>
              </a:buClr>
              <a:buChar char="•"/>
              <a:defRPr sz="1200" kern="1200">
                <a:solidFill>
                  <a:schemeClr val="tx1"/>
                </a:solidFill>
                <a:latin typeface="Arial" pitchFamily="34" charset="0"/>
                <a:ea typeface="ＭＳ Ｐゴシック" charset="0"/>
                <a:cs typeface="Arial" pitchFamily="34" charset="0"/>
              </a:defRPr>
            </a:lvl3pPr>
            <a:lvl4pPr marL="902494" indent="-129779" algn="l" rtl="0" eaLnBrk="0" fontAlgn="base" hangingPunct="0">
              <a:spcBef>
                <a:spcPct val="20000"/>
              </a:spcBef>
              <a:spcAft>
                <a:spcPct val="0"/>
              </a:spcAft>
              <a:buClr>
                <a:schemeClr val="bg1"/>
              </a:buClr>
              <a:defRPr sz="1200" kern="1200">
                <a:solidFill>
                  <a:schemeClr val="bg1"/>
                </a:solidFill>
                <a:latin typeface="Arial" pitchFamily="34" charset="0"/>
                <a:ea typeface="ＭＳ Ｐゴシック" charset="0"/>
                <a:cs typeface="Arial" pitchFamily="34" charset="0"/>
              </a:defRPr>
            </a:lvl4pPr>
            <a:lvl5pPr marL="1154906" indent="-122635" algn="l" rtl="0" eaLnBrk="0" fontAlgn="base" hangingPunct="0">
              <a:spcBef>
                <a:spcPct val="20000"/>
              </a:spcBef>
              <a:spcAft>
                <a:spcPct val="0"/>
              </a:spcAft>
              <a:buClr>
                <a:schemeClr val="bg1"/>
              </a:buClr>
              <a:buChar char="»"/>
              <a:defRPr sz="1200" kern="1200">
                <a:solidFill>
                  <a:schemeClr val="bg1"/>
                </a:solidFill>
                <a:latin typeface="Arial" pitchFamily="34" charset="0"/>
                <a:ea typeface="ＭＳ Ｐゴシック" charset="0"/>
                <a:cs typeface="Arial"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2438389">
              <a:spcBef>
                <a:spcPts val="0"/>
              </a:spcBef>
              <a:buClr>
                <a:srgbClr val="000000"/>
              </a:buClr>
              <a:buNone/>
              <a:defRPr/>
            </a:pPr>
            <a:r>
              <a:rPr lang="es-ES_tradnl" sz="2800" b="1">
                <a:latin typeface="IBM Plex Sans Light"/>
                <a:ea typeface="Helvetica Neue Light" charset="0"/>
                <a:cs typeface="Helvetica Neue Light" charset="0"/>
              </a:rPr>
              <a:t>Resultados:</a:t>
            </a:r>
          </a:p>
          <a:p>
            <a:pPr marL="513090" indent="-513090" defTabSz="1214591" eaLnBrk="1" hangingPunct="1">
              <a:spcBef>
                <a:spcPts val="0"/>
              </a:spcBef>
              <a:buClrTx/>
              <a:buFont typeface="Arial" panose="020B0604020202020204" pitchFamily="34" charset="0"/>
              <a:buChar char="•"/>
              <a:defRPr/>
            </a:pPr>
            <a:r>
              <a:rPr lang="es-ES_tradnl" sz="2600">
                <a:solidFill>
                  <a:srgbClr val="000000"/>
                </a:solidFill>
                <a:latin typeface="IBM Plex Sans Light"/>
                <a:ea typeface="MS PGothic"/>
                <a:cs typeface="Arial"/>
              </a:rPr>
              <a:t>Los errores son identificados y resueltos mucho más pronto en el ciclo de vida de DevOps</a:t>
            </a:r>
          </a:p>
          <a:p>
            <a:pPr marL="513090" indent="-513090" defTabSz="1214591" eaLnBrk="1" hangingPunct="1">
              <a:spcBef>
                <a:spcPts val="0"/>
              </a:spcBef>
              <a:buClrTx/>
              <a:buFont typeface="Arial" panose="020B0604020202020204" pitchFamily="34" charset="0"/>
              <a:buChar char="•"/>
              <a:defRPr/>
            </a:pPr>
            <a:r>
              <a:rPr lang="es-ES_tradnl" sz="2600">
                <a:solidFill>
                  <a:srgbClr val="000000"/>
                </a:solidFill>
                <a:latin typeface="IBM Plex Sans Light"/>
                <a:ea typeface="MS PGothic"/>
                <a:cs typeface="Arial"/>
              </a:rPr>
              <a:t>Errores mínimos introducidos en producción</a:t>
            </a:r>
          </a:p>
          <a:p>
            <a:pPr marL="513090" indent="-513090" defTabSz="1214591" eaLnBrk="1" hangingPunct="1">
              <a:spcBef>
                <a:spcPts val="0"/>
              </a:spcBef>
              <a:buClrTx/>
              <a:buFont typeface="Arial" panose="020B0604020202020204" pitchFamily="34" charset="0"/>
              <a:buChar char="•"/>
              <a:defRPr/>
            </a:pPr>
            <a:r>
              <a:rPr lang="es-ES_tradnl" sz="2600">
                <a:solidFill>
                  <a:srgbClr val="000000"/>
                </a:solidFill>
                <a:latin typeface="IBM Plex Sans Light"/>
                <a:ea typeface="MS PGothic"/>
                <a:cs typeface="Arial"/>
              </a:rPr>
              <a:t>Mínimo downtime no planeado</a:t>
            </a:r>
            <a:endParaRPr lang="en-US" sz="2800">
              <a:latin typeface="IBM Plex Sans Light"/>
            </a:endParaRPr>
          </a:p>
          <a:p>
            <a:pPr marL="0" indent="0" defTabSz="1214591" eaLnBrk="1" hangingPunct="1">
              <a:spcBef>
                <a:spcPts val="0"/>
              </a:spcBef>
              <a:buClr>
                <a:srgbClr val="000000"/>
              </a:buClr>
              <a:buNone/>
              <a:defRPr/>
            </a:pPr>
            <a:endParaRPr lang="en-US" sz="2800">
              <a:latin typeface="IBM Plex Sans Light"/>
            </a:endParaRPr>
          </a:p>
        </p:txBody>
      </p:sp>
      <p:sp>
        <p:nvSpPr>
          <p:cNvPr id="13" name="Rectangle 12">
            <a:extLst>
              <a:ext uri="{FF2B5EF4-FFF2-40B4-BE49-F238E27FC236}">
                <a16:creationId xmlns:a16="http://schemas.microsoft.com/office/drawing/2014/main" id="{55DA09F3-BE14-439E-896E-A28A014674DA}"/>
              </a:ext>
            </a:extLst>
          </p:cNvPr>
          <p:cNvSpPr/>
          <p:nvPr/>
        </p:nvSpPr>
        <p:spPr bwMode="auto">
          <a:xfrm>
            <a:off x="566222" y="11185509"/>
            <a:ext cx="23225760" cy="1520843"/>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l" defTabSz="1097280" fontAlgn="base">
              <a:spcBef>
                <a:spcPct val="0"/>
              </a:spcBef>
              <a:spcAft>
                <a:spcPct val="0"/>
              </a:spcAft>
            </a:pPr>
            <a:r>
              <a:rPr lang="en-US" sz="2400" b="1" dirty="0">
                <a:solidFill>
                  <a:schemeClr val="bg1"/>
                </a:solidFill>
                <a:ea typeface="MS PGothic"/>
              </a:rPr>
              <a:t>Áreas de Impacto Potencial</a:t>
            </a:r>
            <a:endParaRPr lang="en-US" sz="2400" b="1" dirty="0">
              <a:solidFill>
                <a:schemeClr val="bg1"/>
              </a:solidFill>
              <a:ea typeface="MS PGothic" charset="-128"/>
              <a:cs typeface="Arial"/>
            </a:endParaRPr>
          </a:p>
        </p:txBody>
      </p:sp>
      <p:sp>
        <p:nvSpPr>
          <p:cNvPr id="27" name="Rectangle 26">
            <a:extLst>
              <a:ext uri="{FF2B5EF4-FFF2-40B4-BE49-F238E27FC236}">
                <a16:creationId xmlns:a16="http://schemas.microsoft.com/office/drawing/2014/main" id="{61CC38FA-811E-D34D-A532-C6A277DA144C}"/>
              </a:ext>
            </a:extLst>
          </p:cNvPr>
          <p:cNvSpPr/>
          <p:nvPr/>
        </p:nvSpPr>
        <p:spPr>
          <a:xfrm>
            <a:off x="8614764" y="12150815"/>
            <a:ext cx="1002308" cy="249230"/>
          </a:xfrm>
          <a:prstGeom prst="rect">
            <a:avLst/>
          </a:prstGeom>
          <a:noFill/>
          <a:ln w="25400" cap="flat" cmpd="sng">
            <a:noFill/>
            <a:prstDash val="solid"/>
            <a:round/>
            <a:headEnd type="none" w="med" len="med"/>
            <a:tailEnd type="none" w="med" len="med"/>
          </a:ln>
        </p:spPr>
        <p:txBody>
          <a:bodyPr lIns="0" tIns="91400" rIns="0" bIns="91400" rtlCol="0" anchor="ctr" anchorCtr="0">
            <a:noAutofit/>
          </a:bodyPr>
          <a:lstStyle/>
          <a:p>
            <a:pPr defTabSz="1828837">
              <a:buClr>
                <a:srgbClr val="000000"/>
              </a:buClr>
              <a:buSzPct val="25000"/>
              <a:defRPr/>
            </a:pPr>
            <a:r>
              <a:rPr lang="en-US" sz="1600" dirty="0">
                <a:solidFill>
                  <a:srgbClr val="FFFFFF"/>
                </a:solidFill>
                <a:latin typeface="IBM Plex Sans Light"/>
                <a:ea typeface="Century Gothic"/>
                <a:cs typeface="Century Gothic"/>
              </a:rPr>
              <a:t>Gasto</a:t>
            </a:r>
            <a:endParaRPr lang="en-US" sz="1600" dirty="0">
              <a:solidFill>
                <a:srgbClr val="FFFFFF"/>
              </a:solidFill>
              <a:latin typeface="IBM Plex Sans Light"/>
              <a:ea typeface="Century Gothic"/>
              <a:cs typeface="Century Gothic"/>
              <a:sym typeface="Century Gothic"/>
            </a:endParaRPr>
          </a:p>
        </p:txBody>
      </p:sp>
      <p:sp>
        <p:nvSpPr>
          <p:cNvPr id="28" name="Rectangle 27">
            <a:extLst>
              <a:ext uri="{FF2B5EF4-FFF2-40B4-BE49-F238E27FC236}">
                <a16:creationId xmlns:a16="http://schemas.microsoft.com/office/drawing/2014/main" id="{994547FE-1EED-0342-8DF5-54DEB587D048}"/>
              </a:ext>
            </a:extLst>
          </p:cNvPr>
          <p:cNvSpPr/>
          <p:nvPr/>
        </p:nvSpPr>
        <p:spPr>
          <a:xfrm>
            <a:off x="10017213" y="12150815"/>
            <a:ext cx="1002308" cy="249230"/>
          </a:xfrm>
          <a:prstGeom prst="rect">
            <a:avLst/>
          </a:prstGeom>
          <a:noFill/>
          <a:ln w="25400" cap="flat" cmpd="sng">
            <a:noFill/>
            <a:prstDash val="solid"/>
            <a:round/>
            <a:headEnd type="none" w="med" len="med"/>
            <a:tailEnd type="none" w="med" len="med"/>
          </a:ln>
        </p:spPr>
        <p:txBody>
          <a:bodyPr lIns="0" tIns="91400" rIns="0" bIns="91400" rtlCol="0" anchor="ctr" anchorCtr="0">
            <a:noAutofit/>
          </a:bodyPr>
          <a:lstStyle/>
          <a:p>
            <a:pPr defTabSz="1828837">
              <a:buClr>
                <a:srgbClr val="000000"/>
              </a:buClr>
              <a:buSzPct val="25000"/>
              <a:defRPr/>
            </a:pPr>
            <a:r>
              <a:rPr lang="en-US" sz="1600" dirty="0">
                <a:solidFill>
                  <a:srgbClr val="FFFFFF"/>
                </a:solidFill>
                <a:latin typeface="IBM Plex Sans Light"/>
                <a:ea typeface="Century Gothic"/>
                <a:cs typeface="Century Gothic"/>
              </a:rPr>
              <a:t>Fiabilidad</a:t>
            </a:r>
          </a:p>
        </p:txBody>
      </p:sp>
      <p:sp>
        <p:nvSpPr>
          <p:cNvPr id="29" name="Rectangle 28">
            <a:extLst>
              <a:ext uri="{FF2B5EF4-FFF2-40B4-BE49-F238E27FC236}">
                <a16:creationId xmlns:a16="http://schemas.microsoft.com/office/drawing/2014/main" id="{43A348AD-0DCD-FB44-953C-FB73CA9AD696}"/>
              </a:ext>
            </a:extLst>
          </p:cNvPr>
          <p:cNvSpPr/>
          <p:nvPr/>
        </p:nvSpPr>
        <p:spPr>
          <a:xfrm>
            <a:off x="11285928" y="12173487"/>
            <a:ext cx="1002308" cy="233063"/>
          </a:xfrm>
          <a:prstGeom prst="rect">
            <a:avLst/>
          </a:prstGeom>
          <a:noFill/>
          <a:ln w="25400" cap="flat" cmpd="sng">
            <a:noFill/>
            <a:prstDash val="solid"/>
            <a:round/>
            <a:headEnd type="none" w="med" len="med"/>
            <a:tailEnd type="none" w="med" len="med"/>
          </a:ln>
        </p:spPr>
        <p:txBody>
          <a:bodyPr lIns="0" tIns="91400" rIns="0" bIns="91400" rtlCol="0" anchor="ctr" anchorCtr="0">
            <a:noAutofit/>
          </a:bodyPr>
          <a:lstStyle/>
          <a:p>
            <a:pPr defTabSz="1828837">
              <a:buClr>
                <a:srgbClr val="000000"/>
              </a:buClr>
              <a:buSzPct val="25000"/>
              <a:defRPr/>
            </a:pPr>
            <a:r>
              <a:rPr lang="en-US" sz="1600" dirty="0">
                <a:solidFill>
                  <a:srgbClr val="FFFFFF"/>
                </a:solidFill>
                <a:latin typeface="IBM Plex Sans Light"/>
                <a:ea typeface="Century Gothic"/>
                <a:cs typeface="Century Gothic"/>
                <a:sym typeface="Century Gothic"/>
              </a:rPr>
              <a:t>UX</a:t>
            </a:r>
          </a:p>
        </p:txBody>
      </p:sp>
      <p:sp>
        <p:nvSpPr>
          <p:cNvPr id="30" name="Rectangle 29">
            <a:extLst>
              <a:ext uri="{FF2B5EF4-FFF2-40B4-BE49-F238E27FC236}">
                <a16:creationId xmlns:a16="http://schemas.microsoft.com/office/drawing/2014/main" id="{EC4A6259-0CEB-6046-B935-5BB12B3623DD}"/>
              </a:ext>
            </a:extLst>
          </p:cNvPr>
          <p:cNvSpPr/>
          <p:nvPr/>
        </p:nvSpPr>
        <p:spPr>
          <a:xfrm>
            <a:off x="14160884" y="12166980"/>
            <a:ext cx="1002308" cy="233063"/>
          </a:xfrm>
          <a:prstGeom prst="rect">
            <a:avLst/>
          </a:prstGeom>
          <a:noFill/>
          <a:ln w="25400" cap="flat" cmpd="sng">
            <a:noFill/>
            <a:prstDash val="solid"/>
            <a:round/>
            <a:headEnd type="none" w="med" len="med"/>
            <a:tailEnd type="none" w="med" len="med"/>
          </a:ln>
        </p:spPr>
        <p:txBody>
          <a:bodyPr lIns="0" tIns="91400" rIns="0" bIns="91400" rtlCol="0" anchor="ctr" anchorCtr="0">
            <a:noAutofit/>
          </a:bodyPr>
          <a:lstStyle/>
          <a:p>
            <a:pPr defTabSz="1828837">
              <a:buClr>
                <a:srgbClr val="000000"/>
              </a:buClr>
              <a:buSzPct val="25000"/>
              <a:defRPr/>
            </a:pPr>
            <a:r>
              <a:rPr lang="en-US" sz="1600" dirty="0">
                <a:solidFill>
                  <a:srgbClr val="FFFFFF"/>
                </a:solidFill>
                <a:latin typeface="IBM Plex Sans Light"/>
                <a:sym typeface="Century Gothic"/>
              </a:rPr>
              <a:t>Innovación</a:t>
            </a:r>
            <a:endParaRPr lang="en-US" dirty="0"/>
          </a:p>
        </p:txBody>
      </p:sp>
      <p:sp>
        <p:nvSpPr>
          <p:cNvPr id="31" name="Rectangle: Rounded Corners 55">
            <a:extLst>
              <a:ext uri="{FF2B5EF4-FFF2-40B4-BE49-F238E27FC236}">
                <a16:creationId xmlns:a16="http://schemas.microsoft.com/office/drawing/2014/main" id="{23F470DE-B60C-F547-8966-2D742D7CD23E}"/>
              </a:ext>
            </a:extLst>
          </p:cNvPr>
          <p:cNvSpPr/>
          <p:nvPr/>
        </p:nvSpPr>
        <p:spPr>
          <a:xfrm>
            <a:off x="12630342" y="11416774"/>
            <a:ext cx="1144943" cy="1144943"/>
          </a:xfrm>
          <a:prstGeom prst="roundRect">
            <a:avLst/>
          </a:prstGeom>
          <a:noFill/>
          <a:ln w="25400" cap="flat" cmpd="sng">
            <a:solidFill>
              <a:schemeClr val="bg1"/>
            </a:solidFill>
            <a:prstDash val="solid"/>
            <a:round/>
            <a:headEnd type="none" w="med" len="med"/>
            <a:tailEnd type="none" w="med" len="med"/>
          </a:ln>
        </p:spPr>
        <p:txBody>
          <a:bodyPr lIns="0" tIns="91400" rIns="0" bIns="91400" rtlCol="0" anchor="ctr" anchorCtr="0">
            <a:noAutofit/>
          </a:bodyPr>
          <a:lstStyle/>
          <a:p>
            <a:pPr defTabSz="1828837" hangingPunct="1">
              <a:buClr>
                <a:srgbClr val="000000"/>
              </a:buClr>
              <a:buSzPct val="25000"/>
              <a:defRPr/>
            </a:pPr>
            <a:endParaRPr lang="en-US" sz="1600" dirty="0">
              <a:solidFill>
                <a:srgbClr val="FFFFFF"/>
              </a:solidFill>
              <a:latin typeface="IBM Plex Sans Light"/>
              <a:ea typeface="Century Gothic"/>
              <a:cs typeface="Century Gothic"/>
              <a:sym typeface="Century Gothic"/>
            </a:endParaRPr>
          </a:p>
        </p:txBody>
      </p:sp>
      <p:pic>
        <p:nvPicPr>
          <p:cNvPr id="32" name="Graphic 31" descr="Money">
            <a:extLst>
              <a:ext uri="{FF2B5EF4-FFF2-40B4-BE49-F238E27FC236}">
                <a16:creationId xmlns:a16="http://schemas.microsoft.com/office/drawing/2014/main" id="{998A34A5-BB91-9748-B6D1-D7187667D6B7}"/>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804803" y="11542972"/>
            <a:ext cx="636080" cy="636080"/>
          </a:xfrm>
          <a:prstGeom prst="rect">
            <a:avLst/>
          </a:prstGeom>
        </p:spPr>
      </p:pic>
      <p:pic>
        <p:nvPicPr>
          <p:cNvPr id="33" name="Graphic 32" descr="Handshake">
            <a:extLst>
              <a:ext uri="{FF2B5EF4-FFF2-40B4-BE49-F238E27FC236}">
                <a16:creationId xmlns:a16="http://schemas.microsoft.com/office/drawing/2014/main" id="{CFB1B2BC-9D58-3B44-9EB8-4512A3C9430A}"/>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207247" y="11542972"/>
            <a:ext cx="636080" cy="636080"/>
          </a:xfrm>
          <a:prstGeom prst="rect">
            <a:avLst/>
          </a:prstGeom>
        </p:spPr>
      </p:pic>
      <p:pic>
        <p:nvPicPr>
          <p:cNvPr id="34" name="Picture 33">
            <a:extLst>
              <a:ext uri="{FF2B5EF4-FFF2-40B4-BE49-F238E27FC236}">
                <a16:creationId xmlns:a16="http://schemas.microsoft.com/office/drawing/2014/main" id="{D8370E89-E6EA-8F43-B9C8-DF9CB65FA656}"/>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1609690" y="11609247"/>
            <a:ext cx="482217" cy="503530"/>
          </a:xfrm>
          <a:prstGeom prst="rect">
            <a:avLst/>
          </a:prstGeom>
        </p:spPr>
      </p:pic>
      <p:pic>
        <p:nvPicPr>
          <p:cNvPr id="35" name="Picture 34">
            <a:extLst>
              <a:ext uri="{FF2B5EF4-FFF2-40B4-BE49-F238E27FC236}">
                <a16:creationId xmlns:a16="http://schemas.microsoft.com/office/drawing/2014/main" id="{8190C741-B672-7143-9CA0-037441AD74D7}"/>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2858269" y="11525586"/>
            <a:ext cx="748128" cy="670858"/>
          </a:xfrm>
          <a:prstGeom prst="rect">
            <a:avLst/>
          </a:prstGeom>
        </p:spPr>
      </p:pic>
      <p:pic>
        <p:nvPicPr>
          <p:cNvPr id="36" name="Graphic 35" descr="Head with Gears">
            <a:extLst>
              <a:ext uri="{FF2B5EF4-FFF2-40B4-BE49-F238E27FC236}">
                <a16:creationId xmlns:a16="http://schemas.microsoft.com/office/drawing/2014/main" id="{44FB60DD-1784-F94A-A07B-FDFC0A5B1BE0}"/>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4372762" y="11542972"/>
            <a:ext cx="636080" cy="636080"/>
          </a:xfrm>
          <a:prstGeom prst="rect">
            <a:avLst/>
          </a:prstGeom>
        </p:spPr>
      </p:pic>
      <p:sp>
        <p:nvSpPr>
          <p:cNvPr id="37" name="Rectangle 36">
            <a:extLst>
              <a:ext uri="{FF2B5EF4-FFF2-40B4-BE49-F238E27FC236}">
                <a16:creationId xmlns:a16="http://schemas.microsoft.com/office/drawing/2014/main" id="{088E6CBA-1F31-CF4D-9B7C-50C8A7BAB85E}"/>
              </a:ext>
            </a:extLst>
          </p:cNvPr>
          <p:cNvSpPr/>
          <p:nvPr/>
        </p:nvSpPr>
        <p:spPr>
          <a:xfrm>
            <a:off x="12725879" y="12182095"/>
            <a:ext cx="1002308" cy="233063"/>
          </a:xfrm>
          <a:prstGeom prst="rect">
            <a:avLst/>
          </a:prstGeom>
          <a:noFill/>
          <a:ln w="25400" cap="flat" cmpd="sng">
            <a:noFill/>
            <a:prstDash val="solid"/>
            <a:round/>
            <a:headEnd type="none" w="med" len="med"/>
            <a:tailEnd type="none" w="med" len="med"/>
          </a:ln>
        </p:spPr>
        <p:txBody>
          <a:bodyPr lIns="0" tIns="91400" rIns="0" bIns="91400" rtlCol="0" anchor="ctr" anchorCtr="0">
            <a:noAutofit/>
          </a:bodyPr>
          <a:lstStyle/>
          <a:p>
            <a:pPr defTabSz="1828837">
              <a:buClr>
                <a:srgbClr val="000000"/>
              </a:buClr>
              <a:buSzPct val="25000"/>
              <a:defRPr/>
            </a:pPr>
            <a:r>
              <a:rPr lang="en-US" sz="1600" dirty="0">
                <a:solidFill>
                  <a:srgbClr val="FFFFFF"/>
                </a:solidFill>
                <a:latin typeface="IBM Plex Sans Light"/>
                <a:ea typeface="Century Gothic"/>
                <a:cs typeface="Century Gothic"/>
                <a:sym typeface="Century Gothic"/>
              </a:rPr>
              <a:t>Agilidad</a:t>
            </a:r>
          </a:p>
        </p:txBody>
      </p:sp>
      <p:sp>
        <p:nvSpPr>
          <p:cNvPr id="38" name="Rectangle: Rounded Corners 62">
            <a:extLst>
              <a:ext uri="{FF2B5EF4-FFF2-40B4-BE49-F238E27FC236}">
                <a16:creationId xmlns:a16="http://schemas.microsoft.com/office/drawing/2014/main" id="{FFE3D85B-AEA0-9C4A-8A39-3C7FF469CD37}"/>
              </a:ext>
            </a:extLst>
          </p:cNvPr>
          <p:cNvSpPr/>
          <p:nvPr/>
        </p:nvSpPr>
        <p:spPr>
          <a:xfrm>
            <a:off x="9964820" y="11416774"/>
            <a:ext cx="1144943" cy="1144943"/>
          </a:xfrm>
          <a:prstGeom prst="roundRect">
            <a:avLst/>
          </a:prstGeom>
          <a:noFill/>
          <a:ln w="25400" cap="flat" cmpd="sng">
            <a:solidFill>
              <a:schemeClr val="bg1"/>
            </a:solidFill>
            <a:prstDash val="solid"/>
            <a:round/>
            <a:headEnd type="none" w="med" len="med"/>
            <a:tailEnd type="none" w="med" len="med"/>
          </a:ln>
        </p:spPr>
        <p:txBody>
          <a:bodyPr lIns="0" tIns="91400" rIns="0" bIns="91400" rtlCol="0" anchor="ctr" anchorCtr="0">
            <a:noAutofit/>
          </a:bodyPr>
          <a:lstStyle/>
          <a:p>
            <a:pPr defTabSz="1828837" hangingPunct="1">
              <a:buClr>
                <a:srgbClr val="000000"/>
              </a:buClr>
              <a:buSzPct val="25000"/>
              <a:defRPr/>
            </a:pPr>
            <a:endParaRPr lang="en-US" sz="1600" dirty="0">
              <a:solidFill>
                <a:srgbClr val="FFFFFF"/>
              </a:solidFill>
              <a:latin typeface="IBM Plex Sans Light"/>
              <a:ea typeface="Century Gothic"/>
              <a:cs typeface="Century Gothic"/>
              <a:sym typeface="Century Gothic"/>
            </a:endParaRPr>
          </a:p>
        </p:txBody>
      </p:sp>
      <p:sp>
        <p:nvSpPr>
          <p:cNvPr id="39" name="Rectangle: Rounded Corners 55">
            <a:extLst>
              <a:ext uri="{FF2B5EF4-FFF2-40B4-BE49-F238E27FC236}">
                <a16:creationId xmlns:a16="http://schemas.microsoft.com/office/drawing/2014/main" id="{3198291C-7B38-FF4D-A8BB-BFAF403F233C}"/>
              </a:ext>
            </a:extLst>
          </p:cNvPr>
          <p:cNvSpPr/>
          <p:nvPr/>
        </p:nvSpPr>
        <p:spPr>
          <a:xfrm>
            <a:off x="14089566" y="11416773"/>
            <a:ext cx="1144943" cy="1144943"/>
          </a:xfrm>
          <a:prstGeom prst="roundRect">
            <a:avLst/>
          </a:prstGeom>
          <a:noFill/>
          <a:ln w="25400" cap="flat" cmpd="sng">
            <a:solidFill>
              <a:schemeClr val="bg1"/>
            </a:solidFill>
            <a:prstDash val="solid"/>
            <a:round/>
            <a:headEnd type="none" w="med" len="med"/>
            <a:tailEnd type="none" w="med" len="med"/>
          </a:ln>
        </p:spPr>
        <p:txBody>
          <a:bodyPr lIns="0" tIns="91400" rIns="0" bIns="91400" rtlCol="0" anchor="ctr" anchorCtr="0">
            <a:noAutofit/>
          </a:bodyPr>
          <a:lstStyle/>
          <a:p>
            <a:pPr defTabSz="1828837" hangingPunct="1">
              <a:buClr>
                <a:srgbClr val="000000"/>
              </a:buClr>
              <a:buSzPct val="25000"/>
              <a:defRPr/>
            </a:pPr>
            <a:endParaRPr lang="en-US" sz="1600" dirty="0">
              <a:solidFill>
                <a:srgbClr val="FFFFFF"/>
              </a:solidFill>
              <a:latin typeface="IBM Plex Sans Light"/>
              <a:ea typeface="Century Gothic"/>
              <a:cs typeface="Century Gothic"/>
              <a:sym typeface="Century Gothic"/>
            </a:endParaRPr>
          </a:p>
        </p:txBody>
      </p:sp>
    </p:spTree>
    <p:extLst>
      <p:ext uri="{BB962C8B-B14F-4D97-AF65-F5344CB8AC3E}">
        <p14:creationId xmlns:p14="http://schemas.microsoft.com/office/powerpoint/2010/main" val="270683185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1AECC4A-54E2-4B48-9F88-ACC3FE88C62A}"/>
              </a:ext>
            </a:extLst>
          </p:cNvPr>
          <p:cNvSpPr txBox="1"/>
          <p:nvPr/>
        </p:nvSpPr>
        <p:spPr>
          <a:xfrm>
            <a:off x="650240" y="541319"/>
            <a:ext cx="22611504" cy="1569660"/>
          </a:xfrm>
          <a:prstGeom prst="rect">
            <a:avLst/>
          </a:prstGeom>
          <a:noFill/>
        </p:spPr>
        <p:txBody>
          <a:bodyPr wrap="square" rtlCol="0" anchor="t">
            <a:spAutoFit/>
          </a:bodyPr>
          <a:lstStyle/>
          <a:p>
            <a:pPr algn="l"/>
            <a:r>
              <a:rPr lang="en-GB" sz="4000" b="1" kern="1200" dirty="0">
                <a:solidFill>
                  <a:srgbClr val="C00000"/>
                </a:solidFill>
                <a:cs typeface="Arial"/>
              </a:rPr>
              <a:t>CI / CD de releases</a:t>
            </a:r>
            <a:r>
              <a:rPr lang="en-US" sz="4000" b="1" kern="1200" dirty="0">
                <a:solidFill>
                  <a:srgbClr val="C00000"/>
                </a:solidFill>
              </a:rPr>
              <a:t>  </a:t>
            </a:r>
            <a:r>
              <a:rPr lang="en-GB" sz="2800" kern="1200" dirty="0">
                <a:solidFill>
                  <a:srgbClr val="C00000"/>
                </a:solidFill>
              </a:rPr>
              <a:t>Integración QA &amp; testing de releases</a:t>
            </a:r>
          </a:p>
          <a:p>
            <a:pPr algn="l"/>
            <a:r>
              <a:rPr lang="es-ES" altLang="en-US" sz="2800" kern="1200" dirty="0">
                <a:solidFill>
                  <a:schemeClr val="tx1"/>
                </a:solidFill>
              </a:rPr>
              <a:t>Matriz RACI</a:t>
            </a:r>
            <a:endParaRPr lang="en-US" altLang="en-US" sz="2800" kern="1200" dirty="0">
              <a:solidFill>
                <a:schemeClr val="tx1"/>
              </a:solidFill>
            </a:endParaRPr>
          </a:p>
          <a:p>
            <a:pPr algn="l"/>
            <a:endParaRPr lang="en-US" altLang="en-US" sz="2800" kern="1200" dirty="0">
              <a:solidFill>
                <a:srgbClr val="C00000"/>
              </a:solidFill>
              <a:latin typeface="IBM Plex Sans"/>
            </a:endParaRPr>
          </a:p>
        </p:txBody>
      </p:sp>
      <p:graphicFrame>
        <p:nvGraphicFramePr>
          <p:cNvPr id="4" name="Tabla 3">
            <a:extLst>
              <a:ext uri="{FF2B5EF4-FFF2-40B4-BE49-F238E27FC236}">
                <a16:creationId xmlns:a16="http://schemas.microsoft.com/office/drawing/2014/main" id="{A9383DA2-C771-4DBE-B67C-46BDA05D241A}"/>
              </a:ext>
            </a:extLst>
          </p:cNvPr>
          <p:cNvGraphicFramePr>
            <a:graphicFrameLocks noGrp="1"/>
          </p:cNvGraphicFramePr>
          <p:nvPr>
            <p:extLst>
              <p:ext uri="{D42A27DB-BD31-4B8C-83A1-F6EECF244321}">
                <p14:modId xmlns:p14="http://schemas.microsoft.com/office/powerpoint/2010/main" val="661520639"/>
              </p:ext>
            </p:extLst>
          </p:nvPr>
        </p:nvGraphicFramePr>
        <p:xfrm>
          <a:off x="650240" y="1912624"/>
          <a:ext cx="22655079" cy="9720000"/>
        </p:xfrm>
        <a:graphic>
          <a:graphicData uri="http://schemas.openxmlformats.org/drawingml/2006/table">
            <a:tbl>
              <a:tblPr>
                <a:tableStyleId>{5940675A-B579-460E-94D1-54222C63F5DA}</a:tableStyleId>
              </a:tblPr>
              <a:tblGrid>
                <a:gridCol w="9394768">
                  <a:extLst>
                    <a:ext uri="{9D8B030D-6E8A-4147-A177-3AD203B41FA5}">
                      <a16:colId xmlns:a16="http://schemas.microsoft.com/office/drawing/2014/main" val="1549412401"/>
                    </a:ext>
                  </a:extLst>
                </a:gridCol>
                <a:gridCol w="1762232">
                  <a:extLst>
                    <a:ext uri="{9D8B030D-6E8A-4147-A177-3AD203B41FA5}">
                      <a16:colId xmlns:a16="http://schemas.microsoft.com/office/drawing/2014/main" val="13767168"/>
                    </a:ext>
                  </a:extLst>
                </a:gridCol>
                <a:gridCol w="1679626">
                  <a:extLst>
                    <a:ext uri="{9D8B030D-6E8A-4147-A177-3AD203B41FA5}">
                      <a16:colId xmlns:a16="http://schemas.microsoft.com/office/drawing/2014/main" val="176311709"/>
                    </a:ext>
                  </a:extLst>
                </a:gridCol>
                <a:gridCol w="1679626">
                  <a:extLst>
                    <a:ext uri="{9D8B030D-6E8A-4147-A177-3AD203B41FA5}">
                      <a16:colId xmlns:a16="http://schemas.microsoft.com/office/drawing/2014/main" val="1984299023"/>
                    </a:ext>
                  </a:extLst>
                </a:gridCol>
                <a:gridCol w="2092649">
                  <a:extLst>
                    <a:ext uri="{9D8B030D-6E8A-4147-A177-3AD203B41FA5}">
                      <a16:colId xmlns:a16="http://schemas.microsoft.com/office/drawing/2014/main" val="1693561845"/>
                    </a:ext>
                  </a:extLst>
                </a:gridCol>
                <a:gridCol w="2037580">
                  <a:extLst>
                    <a:ext uri="{9D8B030D-6E8A-4147-A177-3AD203B41FA5}">
                      <a16:colId xmlns:a16="http://schemas.microsoft.com/office/drawing/2014/main" val="2248067950"/>
                    </a:ext>
                  </a:extLst>
                </a:gridCol>
                <a:gridCol w="1321674">
                  <a:extLst>
                    <a:ext uri="{9D8B030D-6E8A-4147-A177-3AD203B41FA5}">
                      <a16:colId xmlns:a16="http://schemas.microsoft.com/office/drawing/2014/main" val="1105587022"/>
                    </a:ext>
                  </a:extLst>
                </a:gridCol>
                <a:gridCol w="1365250">
                  <a:extLst>
                    <a:ext uri="{9D8B030D-6E8A-4147-A177-3AD203B41FA5}">
                      <a16:colId xmlns:a16="http://schemas.microsoft.com/office/drawing/2014/main" val="3855476963"/>
                    </a:ext>
                  </a:extLst>
                </a:gridCol>
                <a:gridCol w="1321674">
                  <a:extLst>
                    <a:ext uri="{9D8B030D-6E8A-4147-A177-3AD203B41FA5}">
                      <a16:colId xmlns:a16="http://schemas.microsoft.com/office/drawing/2014/main" val="3232388287"/>
                    </a:ext>
                  </a:extLst>
                </a:gridCol>
              </a:tblGrid>
              <a:tr h="648000">
                <a:tc>
                  <a:txBody>
                    <a:bodyPr/>
                    <a:lstStyle/>
                    <a:p>
                      <a:pPr algn="ctr" fontAlgn="ctr"/>
                      <a:endParaRPr lang="es-ES" sz="1400" b="1" i="0" u="none" strike="noStrike" dirty="0">
                        <a:solidFill>
                          <a:schemeClr val="bg1"/>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solidFill>
                      <a:srgbClr val="AC0000"/>
                    </a:solidFill>
                  </a:tcPr>
                </a:tc>
                <a:tc gridSpan="8">
                  <a:txBody>
                    <a:bodyPr/>
                    <a:lstStyle/>
                    <a:p>
                      <a:pPr algn="ctr" fontAlgn="ctr"/>
                      <a:r>
                        <a:rPr lang="es-ES" sz="1400" b="1" u="none" strike="noStrike" dirty="0">
                          <a:solidFill>
                            <a:schemeClr val="bg1"/>
                          </a:solidFill>
                          <a:effectLst/>
                        </a:rPr>
                        <a:t>AREAS &amp; RESPONSABILIDADES</a:t>
                      </a:r>
                      <a:endParaRPr lang="es-ES" sz="1400" b="1"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C0000"/>
                    </a:solidFill>
                  </a:tcPr>
                </a:tc>
                <a:tc hMerge="1">
                  <a:txBody>
                    <a:bodyPr/>
                    <a:lstStyle/>
                    <a:p>
                      <a:endParaRPr lang="es-ES"/>
                    </a:p>
                  </a:txBody>
                  <a:tcPr/>
                </a:tc>
                <a:tc hMerge="1">
                  <a:txBody>
                    <a:bodyPr/>
                    <a:lstStyle/>
                    <a:p>
                      <a:endParaRPr lang="es-ES"/>
                    </a:p>
                  </a:txBody>
                  <a:tcPr/>
                </a:tc>
                <a:tc hMerge="1">
                  <a:txBody>
                    <a:bodyPr/>
                    <a:lstStyle/>
                    <a:p>
                      <a:endParaRPr lang="es-ES"/>
                    </a:p>
                  </a:txBody>
                  <a:tcPr>
                    <a:lnL w="12700" cap="flat" cmpd="sng" algn="ctr">
                      <a:solidFill>
                        <a:schemeClr val="tx1"/>
                      </a:solidFill>
                      <a:prstDash val="solid"/>
                      <a:round/>
                      <a:headEnd type="none" w="med" len="med"/>
                      <a:tailEnd type="none" w="med" len="med"/>
                    </a:lnL>
                  </a:tcPr>
                </a:tc>
                <a:tc hMerge="1">
                  <a:txBody>
                    <a:bodyPr/>
                    <a:lstStyle/>
                    <a:p>
                      <a:endParaRPr lang="es-ES"/>
                    </a:p>
                  </a:txBody>
                  <a:tcPr/>
                </a:tc>
                <a:tc hMerge="1">
                  <a:txBody>
                    <a:bodyPr/>
                    <a:lstStyle/>
                    <a:p>
                      <a:endParaRPr lang="es-ES"/>
                    </a:p>
                  </a:txBody>
                  <a:tcPr/>
                </a:tc>
                <a:tc hMerge="1">
                  <a:txBody>
                    <a:bodyPr/>
                    <a:lstStyle/>
                    <a:p>
                      <a:pPr algn="ctr" fontAlgn="ctr"/>
                      <a:endParaRPr lang="es-ES" sz="1400" b="1" i="0" u="none" strike="noStrike">
                        <a:solidFill>
                          <a:schemeClr val="bg1"/>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C0000"/>
                    </a:solidFill>
                  </a:tcPr>
                </a:tc>
                <a:tc hMerge="1">
                  <a:txBody>
                    <a:bodyPr/>
                    <a:lstStyle/>
                    <a:p>
                      <a:pPr algn="ctr" fontAlgn="ctr"/>
                      <a:endParaRPr lang="es-ES" sz="1400" b="1" i="0" u="none" strike="noStrike">
                        <a:solidFill>
                          <a:schemeClr val="bg1"/>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C0000"/>
                    </a:solidFill>
                  </a:tcPr>
                </a:tc>
                <a:extLst>
                  <a:ext uri="{0D108BD9-81ED-4DB2-BD59-A6C34878D82A}">
                    <a16:rowId xmlns:a16="http://schemas.microsoft.com/office/drawing/2014/main" val="3988108223"/>
                  </a:ext>
                </a:extLst>
              </a:tr>
              <a:tr h="648000">
                <a:tc rowSpan="2">
                  <a:txBody>
                    <a:bodyPr/>
                    <a:lstStyle/>
                    <a:p>
                      <a:pPr algn="ctr" fontAlgn="ctr"/>
                      <a:r>
                        <a:rPr lang="es-ES" sz="2400" b="1" u="none" strike="noStrike" dirty="0">
                          <a:effectLst/>
                        </a:rPr>
                        <a:t>Actividades del Proceso​</a:t>
                      </a:r>
                      <a:endParaRPr lang="es-ES" sz="2400" b="1" i="0" u="none" strike="noStrike" dirty="0">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gridSpan="6">
                  <a:txBody>
                    <a:bodyPr/>
                    <a:lstStyle/>
                    <a:p>
                      <a:pPr algn="ctr" fontAlgn="ctr"/>
                      <a:r>
                        <a:rPr lang="es-ES" sz="2400" b="1" i="0" u="none" strike="noStrike" dirty="0">
                          <a:solidFill>
                            <a:srgbClr val="000000"/>
                          </a:solidFill>
                          <a:effectLst/>
                          <a:latin typeface="Arial" panose="020B0604020202020204" pitchFamily="34" charset="0"/>
                        </a:rPr>
                        <a:t>Santander Tecnología</a:t>
                      </a:r>
                    </a:p>
                  </a:txBody>
                  <a:tcPr marL="9525" marR="9525" marT="9525" marB="0" anchor="ctr">
                    <a:lnT w="12700" cap="flat" cmpd="sng" algn="ctr">
                      <a:solidFill>
                        <a:schemeClr val="tx1"/>
                      </a:solidFill>
                      <a:prstDash val="solid"/>
                      <a:round/>
                      <a:headEnd type="none" w="med" len="med"/>
                      <a:tailEnd type="none" w="med" len="med"/>
                    </a:lnT>
                    <a:solidFill>
                      <a:schemeClr val="tx2">
                        <a:lumMod val="40000"/>
                        <a:lumOff val="60000"/>
                      </a:schemeClr>
                    </a:solidFill>
                  </a:tcPr>
                </a:tc>
                <a:tc hMerge="1">
                  <a:txBody>
                    <a:bodyPr/>
                    <a:lstStyle/>
                    <a:p>
                      <a:endParaRPr lang="es-ES"/>
                    </a:p>
                  </a:txBody>
                  <a:tcPr/>
                </a:tc>
                <a:tc hMerge="1">
                  <a:txBody>
                    <a:bodyPr/>
                    <a:lstStyle/>
                    <a:p>
                      <a:pPr algn="ctr" fontAlgn="ctr"/>
                      <a:endParaRPr lang="es-ES" sz="1800" b="1" i="0" u="none" strike="noStrike">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hMerge="1">
                  <a:txBody>
                    <a:bodyPr/>
                    <a:lstStyle/>
                    <a:p>
                      <a:pPr algn="ctr" fontAlgn="ctr"/>
                      <a:endParaRPr lang="es-ES" sz="1800" b="1" i="0" u="none" strike="noStrike">
                        <a:solidFill>
                          <a:srgbClr val="000000"/>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solidFill>
                      <a:schemeClr val="tx2">
                        <a:lumMod val="40000"/>
                        <a:lumOff val="60000"/>
                      </a:schemeClr>
                    </a:solidFill>
                  </a:tcPr>
                </a:tc>
                <a:tc hMerge="1">
                  <a:txBody>
                    <a:bodyPr/>
                    <a:lstStyle/>
                    <a:p>
                      <a:pPr algn="ctr" fontAlgn="ctr"/>
                      <a:endParaRPr lang="es-ES" sz="1800" b="1" i="0" u="none" strike="noStrike">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hMerge="1">
                  <a:txBody>
                    <a:bodyPr/>
                    <a:lstStyle/>
                    <a:p>
                      <a:pPr algn="ctr" fontAlgn="ctr"/>
                      <a:endParaRPr lang="es-ES" sz="1800" b="1" i="0" u="none" strike="noStrike">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gridSpan="2">
                  <a:txBody>
                    <a:bodyPr/>
                    <a:lstStyle/>
                    <a:p>
                      <a:pPr marL="0" algn="ctr" defTabSz="1828800" rtl="0" eaLnBrk="1" fontAlgn="ctr" latinLnBrk="0" hangingPunct="1"/>
                      <a:r>
                        <a:rPr lang="es-ES" sz="2400" b="1" i="0" u="none" strike="noStrike" kern="1200" dirty="0">
                          <a:solidFill>
                            <a:srgbClr val="000000"/>
                          </a:solidFill>
                          <a:effectLst/>
                          <a:latin typeface="Arial" panose="020B0604020202020204" pitchFamily="34" charset="0"/>
                          <a:ea typeface="+mn-ea"/>
                          <a:cs typeface="+mn-cs"/>
                        </a:rPr>
                        <a:t>SGT</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lumMod val="40000"/>
                        <a:lumOff val="60000"/>
                      </a:schemeClr>
                    </a:solidFill>
                  </a:tcPr>
                </a:tc>
                <a:tc hMerge="1">
                  <a:txBody>
                    <a:bodyPr/>
                    <a:lstStyle/>
                    <a:p>
                      <a:pPr marL="0" algn="ctr" defTabSz="1828800" rtl="0" eaLnBrk="1" fontAlgn="ctr" latinLnBrk="0" hangingPunct="1"/>
                      <a:endParaRPr lang="es-ES" sz="2400" b="1" i="0" u="none" strike="noStrike" kern="1200">
                        <a:solidFill>
                          <a:srgbClr val="000000"/>
                        </a:solidFill>
                        <a:effectLst/>
                        <a:latin typeface="Arial" panose="020B0604020202020204" pitchFamily="34" charset="0"/>
                        <a:ea typeface="+mn-ea"/>
                        <a:cs typeface="+mn-cs"/>
                      </a:endParaRP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lumMod val="40000"/>
                        <a:lumOff val="60000"/>
                      </a:schemeClr>
                    </a:solidFill>
                  </a:tcPr>
                </a:tc>
                <a:extLst>
                  <a:ext uri="{0D108BD9-81ED-4DB2-BD59-A6C34878D82A}">
                    <a16:rowId xmlns:a16="http://schemas.microsoft.com/office/drawing/2014/main" val="625852721"/>
                  </a:ext>
                </a:extLst>
              </a:tr>
              <a:tr h="648000">
                <a:tc vMerge="1">
                  <a:txBody>
                    <a:bodyPr/>
                    <a:lstStyle/>
                    <a:p>
                      <a:pPr algn="ctr" fontAlgn="ctr"/>
                      <a:endParaRPr lang="es-ES" sz="2400" b="1" i="0" u="none" strike="noStrike">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a:txBody>
                    <a:bodyPr/>
                    <a:lstStyle/>
                    <a:p>
                      <a:pPr algn="ctr" fontAlgn="ctr"/>
                      <a:r>
                        <a:rPr lang="es-ES" sz="1800" u="none" strike="noStrike" dirty="0">
                          <a:effectLst/>
                        </a:rPr>
                        <a:t>Dominio de Negocio​</a:t>
                      </a:r>
                      <a:endParaRPr lang="es-ES" sz="1800" b="1" i="0" u="none" strike="noStrike" dirty="0">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a:txBody>
                    <a:bodyPr/>
                    <a:lstStyle/>
                    <a:p>
                      <a:pPr algn="ctr" fontAlgn="ctr"/>
                      <a:r>
                        <a:rPr lang="es-ES" sz="1800" b="0" i="0" u="none" strike="noStrike" dirty="0">
                          <a:solidFill>
                            <a:srgbClr val="000000"/>
                          </a:solidFill>
                          <a:effectLst/>
                          <a:latin typeface="Arial" panose="020B0604020202020204" pitchFamily="34" charset="0"/>
                        </a:rPr>
                        <a:t>Ingenieria</a:t>
                      </a:r>
                    </a:p>
                  </a:txBody>
                  <a:tcPr marL="9525" marR="9525" marT="9525" marB="0" anchor="ctr">
                    <a:solidFill>
                      <a:schemeClr val="tx2">
                        <a:lumMod val="40000"/>
                        <a:lumOff val="60000"/>
                      </a:schemeClr>
                    </a:solidFill>
                  </a:tcPr>
                </a:tc>
                <a:tc>
                  <a:txBody>
                    <a:bodyPr/>
                    <a:lstStyle/>
                    <a:p>
                      <a:pPr algn="ctr" fontAlgn="ctr"/>
                      <a:r>
                        <a:rPr lang="es-ES" sz="1800" u="none" strike="noStrike" dirty="0">
                          <a:effectLst/>
                        </a:rPr>
                        <a:t>Infraestructura</a:t>
                      </a:r>
                      <a:endParaRPr lang="es-ES" sz="1800" b="1" i="0" u="none" strike="noStrike" dirty="0">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a:txBody>
                    <a:bodyPr/>
                    <a:lstStyle/>
                    <a:p>
                      <a:pPr algn="ctr" fontAlgn="ctr"/>
                      <a:r>
                        <a:rPr lang="es-ES" sz="1800" u="none" strike="noStrike" dirty="0">
                          <a:effectLst/>
                        </a:rPr>
                        <a:t>Operaciones</a:t>
                      </a:r>
                      <a:endParaRPr lang="es-ES" sz="1800" b="1" i="0" u="none" strike="noStrike" dirty="0">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a:txBody>
                    <a:bodyPr/>
                    <a:lstStyle/>
                    <a:p>
                      <a:pPr algn="ctr" fontAlgn="ctr"/>
                      <a:r>
                        <a:rPr lang="es-ES" sz="1800" u="none" strike="noStrike" dirty="0">
                          <a:effectLst/>
                        </a:rPr>
                        <a:t>Testing​</a:t>
                      </a:r>
                      <a:endParaRPr lang="es-ES" sz="1800" b="1" i="0" u="none" strike="noStrike" dirty="0">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a:txBody>
                    <a:bodyPr/>
                    <a:lstStyle/>
                    <a:p>
                      <a:pPr algn="ctr" fontAlgn="ctr"/>
                      <a:r>
                        <a:rPr lang="es-ES" sz="1800" u="none" strike="noStrike" dirty="0">
                          <a:effectLst/>
                        </a:rPr>
                        <a:t>RTYO​</a:t>
                      </a:r>
                      <a:endParaRPr lang="es-ES" sz="1800" b="1" i="0" u="none" strike="noStrike" dirty="0">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a:txBody>
                    <a:bodyPr/>
                    <a:lstStyle/>
                    <a:p>
                      <a:pPr algn="ctr" fontAlgn="ctr"/>
                      <a:r>
                        <a:rPr lang="es-ES" sz="1800" u="none" strike="noStrike" kern="1200" dirty="0">
                          <a:solidFill>
                            <a:schemeClr val="tx1"/>
                          </a:solidFill>
                          <a:effectLst/>
                          <a:latin typeface="+mn-lt"/>
                          <a:ea typeface="+mn-ea"/>
                          <a:cs typeface="+mn-cs"/>
                        </a:rPr>
                        <a:t>Rendimiento</a:t>
                      </a:r>
                    </a:p>
                  </a:txBody>
                  <a:tcPr marL="9525" marR="9525" marT="9525" marB="0" anchor="ctr">
                    <a:solidFill>
                      <a:schemeClr val="tx2">
                        <a:lumMod val="40000"/>
                        <a:lumOff val="60000"/>
                      </a:schemeClr>
                    </a:solidFill>
                  </a:tcPr>
                </a:tc>
                <a:tc>
                  <a:txBody>
                    <a:bodyPr/>
                    <a:lstStyle/>
                    <a:p>
                      <a:pPr algn="ctr" fontAlgn="ctr"/>
                      <a:r>
                        <a:rPr lang="es-ES" sz="1800" u="none" strike="noStrike" kern="1200" dirty="0">
                          <a:solidFill>
                            <a:schemeClr val="tx1"/>
                          </a:solidFill>
                          <a:effectLst/>
                          <a:latin typeface="+mn-lt"/>
                          <a:ea typeface="+mn-ea"/>
                          <a:cs typeface="+mn-cs"/>
                        </a:rPr>
                        <a:t>Seguridad</a:t>
                      </a:r>
                    </a:p>
                  </a:txBody>
                  <a:tcPr marL="9525" marR="9525" marT="9525" marB="0" anchor="ctr">
                    <a:solidFill>
                      <a:schemeClr val="tx2">
                        <a:lumMod val="40000"/>
                        <a:lumOff val="60000"/>
                      </a:schemeClr>
                    </a:solidFill>
                  </a:tcPr>
                </a:tc>
                <a:extLst>
                  <a:ext uri="{0D108BD9-81ED-4DB2-BD59-A6C34878D82A}">
                    <a16:rowId xmlns:a16="http://schemas.microsoft.com/office/drawing/2014/main" val="1477870111"/>
                  </a:ext>
                </a:extLst>
              </a:tr>
              <a:tr h="648000">
                <a:tc>
                  <a:txBody>
                    <a:bodyPr/>
                    <a:lstStyle/>
                    <a:p>
                      <a:pPr marL="0" marR="0" lvl="0" indent="0" algn="l" rtl="0" eaLnBrk="1" fontAlgn="base" latinLnBrk="0" hangingPunct="1">
                        <a:lnSpc>
                          <a:spcPct val="100000"/>
                        </a:lnSpc>
                        <a:spcBef>
                          <a:spcPct val="0"/>
                        </a:spcBef>
                        <a:spcAft>
                          <a:spcPct val="0"/>
                        </a:spcAft>
                        <a:buClrTx/>
                        <a:buSzTx/>
                        <a:buFontTx/>
                        <a:buNone/>
                      </a:pPr>
                      <a:r>
                        <a:rPr kumimoji="0" lang="en-US" altLang="en-US" sz="2300" b="0" i="0" u="none" strike="noStrike" cap="none" normalizeH="0" baseline="0" dirty="0">
                          <a:ln>
                            <a:noFill/>
                          </a:ln>
                          <a:solidFill>
                            <a:sysClr val="windowText" lastClr="000000"/>
                          </a:solidFill>
                          <a:effectLst/>
                          <a:latin typeface="+mn-lt"/>
                          <a:cs typeface="Arial"/>
                        </a:rPr>
                        <a:t>Configurar pruebas de rendimiento automáticas (Jmeter)</a:t>
                      </a:r>
                    </a:p>
                  </a:txBody>
                  <a:tcPr marL="108000" marR="72000" marT="93600" marB="93600" anchor="ctr" horzOverflow="overflow"/>
                </a:tc>
                <a:tc>
                  <a:txBody>
                    <a:bodyPr/>
                    <a:lstStyle/>
                    <a:p>
                      <a:pPr algn="ctr" fontAlgn="ctr"/>
                      <a:r>
                        <a:rPr lang="es-ES" sz="1600" b="0" i="0" u="none" strike="noStrike" dirty="0">
                          <a:solidFill>
                            <a:srgbClr val="000000"/>
                          </a:solidFill>
                          <a:effectLst/>
                          <a:latin typeface="Arial" panose="020B0604020202020204" pitchFamily="34" charset="0"/>
                        </a:rPr>
                        <a:t>A/R</a:t>
                      </a: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s-ES" sz="1600" b="0" i="0" u="none" strike="noStrike" dirty="0">
                          <a:solidFill>
                            <a:srgbClr val="000000"/>
                          </a:solidFill>
                          <a:effectLst/>
                          <a:latin typeface="Arial" panose="020B0604020202020204" pitchFamily="34" charset="0"/>
                        </a:rPr>
                        <a:t>I</a:t>
                      </a: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s-ES" sz="1600" b="0" i="0" u="none" strike="noStrike" dirty="0">
                          <a:solidFill>
                            <a:srgbClr val="000000"/>
                          </a:solidFill>
                          <a:effectLst/>
                          <a:latin typeface="Arial" panose="020B0604020202020204" pitchFamily="34" charset="0"/>
                        </a:rPr>
                        <a:t>C</a:t>
                      </a: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3181543360"/>
                  </a:ext>
                </a:extLst>
              </a:tr>
              <a:tr h="648000">
                <a:tc>
                  <a:txBody>
                    <a:bodyPr/>
                    <a:lstStyle/>
                    <a:p>
                      <a:pPr marL="0" marR="0" lvl="0" indent="0" algn="l" rtl="0" eaLnBrk="1" fontAlgn="base" latinLnBrk="0" hangingPunct="1">
                        <a:lnSpc>
                          <a:spcPct val="100000"/>
                        </a:lnSpc>
                        <a:spcBef>
                          <a:spcPct val="0"/>
                        </a:spcBef>
                        <a:spcAft>
                          <a:spcPct val="0"/>
                        </a:spcAft>
                        <a:buClrTx/>
                        <a:buSzTx/>
                        <a:buFontTx/>
                        <a:buNone/>
                      </a:pPr>
                      <a:r>
                        <a:rPr kumimoji="0" lang="en-US" altLang="en-US" sz="2300" b="0" i="0" u="none" strike="noStrike" cap="none" normalizeH="0" baseline="0" dirty="0">
                          <a:ln>
                            <a:noFill/>
                          </a:ln>
                          <a:solidFill>
                            <a:sysClr val="windowText" lastClr="000000"/>
                          </a:solidFill>
                          <a:effectLst/>
                          <a:latin typeface="+mn-lt"/>
                          <a:cs typeface="Arial"/>
                        </a:rPr>
                        <a:t>Configurar pruebas funcionales automáticas</a:t>
                      </a:r>
                    </a:p>
                  </a:txBody>
                  <a:tcPr marL="108000" marR="72000" marT="93600" marB="93600" anchor="ctr" horzOverflow="overflow"/>
                </a:tc>
                <a:tc>
                  <a:txBody>
                    <a:bodyPr/>
                    <a:lstStyle/>
                    <a:p>
                      <a:pPr algn="ctr" fontAlgn="ctr"/>
                      <a:r>
                        <a:rPr lang="es-ES" sz="1600" b="0" i="0" u="none" strike="noStrike" dirty="0">
                          <a:solidFill>
                            <a:srgbClr val="000000"/>
                          </a:solidFill>
                          <a:effectLst/>
                          <a:latin typeface="Arial" panose="020B0604020202020204" pitchFamily="34" charset="0"/>
                        </a:rPr>
                        <a:t>A/R</a:t>
                      </a: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s-ES" sz="1600" b="0" i="0" u="none" strike="noStrike" dirty="0">
                          <a:solidFill>
                            <a:srgbClr val="000000"/>
                          </a:solidFill>
                          <a:effectLst/>
                          <a:latin typeface="Arial" panose="020B0604020202020204" pitchFamily="34" charset="0"/>
                        </a:rPr>
                        <a:t>C</a:t>
                      </a: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4015140849"/>
                  </a:ext>
                </a:extLst>
              </a:tr>
              <a:tr h="648000">
                <a:tc>
                  <a:txBody>
                    <a:bodyPr/>
                    <a:lstStyle/>
                    <a:p>
                      <a:pPr marL="0" marR="0" lvl="0" indent="0" algn="l" rtl="0" eaLnBrk="1" fontAlgn="base" latinLnBrk="0" hangingPunct="1">
                        <a:lnSpc>
                          <a:spcPct val="100000"/>
                        </a:lnSpc>
                        <a:spcBef>
                          <a:spcPct val="0"/>
                        </a:spcBef>
                        <a:spcAft>
                          <a:spcPct val="0"/>
                        </a:spcAft>
                        <a:buClrTx/>
                        <a:buSzTx/>
                        <a:buFontTx/>
                        <a:buNone/>
                      </a:pPr>
                      <a:r>
                        <a:rPr kumimoji="0" lang="en-US" altLang="en-US" sz="2300" b="0" i="0" u="none" strike="noStrike" cap="none" normalizeH="0" baseline="0" dirty="0">
                          <a:ln>
                            <a:noFill/>
                          </a:ln>
                          <a:solidFill>
                            <a:sysClr val="windowText" lastClr="000000"/>
                          </a:solidFill>
                          <a:effectLst/>
                          <a:latin typeface="+mn-lt"/>
                          <a:cs typeface="Arial"/>
                        </a:rPr>
                        <a:t>Configurar pruebas de seguridad automáticas</a:t>
                      </a:r>
                    </a:p>
                  </a:txBody>
                  <a:tcPr marL="108000" marR="72000" marT="93600" marB="93600" anchor="ctr" horzOverflow="overflow"/>
                </a:tc>
                <a:tc>
                  <a:txBody>
                    <a:bodyPr/>
                    <a:lstStyle/>
                    <a:p>
                      <a:pPr algn="ctr" fontAlgn="ctr"/>
                      <a:r>
                        <a:rPr lang="es-ES" sz="1600" b="0" i="0" u="none" strike="noStrike" dirty="0">
                          <a:solidFill>
                            <a:srgbClr val="000000"/>
                          </a:solidFill>
                          <a:effectLst/>
                          <a:latin typeface="Arial" panose="020B0604020202020204" pitchFamily="34" charset="0"/>
                        </a:rPr>
                        <a:t>A/R</a:t>
                      </a: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s-ES" sz="1600" b="0" i="0" u="none" strike="noStrike" dirty="0">
                          <a:solidFill>
                            <a:srgbClr val="000000"/>
                          </a:solidFill>
                          <a:effectLst/>
                          <a:latin typeface="Arial" panose="020B0604020202020204" pitchFamily="34" charset="0"/>
                        </a:rPr>
                        <a:t>C</a:t>
                      </a:r>
                    </a:p>
                  </a:txBody>
                  <a:tcPr marL="9525" marR="9525" marT="9525" marB="0" anchor="ctr"/>
                </a:tc>
                <a:tc>
                  <a:txBody>
                    <a:bodyPr/>
                    <a:lstStyle/>
                    <a:p>
                      <a:pPr algn="ctr" fontAlgn="ctr"/>
                      <a:r>
                        <a:rPr lang="es-ES" sz="1600" b="0" i="0" u="none" strike="noStrike" dirty="0">
                          <a:solidFill>
                            <a:srgbClr val="000000"/>
                          </a:solidFill>
                          <a:effectLst/>
                          <a:latin typeface="Arial" panose="020B0604020202020204" pitchFamily="34" charset="0"/>
                        </a:rPr>
                        <a:t>I</a:t>
                      </a: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3930996245"/>
                  </a:ext>
                </a:extLst>
              </a:tr>
              <a:tr h="648000">
                <a:tc>
                  <a:txBody>
                    <a:bodyPr/>
                    <a:lstStyle/>
                    <a:p>
                      <a:pPr marL="0" marR="0" lvl="0" indent="0" algn="l" rtl="0" eaLnBrk="1" fontAlgn="base" latinLnBrk="0" hangingPunct="1">
                        <a:lnSpc>
                          <a:spcPct val="100000"/>
                        </a:lnSpc>
                        <a:spcBef>
                          <a:spcPct val="0"/>
                        </a:spcBef>
                        <a:spcAft>
                          <a:spcPct val="0"/>
                        </a:spcAft>
                        <a:buClrTx/>
                        <a:buSzTx/>
                        <a:buFontTx/>
                        <a:buNone/>
                      </a:pPr>
                      <a:r>
                        <a:rPr kumimoji="0" lang="en-US" altLang="en-US" sz="2300" b="0" i="0" u="none" strike="noStrike" cap="none" normalizeH="0" baseline="0" dirty="0">
                          <a:ln>
                            <a:noFill/>
                          </a:ln>
                          <a:solidFill>
                            <a:sysClr val="windowText" lastClr="000000"/>
                          </a:solidFill>
                          <a:effectLst/>
                          <a:latin typeface="+mn-lt"/>
                          <a:cs typeface="Arial"/>
                        </a:rPr>
                        <a:t>Configurar pruebas de resiliencia automáticas</a:t>
                      </a:r>
                    </a:p>
                  </a:txBody>
                  <a:tcPr marL="108000" marR="72000" marT="93600" marB="93600" anchor="ctr" horzOverflow="overflow"/>
                </a:tc>
                <a:tc>
                  <a:txBody>
                    <a:bodyPr/>
                    <a:lstStyle/>
                    <a:p>
                      <a:pPr algn="ctr" fontAlgn="ctr"/>
                      <a:r>
                        <a:rPr lang="es-ES" sz="1600" b="0" i="0" u="none" strike="noStrike" dirty="0">
                          <a:solidFill>
                            <a:srgbClr val="000000"/>
                          </a:solidFill>
                          <a:effectLst/>
                          <a:latin typeface="Arial" panose="020B0604020202020204" pitchFamily="34" charset="0"/>
                        </a:rPr>
                        <a:t>A/R</a:t>
                      </a: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s-ES" sz="1600" b="0" i="0" u="none" strike="noStrike" dirty="0">
                          <a:solidFill>
                            <a:srgbClr val="000000"/>
                          </a:solidFill>
                          <a:effectLst/>
                          <a:latin typeface="Arial" panose="020B0604020202020204" pitchFamily="34" charset="0"/>
                        </a:rPr>
                        <a:t>C</a:t>
                      </a: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s-ES" sz="1600" b="0" i="0" u="none" strike="noStrike" dirty="0">
                          <a:solidFill>
                            <a:srgbClr val="000000"/>
                          </a:solidFill>
                          <a:effectLst/>
                          <a:latin typeface="Arial" panose="020B0604020202020204" pitchFamily="34" charset="0"/>
                        </a:rPr>
                        <a:t>C</a:t>
                      </a: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2935949128"/>
                  </a:ext>
                </a:extLst>
              </a:tr>
              <a:tr h="648000">
                <a:tc>
                  <a:txBody>
                    <a:bodyPr/>
                    <a:lstStyle>
                      <a:lvl1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1pPr>
                      <a:lvl2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2pPr>
                      <a:lvl3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3pPr>
                      <a:lvl4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4pPr>
                      <a:lvl5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5pPr>
                      <a:lvl6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6pPr>
                      <a:lvl7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7pPr>
                      <a:lvl8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8pPr>
                      <a:lvl9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9pPr>
                    </a:lstStyle>
                    <a:p>
                      <a:pPr marL="0" marR="0" lvl="0" indent="0" algn="l" rtl="0" eaLnBrk="1" fontAlgn="base" latinLnBrk="0" hangingPunct="1">
                        <a:lnSpc>
                          <a:spcPct val="100000"/>
                        </a:lnSpc>
                        <a:spcBef>
                          <a:spcPct val="0"/>
                        </a:spcBef>
                        <a:spcAft>
                          <a:spcPct val="0"/>
                        </a:spcAft>
                        <a:buClrTx/>
                        <a:buSzTx/>
                        <a:buFontTx/>
                        <a:buNone/>
                      </a:pPr>
                      <a:r>
                        <a:rPr lang="en-US" altLang="en-US" sz="2300" b="0" i="0" u="none" strike="noStrike" cap="none" normalizeH="0" baseline="0" dirty="0">
                          <a:ln>
                            <a:noFill/>
                          </a:ln>
                          <a:effectLst/>
                          <a:latin typeface="+mn-lt"/>
                          <a:cs typeface="Arial"/>
                        </a:rPr>
                        <a:t>Desplegar en Entorno de Pre Producción</a:t>
                      </a:r>
                      <a:endParaRPr kumimoji="0" lang="en-US" altLang="en-US" sz="2300" b="0" i="0" u="none" strike="noStrike" cap="none" normalizeH="0" baseline="0" dirty="0">
                        <a:ln>
                          <a:noFill/>
                        </a:ln>
                        <a:solidFill>
                          <a:sysClr val="windowText" lastClr="000000"/>
                        </a:solidFill>
                        <a:effectLst/>
                        <a:latin typeface="+mn-lt"/>
                        <a:cs typeface="Arial" panose="020B0604020202020204" pitchFamily="34" charset="0"/>
                      </a:endParaRPr>
                    </a:p>
                  </a:txBody>
                  <a:tcPr marL="108000" marR="72000" marT="93600" marB="93600" anchor="ctr" horzOverflow="overflow"/>
                </a:tc>
                <a:tc>
                  <a:txBody>
                    <a:bodyPr/>
                    <a:lstStyle/>
                    <a:p>
                      <a:pPr algn="ctr" rtl="0" fontAlgn="ctr"/>
                      <a:r>
                        <a:rPr lang="es-ES" sz="1600" b="0" i="0" u="none" strike="noStrike" dirty="0">
                          <a:solidFill>
                            <a:srgbClr val="000000"/>
                          </a:solidFill>
                          <a:effectLst/>
                          <a:latin typeface="Arial" panose="020B0604020202020204" pitchFamily="34" charset="0"/>
                        </a:rPr>
                        <a:t>A/R</a:t>
                      </a:r>
                    </a:p>
                  </a:txBody>
                  <a:tcPr marL="9525" marR="9525" marT="9525" marB="0" anchor="ctr"/>
                </a:tc>
                <a:tc>
                  <a:txBody>
                    <a:bodyPr/>
                    <a:lstStyle/>
                    <a:p>
                      <a:pPr algn="ctr" rtl="0" fontAlgn="ctr"/>
                      <a:r>
                        <a:rPr lang="es-ES" sz="1600" b="0" i="0" u="none" strike="noStrike" dirty="0">
                          <a:solidFill>
                            <a:srgbClr val="000000"/>
                          </a:solidFill>
                          <a:effectLst/>
                          <a:latin typeface="Arial" panose="020B0604020202020204" pitchFamily="34" charset="0"/>
                        </a:rPr>
                        <a:t>C</a:t>
                      </a: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s-ES" sz="1600" b="0" i="0" u="none" strike="noStrike" dirty="0">
                          <a:solidFill>
                            <a:srgbClr val="000000"/>
                          </a:solidFill>
                          <a:effectLst/>
                          <a:latin typeface="Arial" panose="020B0604020202020204" pitchFamily="34" charset="0"/>
                        </a:rPr>
                        <a:t>I</a:t>
                      </a: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1570785459"/>
                  </a:ext>
                </a:extLst>
              </a:tr>
              <a:tr h="648000">
                <a:tc>
                  <a:txBody>
                    <a:bodyPr/>
                    <a:lstStyle/>
                    <a:p>
                      <a:pPr marL="0" marR="0" lvl="0" indent="0" algn="l" rtl="0" eaLnBrk="1" fontAlgn="base" latinLnBrk="0" hangingPunct="1">
                        <a:lnSpc>
                          <a:spcPct val="100000"/>
                        </a:lnSpc>
                        <a:spcBef>
                          <a:spcPct val="0"/>
                        </a:spcBef>
                        <a:spcAft>
                          <a:spcPct val="0"/>
                        </a:spcAft>
                        <a:buClrTx/>
                        <a:buSzTx/>
                        <a:buFontTx/>
                        <a:buNone/>
                      </a:pPr>
                      <a:r>
                        <a:rPr kumimoji="0" lang="en-US" altLang="en-US" sz="2300" b="0" i="0" u="none" strike="noStrike" cap="none" normalizeH="0" baseline="0" dirty="0">
                          <a:ln>
                            <a:noFill/>
                          </a:ln>
                          <a:solidFill>
                            <a:sysClr val="windowText" lastClr="000000"/>
                          </a:solidFill>
                          <a:effectLst/>
                          <a:latin typeface="+mn-lt"/>
                          <a:cs typeface="Arial" panose="020B0604020202020204" pitchFamily="34" charset="0"/>
                        </a:rPr>
                        <a:t>Instalar Dependencias On-premise</a:t>
                      </a:r>
                    </a:p>
                  </a:txBody>
                  <a:tcPr marL="108000" marR="72000" marT="93600" marB="93600" anchor="ctr" horzOverflow="overflow"/>
                </a:tc>
                <a:tc>
                  <a:txBody>
                    <a:bodyPr/>
                    <a:lstStyle/>
                    <a:p>
                      <a:pPr algn="ctr" rtl="0" fontAlgn="ctr"/>
                      <a:r>
                        <a:rPr lang="es-ES" sz="1600" b="0" i="0" u="none" strike="noStrike" dirty="0">
                          <a:solidFill>
                            <a:srgbClr val="000000"/>
                          </a:solidFill>
                          <a:effectLst/>
                          <a:latin typeface="Arial" panose="020B0604020202020204" pitchFamily="34" charset="0"/>
                        </a:rPr>
                        <a:t>I</a:t>
                      </a:r>
                    </a:p>
                  </a:txBody>
                  <a:tcPr marL="9525" marR="9525" marT="9525" marB="0" anchor="ctr"/>
                </a:tc>
                <a:tc>
                  <a:txBody>
                    <a:bodyPr/>
                    <a:lstStyle/>
                    <a:p>
                      <a:pPr algn="ctr" rtl="0" fontAlgn="ctr"/>
                      <a:r>
                        <a:rPr lang="es-ES" sz="1600" b="0" i="0" u="none" strike="noStrike" dirty="0">
                          <a:solidFill>
                            <a:srgbClr val="000000"/>
                          </a:solidFill>
                          <a:effectLst/>
                          <a:latin typeface="Arial" panose="020B0604020202020204" pitchFamily="34" charset="0"/>
                        </a:rPr>
                        <a:t>A/R</a:t>
                      </a: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s-ES" sz="1600" b="0" i="0" u="none" strike="noStrike" dirty="0">
                          <a:solidFill>
                            <a:srgbClr val="000000"/>
                          </a:solidFill>
                          <a:effectLst/>
                          <a:latin typeface="Arial" panose="020B0604020202020204" pitchFamily="34" charset="0"/>
                        </a:rPr>
                        <a:t>I</a:t>
                      </a: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1885102187"/>
                  </a:ext>
                </a:extLst>
              </a:tr>
              <a:tr h="648000">
                <a:tc>
                  <a:txBody>
                    <a:bodyPr/>
                    <a:lstStyle/>
                    <a:p>
                      <a:pPr marL="0" marR="0" lvl="0" indent="0" algn="l" rtl="0" eaLnBrk="1" fontAlgn="base" latinLnBrk="0" hangingPunct="1">
                        <a:lnSpc>
                          <a:spcPct val="100000"/>
                        </a:lnSpc>
                        <a:spcBef>
                          <a:spcPct val="0"/>
                        </a:spcBef>
                        <a:spcAft>
                          <a:spcPct val="0"/>
                        </a:spcAft>
                        <a:buClrTx/>
                        <a:buSzTx/>
                        <a:buFontTx/>
                        <a:buNone/>
                      </a:pPr>
                      <a:r>
                        <a:rPr kumimoji="0" lang="en-US" altLang="en-US" sz="2300" b="0" i="0" u="none" strike="noStrike" cap="none" normalizeH="0" baseline="0" dirty="0">
                          <a:ln>
                            <a:noFill/>
                          </a:ln>
                          <a:solidFill>
                            <a:sysClr val="windowText" lastClr="000000"/>
                          </a:solidFill>
                          <a:effectLst/>
                          <a:latin typeface="+mn-lt"/>
                          <a:cs typeface="Arial" panose="020B0604020202020204" pitchFamily="34" charset="0"/>
                        </a:rPr>
                        <a:t>Realizar pruebas funcionales manuales</a:t>
                      </a:r>
                    </a:p>
                  </a:txBody>
                  <a:tcPr marL="108000" marR="72000" marT="93600" marB="93600" anchor="ctr" horzOverflow="overflow"/>
                </a:tc>
                <a:tc>
                  <a:txBody>
                    <a:bodyPr/>
                    <a:lstStyle/>
                    <a:p>
                      <a:pPr algn="ctr" rtl="0" fontAlgn="ctr"/>
                      <a:r>
                        <a:rPr lang="es-ES" sz="1600" b="0" i="0" u="none" strike="noStrike" dirty="0">
                          <a:solidFill>
                            <a:srgbClr val="000000"/>
                          </a:solidFill>
                          <a:effectLst/>
                          <a:latin typeface="Arial" panose="020B0604020202020204" pitchFamily="34" charset="0"/>
                        </a:rPr>
                        <a:t>A/R</a:t>
                      </a: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b="0" i="0" u="none" strike="noStrike" dirty="0">
                          <a:solidFill>
                            <a:srgbClr val="000000"/>
                          </a:solidFill>
                          <a:effectLst/>
                          <a:latin typeface="Arial" panose="020B0604020202020204" pitchFamily="34" charset="0"/>
                        </a:rPr>
                        <a:t>R</a:t>
                      </a:r>
                    </a:p>
                  </a:txBody>
                  <a:tcPr marL="9525" marR="9525" marT="9525" marB="0" anchor="ctr"/>
                </a:tc>
                <a:tc>
                  <a:txBody>
                    <a:bodyPr/>
                    <a:lstStyle/>
                    <a:p>
                      <a:pPr algn="ctr" fontAlgn="ctr"/>
                      <a:r>
                        <a:rPr lang="es-ES" sz="1600" b="0" i="0" u="none" strike="noStrike" dirty="0">
                          <a:solidFill>
                            <a:srgbClr val="000000"/>
                          </a:solidFill>
                          <a:effectLst/>
                          <a:latin typeface="Arial" panose="020B0604020202020204" pitchFamily="34" charset="0"/>
                        </a:rPr>
                        <a:t>C</a:t>
                      </a: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4209250993"/>
                  </a:ext>
                </a:extLst>
              </a:tr>
              <a:tr h="648000">
                <a:tc>
                  <a:txBody>
                    <a:bodyPr/>
                    <a:lstStyle/>
                    <a:p>
                      <a:r>
                        <a:rPr lang="es-ES" sz="2300" b="0" i="0" u="none" strike="noStrike" kern="1200" cap="none" spc="0" normalizeH="0" baseline="0" dirty="0">
                          <a:ln>
                            <a:noFill/>
                          </a:ln>
                          <a:solidFill>
                            <a:srgbClr val="000000"/>
                          </a:solidFill>
                          <a:effectLst/>
                          <a:uFillTx/>
                          <a:latin typeface="Arial" panose="020B0604020202020204" pitchFamily="34" charset="0"/>
                          <a:ea typeface="+mn-ea"/>
                          <a:cs typeface="Arial" panose="020B0604020202020204" pitchFamily="34" charset="0"/>
                        </a:rPr>
                        <a:t>Realizar pruebas de Rendimiento manuales</a:t>
                      </a:r>
                    </a:p>
                  </a:txBody>
                  <a:tcPr marL="108000" marR="72000" marT="93600" marB="93600" anchor="ctr" horzOverflow="overflow"/>
                </a:tc>
                <a:tc>
                  <a:txBody>
                    <a:bodyPr/>
                    <a:lstStyle/>
                    <a:p>
                      <a:pPr algn="ctr" rtl="0" fontAlgn="ctr"/>
                      <a:r>
                        <a:rPr lang="es-ES" sz="1600" b="0" i="0" u="none" strike="noStrike" dirty="0">
                          <a:solidFill>
                            <a:srgbClr val="000000"/>
                          </a:solidFill>
                          <a:effectLst/>
                          <a:latin typeface="Arial" panose="020B0604020202020204" pitchFamily="34" charset="0"/>
                        </a:rPr>
                        <a:t>A/R</a:t>
                      </a: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marL="0" algn="ctr" defTabSz="1828800" rtl="0" eaLnBrk="1" fontAlgn="ctr" latinLnBrk="0" hangingPunct="1"/>
                      <a:endParaRPr lang="es-ES" sz="1600" b="0" i="0" u="none" strike="noStrike" kern="1200" dirty="0">
                        <a:solidFill>
                          <a:srgbClr val="000000"/>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r>
                        <a:rPr lang="es-ES" sz="1600" b="0" i="0" u="none" strike="noStrike" kern="1200" dirty="0">
                          <a:solidFill>
                            <a:srgbClr val="000000"/>
                          </a:solidFill>
                          <a:effectLst/>
                          <a:latin typeface="Arial" panose="020B0604020202020204" pitchFamily="34" charset="0"/>
                          <a:ea typeface="+mn-ea"/>
                          <a:cs typeface="+mn-cs"/>
                        </a:rPr>
                        <a:t>C</a:t>
                      </a: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s-ES" sz="1600" b="0" i="0" u="none" strike="noStrike" dirty="0">
                          <a:solidFill>
                            <a:srgbClr val="000000"/>
                          </a:solidFill>
                          <a:effectLst/>
                          <a:latin typeface="Arial" panose="020B0604020202020204" pitchFamily="34" charset="0"/>
                        </a:rPr>
                        <a:t>C</a:t>
                      </a: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4083819196"/>
                  </a:ext>
                </a:extLst>
              </a:tr>
              <a:tr h="648000">
                <a:tc>
                  <a:txBody>
                    <a:bodyPr/>
                    <a:lstStyle/>
                    <a:p>
                      <a:pPr marL="0" marR="0" lvl="0" indent="0" algn="l" defTabSz="1828800" rtl="0" eaLnBrk="1" fontAlgn="ctr" latinLnBrk="0" hangingPunct="1">
                        <a:lnSpc>
                          <a:spcPct val="100000"/>
                        </a:lnSpc>
                        <a:spcBef>
                          <a:spcPct val="0"/>
                        </a:spcBef>
                        <a:spcAft>
                          <a:spcPct val="0"/>
                        </a:spcAft>
                        <a:buClrTx/>
                        <a:buSzTx/>
                        <a:buFontTx/>
                        <a:buNone/>
                      </a:pPr>
                      <a:r>
                        <a:rPr lang="en-US" altLang="en-US" sz="2300" b="0" i="0" u="none" strike="noStrike" kern="1200" cap="none" spc="0" normalizeH="0" baseline="0" dirty="0">
                          <a:ln>
                            <a:noFill/>
                          </a:ln>
                          <a:solidFill>
                            <a:srgbClr val="000000"/>
                          </a:solidFill>
                          <a:effectLst/>
                          <a:uFillTx/>
                          <a:latin typeface="Arial" panose="020B0604020202020204" pitchFamily="34" charset="0"/>
                          <a:ea typeface="+mn-ea"/>
                          <a:cs typeface="Arial" panose="020B0604020202020204" pitchFamily="34" charset="0"/>
                        </a:rPr>
                        <a:t>Realizar pruebas de Resiliencia manuales</a:t>
                      </a:r>
                    </a:p>
                  </a:txBody>
                  <a:tcPr marL="108000" marR="72000" marT="93600" marB="93600" anchor="ctr" horzOverflow="overflow">
                    <a:solidFill>
                      <a:schemeClr val="accent1">
                        <a:lumMod val="20000"/>
                        <a:lumOff val="80000"/>
                      </a:schemeClr>
                    </a:solidFill>
                  </a:tcPr>
                </a:tc>
                <a:tc>
                  <a:txBody>
                    <a:bodyPr/>
                    <a:lstStyle/>
                    <a:p>
                      <a:pPr algn="ctr" rtl="0" fontAlgn="ctr"/>
                      <a:r>
                        <a:rPr lang="es-ES" sz="1600" b="0" i="0" u="none" strike="noStrike" dirty="0">
                          <a:solidFill>
                            <a:srgbClr val="000000"/>
                          </a:solidFill>
                          <a:effectLst/>
                          <a:latin typeface="Arial" panose="020B0604020202020204" pitchFamily="34" charset="0"/>
                        </a:rPr>
                        <a:t>A/R</a:t>
                      </a:r>
                    </a:p>
                  </a:txBody>
                  <a:tcPr marL="9525" marR="9525" marT="9525" marB="0" anchor="ctr">
                    <a:solidFill>
                      <a:schemeClr val="accent1">
                        <a:lumMod val="20000"/>
                        <a:lumOff val="80000"/>
                      </a:schemeClr>
                    </a:solidFill>
                  </a:tcPr>
                </a:tc>
                <a:tc>
                  <a:txBody>
                    <a:bodyPr/>
                    <a:lstStyle/>
                    <a:p>
                      <a:pPr marL="0" algn="ctr" defTabSz="1828800" rtl="0" eaLnBrk="1" fontAlgn="ctr" latinLnBrk="0" hangingPunct="1"/>
                      <a:r>
                        <a:rPr lang="es-ES" sz="1600" b="0" i="0" u="none" strike="noStrike" kern="1200" dirty="0">
                          <a:solidFill>
                            <a:srgbClr val="000000"/>
                          </a:solidFill>
                          <a:effectLst/>
                          <a:latin typeface="Arial" panose="020B0604020202020204" pitchFamily="34" charset="0"/>
                          <a:ea typeface="+mn-ea"/>
                          <a:cs typeface="+mn-cs"/>
                        </a:rPr>
                        <a:t>I</a:t>
                      </a:r>
                    </a:p>
                  </a:txBody>
                  <a:tcPr marL="9525" marR="9525" marT="9525" marB="0" anchor="ctr">
                    <a:solidFill>
                      <a:schemeClr val="accent1">
                        <a:lumMod val="20000"/>
                        <a:lumOff val="80000"/>
                      </a:schemeClr>
                    </a:solidFill>
                  </a:tcPr>
                </a:tc>
                <a:tc>
                  <a:txBody>
                    <a:bodyPr/>
                    <a:lstStyle/>
                    <a:p>
                      <a:pPr marL="0" algn="ctr" defTabSz="1828800" rtl="0" eaLnBrk="1" fontAlgn="ctr" latinLnBrk="0" hangingPunct="1"/>
                      <a:r>
                        <a:rPr lang="es-ES" sz="1600" b="0" i="0" u="none" strike="noStrike" kern="1200" dirty="0">
                          <a:solidFill>
                            <a:srgbClr val="000000"/>
                          </a:solidFill>
                          <a:effectLst/>
                          <a:latin typeface="Arial" panose="020B0604020202020204" pitchFamily="34" charset="0"/>
                          <a:ea typeface="+mn-ea"/>
                          <a:cs typeface="+mn-cs"/>
                        </a:rPr>
                        <a:t>I/R</a:t>
                      </a:r>
                    </a:p>
                  </a:txBody>
                  <a:tcPr marL="9525" marR="9525" marT="9525" marB="0" anchor="ctr">
                    <a:solidFill>
                      <a:schemeClr val="accent1">
                        <a:lumMod val="20000"/>
                        <a:lumOff val="80000"/>
                      </a:schemeClr>
                    </a:solidFill>
                  </a:tcP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accent1">
                        <a:lumMod val="20000"/>
                        <a:lumOff val="80000"/>
                      </a:schemeClr>
                    </a:solidFill>
                  </a:tcPr>
                </a:tc>
                <a:tc>
                  <a:txBody>
                    <a:bodyPr/>
                    <a:lstStyle/>
                    <a:p>
                      <a:pPr algn="ctr" fontAlgn="b"/>
                      <a:r>
                        <a:rPr lang="es-ES" sz="1600" b="0" i="0" u="none" strike="noStrike" kern="1200" dirty="0">
                          <a:solidFill>
                            <a:srgbClr val="000000"/>
                          </a:solidFill>
                          <a:effectLst/>
                          <a:latin typeface="Arial" panose="020B0604020202020204" pitchFamily="34" charset="0"/>
                          <a:ea typeface="+mn-ea"/>
                          <a:cs typeface="+mn-cs"/>
                        </a:rPr>
                        <a:t>C</a:t>
                      </a:r>
                    </a:p>
                  </a:txBody>
                  <a:tcPr marL="9525" marR="9525" marT="9525" marB="0" anchor="ctr">
                    <a:solidFill>
                      <a:schemeClr val="accent1">
                        <a:lumMod val="20000"/>
                        <a:lumOff val="80000"/>
                      </a:schemeClr>
                    </a:solidFill>
                  </a:tcPr>
                </a:tc>
                <a:tc>
                  <a:txBody>
                    <a:bodyPr/>
                    <a:lstStyle/>
                    <a:p>
                      <a:pPr algn="l" fontAlgn="b"/>
                      <a:endParaRPr lang="es-ES"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20000"/>
                        <a:lumOff val="80000"/>
                      </a:schemeClr>
                    </a:solidFill>
                  </a:tcPr>
                </a:tc>
                <a:tc>
                  <a:txBody>
                    <a:bodyPr/>
                    <a:lstStyle/>
                    <a:p>
                      <a:pPr algn="l" fontAlgn="b"/>
                      <a:endParaRPr lang="es-ES"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20000"/>
                        <a:lumOff val="80000"/>
                      </a:schemeClr>
                    </a:solidFill>
                  </a:tcPr>
                </a:tc>
                <a:tc>
                  <a:txBody>
                    <a:bodyPr/>
                    <a:lstStyle/>
                    <a:p>
                      <a:pPr algn="l" fontAlgn="b"/>
                      <a:endParaRPr lang="es-ES"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20000"/>
                        <a:lumOff val="80000"/>
                      </a:schemeClr>
                    </a:solidFill>
                  </a:tcPr>
                </a:tc>
                <a:extLst>
                  <a:ext uri="{0D108BD9-81ED-4DB2-BD59-A6C34878D82A}">
                    <a16:rowId xmlns:a16="http://schemas.microsoft.com/office/drawing/2014/main" val="2872090842"/>
                  </a:ext>
                </a:extLst>
              </a:tr>
              <a:tr h="648000">
                <a:tc>
                  <a:txBody>
                    <a:bodyPr/>
                    <a:lstStyle>
                      <a:lvl1pPr marL="0" marR="0" indent="0" algn="l" defTabSz="1097280" rtl="0" latinLnBrk="0">
                        <a:lnSpc>
                          <a:spcPct val="100000"/>
                        </a:lnSpc>
                        <a:spcBef>
                          <a:spcPct val="40000"/>
                        </a:spcBef>
                        <a:spcAft>
                          <a:spcPts val="0"/>
                        </a:spcAft>
                        <a:buClrTx/>
                        <a:buSzTx/>
                        <a:buFont typeface="Wingdings" panose="05000000000000000000" pitchFamily="2" charset="2"/>
                        <a:buNone/>
                        <a:tabLst/>
                        <a:defRPr sz="16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1pPr>
                      <a:lvl2pPr marL="742950" marR="0" indent="-285750" algn="l" defTabSz="1097280" rtl="0" latinLnBrk="0">
                        <a:lnSpc>
                          <a:spcPct val="100000"/>
                        </a:lnSpc>
                        <a:spcBef>
                          <a:spcPct val="40000"/>
                        </a:spcBef>
                        <a:spcAft>
                          <a:spcPts val="0"/>
                        </a:spcAft>
                        <a:buClrTx/>
                        <a:buSzTx/>
                        <a:buFont typeface="Arial" panose="020B0604020202020204" pitchFamily="34" charset="0"/>
                        <a:buNone/>
                        <a:tabLst/>
                        <a:defRPr sz="14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2pPr>
                      <a:lvl3pPr marL="1143000" marR="0" indent="-228600" algn="l" defTabSz="1097280" rtl="0" latinLnBrk="0">
                        <a:lnSpc>
                          <a:spcPct val="100000"/>
                        </a:lnSpc>
                        <a:spcBef>
                          <a:spcPct val="40000"/>
                        </a:spcBef>
                        <a:spcAft>
                          <a:spcPts val="0"/>
                        </a:spcAft>
                        <a:buClrTx/>
                        <a:buSzTx/>
                        <a:buFontTx/>
                        <a:buNone/>
                        <a:tabLst/>
                        <a:defRPr sz="14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3pPr>
                      <a:lvl4pPr marL="1600200" marR="0" indent="-228600" algn="l" defTabSz="1097280" rtl="0" latinLnBrk="0">
                        <a:lnSpc>
                          <a:spcPct val="100000"/>
                        </a:lnSpc>
                        <a:spcBef>
                          <a:spcPct val="40000"/>
                        </a:spcBef>
                        <a:spcAft>
                          <a:spcPts val="0"/>
                        </a:spcAft>
                        <a:buClrTx/>
                        <a:buSzTx/>
                        <a:buFont typeface="Arial" panose="020B0604020202020204" pitchFamily="34" charset="0"/>
                        <a:buNone/>
                        <a:tabLst/>
                        <a:defRPr sz="14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4pPr>
                      <a:lvl5pPr marL="2057400" marR="0" indent="-228600" algn="l" defTabSz="1097280" rtl="0" latinLnBrk="0">
                        <a:lnSpc>
                          <a:spcPct val="100000"/>
                        </a:lnSpc>
                        <a:spcBef>
                          <a:spcPct val="40000"/>
                        </a:spcBef>
                        <a:spcAft>
                          <a:spcPts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5pPr>
                      <a:lvl6pPr marL="25146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6pPr>
                      <a:lvl7pPr marL="29718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7pPr>
                      <a:lvl8pPr marL="34290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8pPr>
                      <a:lvl9pPr marL="38862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9pPr>
                    </a:lstStyle>
                    <a:p>
                      <a:pPr marL="0" marR="0" lvl="0" indent="0" algn="l" rtl="0" eaLnBrk="1" fontAlgn="base" latinLnBrk="0" hangingPunct="1">
                        <a:lnSpc>
                          <a:spcPct val="100000"/>
                        </a:lnSpc>
                        <a:spcBef>
                          <a:spcPct val="0"/>
                        </a:spcBef>
                        <a:spcAft>
                          <a:spcPct val="0"/>
                        </a:spcAft>
                        <a:buClrTx/>
                        <a:buSzTx/>
                        <a:buFontTx/>
                        <a:buNone/>
                      </a:pPr>
                      <a:r>
                        <a:rPr kumimoji="0" lang="en-US" altLang="en-US" sz="2300" b="0" i="0" u="none" strike="noStrike" cap="none" normalizeH="0" baseline="0" dirty="0">
                          <a:ln>
                            <a:noFill/>
                          </a:ln>
                          <a:solidFill>
                            <a:sysClr val="windowText" lastClr="000000"/>
                          </a:solidFill>
                          <a:effectLst/>
                          <a:latin typeface="+mn-lt"/>
                          <a:cs typeface="Arial"/>
                        </a:rPr>
                        <a:t>Realizar pruebas de seguridad manuales</a:t>
                      </a:r>
                    </a:p>
                  </a:txBody>
                  <a:tcPr marL="108000" marR="72000" marT="93600" marB="93600" anchor="ctr" horzOverflow="overflow"/>
                </a:tc>
                <a:tc>
                  <a:txBody>
                    <a:bodyPr/>
                    <a:lstStyle/>
                    <a:p>
                      <a:pPr algn="ctr" rtl="0" fontAlgn="ctr"/>
                      <a:r>
                        <a:rPr lang="es-ES" sz="1600" b="0" i="0" u="none" strike="noStrike" dirty="0">
                          <a:solidFill>
                            <a:srgbClr val="000000"/>
                          </a:solidFill>
                          <a:effectLst/>
                          <a:latin typeface="Arial" panose="020B0604020202020204" pitchFamily="34" charset="0"/>
                        </a:rPr>
                        <a:t>A/R</a:t>
                      </a: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s-ES" sz="1600" b="0" i="0" u="none" strike="noStrike" dirty="0">
                          <a:solidFill>
                            <a:srgbClr val="000000"/>
                          </a:solidFill>
                          <a:effectLst/>
                          <a:latin typeface="Arial" panose="020B0604020202020204" pitchFamily="34" charset="0"/>
                        </a:rPr>
                        <a:t>C</a:t>
                      </a:r>
                    </a:p>
                  </a:txBody>
                  <a:tcPr marL="9525" marR="9525" marT="9525" marB="0" anchor="ctr"/>
                </a:tc>
                <a:tc>
                  <a:txBody>
                    <a:bodyPr/>
                    <a:lstStyle/>
                    <a:p>
                      <a:pPr algn="ctr" fontAlgn="ctr"/>
                      <a:r>
                        <a:rPr lang="es-ES" sz="1600" b="0" i="0" u="none" strike="noStrike" dirty="0">
                          <a:solidFill>
                            <a:srgbClr val="000000"/>
                          </a:solidFill>
                          <a:effectLst/>
                          <a:latin typeface="Arial" panose="020B0604020202020204" pitchFamily="34" charset="0"/>
                        </a:rPr>
                        <a:t>C</a:t>
                      </a: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s-ES" sz="1600" b="0" i="0" u="none" strike="noStrike" dirty="0">
                          <a:solidFill>
                            <a:srgbClr val="000000"/>
                          </a:solidFill>
                          <a:effectLst/>
                          <a:latin typeface="Arial" panose="020B0604020202020204" pitchFamily="34" charset="0"/>
                        </a:rPr>
                        <a:t>C</a:t>
                      </a:r>
                    </a:p>
                  </a:txBody>
                  <a:tcPr marL="9525" marR="9525" marT="9525" marB="0" anchor="ctr"/>
                </a:tc>
                <a:extLst>
                  <a:ext uri="{0D108BD9-81ED-4DB2-BD59-A6C34878D82A}">
                    <a16:rowId xmlns:a16="http://schemas.microsoft.com/office/drawing/2014/main" val="1279947362"/>
                  </a:ext>
                </a:extLst>
              </a:tr>
              <a:tr h="648000">
                <a:tc>
                  <a:txBody>
                    <a:bodyPr/>
                    <a:lstStyle/>
                    <a:p>
                      <a:pPr marL="0" marR="0" lvl="0" indent="0" algn="l" rtl="0" eaLnBrk="1" fontAlgn="base" latinLnBrk="0" hangingPunct="1">
                        <a:lnSpc>
                          <a:spcPct val="100000"/>
                        </a:lnSpc>
                        <a:spcBef>
                          <a:spcPct val="0"/>
                        </a:spcBef>
                        <a:spcAft>
                          <a:spcPct val="0"/>
                        </a:spcAft>
                        <a:buClrTx/>
                        <a:buSzTx/>
                        <a:buFontTx/>
                        <a:buNone/>
                      </a:pPr>
                      <a:r>
                        <a:rPr kumimoji="0" lang="en-US" altLang="en-US" sz="2300" b="0" i="0" u="none" strike="noStrike" cap="none" normalizeH="0" baseline="0" dirty="0">
                          <a:ln>
                            <a:noFill/>
                          </a:ln>
                          <a:solidFill>
                            <a:sysClr val="windowText" lastClr="000000"/>
                          </a:solidFill>
                          <a:effectLst/>
                          <a:latin typeface="+mn-lt"/>
                          <a:cs typeface="Arial" panose="020B0604020202020204" pitchFamily="34" charset="0"/>
                        </a:rPr>
                        <a:t>Registrar Incidencias de pruebas en Jira</a:t>
                      </a:r>
                    </a:p>
                  </a:txBody>
                  <a:tcPr marL="108000" marR="72000" marT="93600" marB="93600" anchor="ctr" horzOverflow="overflow">
                    <a:solidFill>
                      <a:schemeClr val="accent1">
                        <a:lumMod val="20000"/>
                        <a:lumOff val="80000"/>
                      </a:schemeClr>
                    </a:solidFill>
                  </a:tcPr>
                </a:tc>
                <a:tc>
                  <a:txBody>
                    <a:bodyPr/>
                    <a:lstStyle/>
                    <a:p>
                      <a:pPr marL="0" marR="0" lvl="0" indent="0" algn="ctr" defTabSz="1828800" rtl="0" eaLnBrk="1" fontAlgn="ctr" latinLnBrk="0" hangingPunct="1">
                        <a:lnSpc>
                          <a:spcPct val="100000"/>
                        </a:lnSpc>
                        <a:spcBef>
                          <a:spcPts val="0"/>
                        </a:spcBef>
                        <a:spcAft>
                          <a:spcPts val="0"/>
                        </a:spcAft>
                        <a:buClrTx/>
                        <a:buSzTx/>
                        <a:buFontTx/>
                        <a:buNone/>
                        <a:tabLst/>
                        <a:defRPr/>
                      </a:pPr>
                      <a:r>
                        <a:rPr lang="es-ES" sz="1600" b="0" i="0" u="none" strike="noStrike" dirty="0">
                          <a:solidFill>
                            <a:srgbClr val="000000"/>
                          </a:solidFill>
                          <a:effectLst/>
                          <a:latin typeface="Arial" panose="020B0604020202020204" pitchFamily="34" charset="0"/>
                        </a:rPr>
                        <a:t>R</a:t>
                      </a:r>
                    </a:p>
                  </a:txBody>
                  <a:tcPr marL="9525" marR="9525" marT="9525" marB="0" anchor="ctr">
                    <a:solidFill>
                      <a:schemeClr val="accent1">
                        <a:lumMod val="20000"/>
                        <a:lumOff val="80000"/>
                      </a:schemeClr>
                    </a:solidFill>
                  </a:tcPr>
                </a:tc>
                <a:tc>
                  <a:txBody>
                    <a:bodyPr/>
                    <a:lstStyle/>
                    <a:p>
                      <a:pPr marL="0" marR="0" lvl="0" indent="0" algn="ctr" defTabSz="1828800" rtl="0" eaLnBrk="1" fontAlgn="ctr" latinLnBrk="0" hangingPunct="1">
                        <a:lnSpc>
                          <a:spcPct val="100000"/>
                        </a:lnSpc>
                        <a:spcBef>
                          <a:spcPts val="0"/>
                        </a:spcBef>
                        <a:spcAft>
                          <a:spcPts val="0"/>
                        </a:spcAft>
                        <a:buClrTx/>
                        <a:buSzTx/>
                        <a:buFontTx/>
                        <a:buNone/>
                        <a:tabLst/>
                        <a:defRPr/>
                      </a:pPr>
                      <a:r>
                        <a:rPr lang="es-ES" sz="1600" b="0" i="0" u="none" strike="noStrike" dirty="0">
                          <a:solidFill>
                            <a:srgbClr val="000000"/>
                          </a:solidFill>
                          <a:effectLst/>
                          <a:latin typeface="Arial" panose="020B0604020202020204" pitchFamily="34" charset="0"/>
                        </a:rPr>
                        <a:t>R</a:t>
                      </a:r>
                    </a:p>
                  </a:txBody>
                  <a:tcPr marL="9525" marR="9525" marT="9525" marB="0" anchor="ctr">
                    <a:solidFill>
                      <a:schemeClr val="accent1">
                        <a:lumMod val="20000"/>
                        <a:lumOff val="80000"/>
                      </a:schemeClr>
                    </a:solidFill>
                  </a:tcPr>
                </a:tc>
                <a:tc>
                  <a:txBody>
                    <a:bodyPr/>
                    <a:lstStyle/>
                    <a:p>
                      <a:pPr marL="0" marR="0" lvl="0" indent="0" algn="ctr" defTabSz="1828800" rtl="0" eaLnBrk="1" fontAlgn="ctr" latinLnBrk="0" hangingPunct="1">
                        <a:lnSpc>
                          <a:spcPct val="100000"/>
                        </a:lnSpc>
                        <a:spcBef>
                          <a:spcPts val="0"/>
                        </a:spcBef>
                        <a:spcAft>
                          <a:spcPts val="0"/>
                        </a:spcAft>
                        <a:buClrTx/>
                        <a:buSzTx/>
                        <a:buFontTx/>
                        <a:buNone/>
                        <a:tabLst/>
                        <a:defRPr/>
                      </a:pPr>
                      <a:r>
                        <a:rPr lang="es-ES" sz="1600" b="0" i="0" u="none" strike="noStrike" dirty="0">
                          <a:solidFill>
                            <a:srgbClr val="000000"/>
                          </a:solidFill>
                          <a:effectLst/>
                          <a:latin typeface="Arial" panose="020B0604020202020204" pitchFamily="34" charset="0"/>
                        </a:rPr>
                        <a:t>R</a:t>
                      </a:r>
                    </a:p>
                  </a:txBody>
                  <a:tcPr marL="9525" marR="9525" marT="9525" marB="0" anchor="ctr">
                    <a:solidFill>
                      <a:schemeClr val="accent1">
                        <a:lumMod val="20000"/>
                        <a:lumOff val="80000"/>
                      </a:schemeClr>
                    </a:solidFill>
                  </a:tcP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accent1">
                        <a:lumMod val="20000"/>
                        <a:lumOff val="80000"/>
                      </a:schemeClr>
                    </a:solidFill>
                  </a:tcPr>
                </a:tc>
                <a:tc>
                  <a:txBody>
                    <a:bodyPr/>
                    <a:lstStyle/>
                    <a:p>
                      <a:pPr algn="ctr" fontAlgn="b"/>
                      <a:r>
                        <a:rPr lang="es-ES" sz="1600" b="0" i="0" u="none" strike="noStrike" kern="1200" dirty="0">
                          <a:solidFill>
                            <a:srgbClr val="000000"/>
                          </a:solidFill>
                          <a:effectLst/>
                          <a:latin typeface="Arial" panose="020B0604020202020204" pitchFamily="34" charset="0"/>
                          <a:ea typeface="+mn-ea"/>
                          <a:cs typeface="+mn-cs"/>
                        </a:rPr>
                        <a:t>A/R</a:t>
                      </a:r>
                    </a:p>
                  </a:txBody>
                  <a:tcPr marL="9525" marR="9525" marT="9525" marB="0" anchor="ctr">
                    <a:solidFill>
                      <a:schemeClr val="accent1">
                        <a:lumMod val="20000"/>
                        <a:lumOff val="80000"/>
                      </a:schemeClr>
                    </a:solidFill>
                  </a:tcPr>
                </a:tc>
                <a:tc>
                  <a:txBody>
                    <a:bodyPr/>
                    <a:lstStyle/>
                    <a:p>
                      <a:pPr marL="0" algn="ctr" defTabSz="1828800" rtl="0" eaLnBrk="1" fontAlgn="ctr" latinLnBrk="0" hangingPunct="1"/>
                      <a:endParaRPr lang="es-ES" sz="1600" b="0" i="0" u="none" strike="noStrike" kern="1200" dirty="0">
                        <a:solidFill>
                          <a:srgbClr val="000000"/>
                        </a:solidFill>
                        <a:effectLst/>
                        <a:latin typeface="Arial" panose="020B0604020202020204" pitchFamily="34" charset="0"/>
                        <a:ea typeface="+mn-ea"/>
                        <a:cs typeface="+mn-cs"/>
                      </a:endParaRPr>
                    </a:p>
                  </a:txBody>
                  <a:tcPr marL="9525" marR="9525" marT="9525" marB="0" anchor="b">
                    <a:solidFill>
                      <a:schemeClr val="accent1">
                        <a:lumMod val="20000"/>
                        <a:lumOff val="80000"/>
                      </a:schemeClr>
                    </a:solidFill>
                  </a:tcPr>
                </a:tc>
                <a:tc>
                  <a:txBody>
                    <a:bodyPr/>
                    <a:lstStyle/>
                    <a:p>
                      <a:pPr marL="0" algn="ctr" defTabSz="1828800" rtl="0" eaLnBrk="1" fontAlgn="ctr" latinLnBrk="0" hangingPunct="1"/>
                      <a:endParaRPr lang="es-ES" sz="1600" b="0" i="0" u="none" strike="noStrike" kern="1200" dirty="0">
                        <a:solidFill>
                          <a:srgbClr val="000000"/>
                        </a:solidFill>
                        <a:effectLst/>
                        <a:latin typeface="Arial" panose="020B0604020202020204" pitchFamily="34" charset="0"/>
                        <a:ea typeface="+mn-ea"/>
                        <a:cs typeface="+mn-cs"/>
                      </a:endParaRPr>
                    </a:p>
                  </a:txBody>
                  <a:tcPr marL="9525" marR="9525" marT="9525" marB="0" anchor="ctr">
                    <a:solidFill>
                      <a:schemeClr val="accent1">
                        <a:lumMod val="20000"/>
                        <a:lumOff val="80000"/>
                      </a:schemeClr>
                    </a:solidFill>
                  </a:tcPr>
                </a:tc>
                <a:tc>
                  <a:txBody>
                    <a:bodyPr/>
                    <a:lstStyle/>
                    <a:p>
                      <a:pPr marL="0" algn="ctr" defTabSz="1828800" rtl="0" eaLnBrk="1" fontAlgn="ctr" latinLnBrk="0" hangingPunct="1"/>
                      <a:endParaRPr lang="es-ES" sz="1600" b="0" i="0" u="none" strike="noStrike" kern="1200" dirty="0">
                        <a:solidFill>
                          <a:srgbClr val="000000"/>
                        </a:solidFill>
                        <a:effectLst/>
                        <a:latin typeface="Arial" panose="020B0604020202020204" pitchFamily="34" charset="0"/>
                        <a:ea typeface="+mn-ea"/>
                        <a:cs typeface="+mn-cs"/>
                      </a:endParaRPr>
                    </a:p>
                  </a:txBody>
                  <a:tcPr marL="9525" marR="9525" marT="9525" marB="0" anchor="ctr">
                    <a:solidFill>
                      <a:schemeClr val="accent1">
                        <a:lumMod val="20000"/>
                        <a:lumOff val="80000"/>
                      </a:schemeClr>
                    </a:solidFill>
                  </a:tcPr>
                </a:tc>
                <a:extLst>
                  <a:ext uri="{0D108BD9-81ED-4DB2-BD59-A6C34878D82A}">
                    <a16:rowId xmlns:a16="http://schemas.microsoft.com/office/drawing/2014/main" val="2714993342"/>
                  </a:ext>
                </a:extLst>
              </a:tr>
              <a:tr h="648000">
                <a:tc>
                  <a:txBody>
                    <a:bodyPr/>
                    <a:lstStyle>
                      <a:lvl1pPr marL="0" marR="0" indent="0" algn="l" defTabSz="1097280" rtl="0" latinLnBrk="0">
                        <a:lnSpc>
                          <a:spcPct val="100000"/>
                        </a:lnSpc>
                        <a:spcBef>
                          <a:spcPct val="40000"/>
                        </a:spcBef>
                        <a:spcAft>
                          <a:spcPts val="0"/>
                        </a:spcAft>
                        <a:buClrTx/>
                        <a:buSzTx/>
                        <a:buFont typeface="Wingdings" panose="05000000000000000000" pitchFamily="2" charset="2"/>
                        <a:buNone/>
                        <a:tabLst/>
                        <a:defRPr sz="16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1pPr>
                      <a:lvl2pPr marL="742950" marR="0" indent="-285750" algn="l" defTabSz="1097280" rtl="0" latinLnBrk="0">
                        <a:lnSpc>
                          <a:spcPct val="100000"/>
                        </a:lnSpc>
                        <a:spcBef>
                          <a:spcPct val="40000"/>
                        </a:spcBef>
                        <a:spcAft>
                          <a:spcPts val="0"/>
                        </a:spcAft>
                        <a:buClrTx/>
                        <a:buSzTx/>
                        <a:buFont typeface="Arial" panose="020B0604020202020204" pitchFamily="34" charset="0"/>
                        <a:buNone/>
                        <a:tabLst/>
                        <a:defRPr sz="14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2pPr>
                      <a:lvl3pPr marL="1143000" marR="0" indent="-228600" algn="l" defTabSz="1097280" rtl="0" latinLnBrk="0">
                        <a:lnSpc>
                          <a:spcPct val="100000"/>
                        </a:lnSpc>
                        <a:spcBef>
                          <a:spcPct val="40000"/>
                        </a:spcBef>
                        <a:spcAft>
                          <a:spcPts val="0"/>
                        </a:spcAft>
                        <a:buClrTx/>
                        <a:buSzTx/>
                        <a:buFontTx/>
                        <a:buNone/>
                        <a:tabLst/>
                        <a:defRPr sz="14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3pPr>
                      <a:lvl4pPr marL="1600200" marR="0" indent="-228600" algn="l" defTabSz="1097280" rtl="0" latinLnBrk="0">
                        <a:lnSpc>
                          <a:spcPct val="100000"/>
                        </a:lnSpc>
                        <a:spcBef>
                          <a:spcPct val="40000"/>
                        </a:spcBef>
                        <a:spcAft>
                          <a:spcPts val="0"/>
                        </a:spcAft>
                        <a:buClrTx/>
                        <a:buSzTx/>
                        <a:buFont typeface="Arial" panose="020B0604020202020204" pitchFamily="34" charset="0"/>
                        <a:buNone/>
                        <a:tabLst/>
                        <a:defRPr sz="14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4pPr>
                      <a:lvl5pPr marL="2057400" marR="0" indent="-228600" algn="l" defTabSz="1097280" rtl="0" latinLnBrk="0">
                        <a:lnSpc>
                          <a:spcPct val="100000"/>
                        </a:lnSpc>
                        <a:spcBef>
                          <a:spcPct val="40000"/>
                        </a:spcBef>
                        <a:spcAft>
                          <a:spcPts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5pPr>
                      <a:lvl6pPr marL="25146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6pPr>
                      <a:lvl7pPr marL="29718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7pPr>
                      <a:lvl8pPr marL="34290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8pPr>
                      <a:lvl9pPr marL="38862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9pPr>
                    </a:lstStyle>
                    <a:p>
                      <a:pPr lvl="0" algn="l">
                        <a:lnSpc>
                          <a:spcPct val="100000"/>
                        </a:lnSpc>
                        <a:spcBef>
                          <a:spcPts val="0"/>
                        </a:spcBef>
                        <a:spcAft>
                          <a:spcPts val="0"/>
                        </a:spcAft>
                        <a:buNone/>
                      </a:pPr>
                      <a:r>
                        <a:rPr lang="en-US" sz="2300" b="0" i="0" u="none" strike="noStrike" kern="1200" cap="none" spc="0" normalizeH="0" baseline="0" dirty="0">
                          <a:ln>
                            <a:noFill/>
                          </a:ln>
                          <a:solidFill>
                            <a:srgbClr val="000000"/>
                          </a:solidFill>
                          <a:effectLst/>
                          <a:uFillTx/>
                          <a:latin typeface="Arial" panose="020B0604020202020204" pitchFamily="34" charset="0"/>
                          <a:ea typeface="+mn-ea"/>
                          <a:cs typeface="Arial" panose="020B0604020202020204" pitchFamily="34" charset="0"/>
                        </a:rPr>
                        <a:t>Revisar Incidencias reportadas</a:t>
                      </a:r>
                    </a:p>
                  </a:txBody>
                  <a:tcPr marL="108000" marR="72000" marT="93600" marB="93600" anchor="ctr" horzOverflow="overflow"/>
                </a:tc>
                <a:tc>
                  <a:txBody>
                    <a:bodyPr/>
                    <a:lstStyle/>
                    <a:p>
                      <a:pPr marL="0" marR="0" lvl="0" indent="0" algn="ctr" defTabSz="1828800" rtl="0" eaLnBrk="1" fontAlgn="ctr" latinLnBrk="0" hangingPunct="1">
                        <a:lnSpc>
                          <a:spcPct val="100000"/>
                        </a:lnSpc>
                        <a:spcBef>
                          <a:spcPts val="0"/>
                        </a:spcBef>
                        <a:spcAft>
                          <a:spcPts val="0"/>
                        </a:spcAft>
                        <a:buClrTx/>
                        <a:buSzTx/>
                        <a:buFontTx/>
                        <a:buNone/>
                        <a:tabLst/>
                        <a:defRPr/>
                      </a:pPr>
                      <a:r>
                        <a:rPr lang="es-ES" sz="1600" b="0" i="0" u="none" strike="noStrike" dirty="0">
                          <a:solidFill>
                            <a:srgbClr val="000000"/>
                          </a:solidFill>
                          <a:effectLst/>
                          <a:latin typeface="Arial" panose="020B0604020202020204" pitchFamily="34" charset="0"/>
                        </a:rPr>
                        <a:t>A/R</a:t>
                      </a: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s-ES" sz="1600" b="0" i="0" u="none" strike="noStrike" dirty="0">
                          <a:solidFill>
                            <a:srgbClr val="000000"/>
                          </a:solidFill>
                          <a:effectLst/>
                          <a:latin typeface="Arial" panose="020B0604020202020204" pitchFamily="34" charset="0"/>
                        </a:rPr>
                        <a:t>I</a:t>
                      </a:r>
                    </a:p>
                  </a:txBody>
                  <a:tcPr marL="9525" marR="9525" marT="9525" marB="0" anchor="ctr"/>
                </a:tc>
                <a:tc>
                  <a:txBody>
                    <a:bodyPr/>
                    <a:lstStyle/>
                    <a:p>
                      <a:pPr algn="ctr" rtl="0" fontAlgn="ctr"/>
                      <a:r>
                        <a:rPr lang="es-ES" sz="1600" b="0" i="0" u="none" strike="noStrike" dirty="0">
                          <a:solidFill>
                            <a:srgbClr val="000000"/>
                          </a:solidFill>
                          <a:effectLst/>
                          <a:latin typeface="Arial" panose="020B0604020202020204" pitchFamily="34" charset="0"/>
                        </a:rPr>
                        <a:t>I</a:t>
                      </a:r>
                    </a:p>
                  </a:txBody>
                  <a:tcPr marL="9525" marR="9525" marT="9525" marB="0" anchor="ctr"/>
                </a:tc>
                <a:tc>
                  <a:txBody>
                    <a:bodyPr/>
                    <a:lstStyle/>
                    <a:p>
                      <a:pPr algn="ctr" rtl="0" fontAlgn="ctr"/>
                      <a:r>
                        <a:rPr lang="es-ES" sz="1600" b="0" i="0" u="none" strike="noStrike" dirty="0">
                          <a:solidFill>
                            <a:srgbClr val="000000"/>
                          </a:solidFill>
                          <a:effectLst/>
                          <a:latin typeface="Arial" panose="020B0604020202020204" pitchFamily="34" charset="0"/>
                        </a:rPr>
                        <a:t>I</a:t>
                      </a: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b="0" i="0" u="none" strike="noStrike" dirty="0">
                          <a:solidFill>
                            <a:srgbClr val="000000"/>
                          </a:solidFill>
                          <a:effectLst/>
                          <a:latin typeface="Arial" panose="020B0604020202020204" pitchFamily="34" charset="0"/>
                        </a:rPr>
                        <a:t>I</a:t>
                      </a:r>
                    </a:p>
                  </a:txBody>
                  <a:tcPr marL="9525" marR="9525" marT="9525" marB="0" anchor="ctr"/>
                </a:tc>
                <a:tc>
                  <a:txBody>
                    <a:bodyPr/>
                    <a:lstStyle/>
                    <a:p>
                      <a:pPr algn="ctr" rtl="0" fontAlgn="ctr"/>
                      <a:r>
                        <a:rPr lang="es-ES" sz="1600" b="0" i="0" u="none" strike="noStrike" dirty="0">
                          <a:solidFill>
                            <a:srgbClr val="000000"/>
                          </a:solidFill>
                          <a:effectLst/>
                          <a:latin typeface="Arial" panose="020B0604020202020204" pitchFamily="34" charset="0"/>
                        </a:rPr>
                        <a:t>I</a:t>
                      </a:r>
                    </a:p>
                  </a:txBody>
                  <a:tcPr marL="9525" marR="9525" marT="9525" marB="0" anchor="ctr"/>
                </a:tc>
                <a:extLst>
                  <a:ext uri="{0D108BD9-81ED-4DB2-BD59-A6C34878D82A}">
                    <a16:rowId xmlns:a16="http://schemas.microsoft.com/office/drawing/2014/main" val="3804298921"/>
                  </a:ext>
                </a:extLst>
              </a:tr>
            </a:tbl>
          </a:graphicData>
        </a:graphic>
      </p:graphicFrame>
      <p:sp>
        <p:nvSpPr>
          <p:cNvPr id="5" name="CuadroTexto 4">
            <a:extLst>
              <a:ext uri="{FF2B5EF4-FFF2-40B4-BE49-F238E27FC236}">
                <a16:creationId xmlns:a16="http://schemas.microsoft.com/office/drawing/2014/main" id="{59618AA9-EF62-4634-900B-87BB88ABA8E5}"/>
              </a:ext>
            </a:extLst>
          </p:cNvPr>
          <p:cNvSpPr txBox="1"/>
          <p:nvPr/>
        </p:nvSpPr>
        <p:spPr>
          <a:xfrm>
            <a:off x="650240" y="11815805"/>
            <a:ext cx="6365845" cy="369332"/>
          </a:xfrm>
          <a:prstGeom prst="rect">
            <a:avLst/>
          </a:prstGeom>
          <a:noFill/>
        </p:spPr>
        <p:txBody>
          <a:bodyPr wrap="none" rtlCol="0">
            <a:spAutoFit/>
          </a:bodyPr>
          <a:lstStyle/>
          <a:p>
            <a:r>
              <a:rPr lang="es-ES" sz="1800" dirty="0"/>
              <a:t>* Actividades en rojo basadas en asunciones, no definitivas</a:t>
            </a:r>
          </a:p>
        </p:txBody>
      </p:sp>
    </p:spTree>
    <p:extLst>
      <p:ext uri="{BB962C8B-B14F-4D97-AF65-F5344CB8AC3E}">
        <p14:creationId xmlns:p14="http://schemas.microsoft.com/office/powerpoint/2010/main" val="37271660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1AECC4A-54E2-4B48-9F88-ACC3FE88C62A}"/>
              </a:ext>
            </a:extLst>
          </p:cNvPr>
          <p:cNvSpPr txBox="1"/>
          <p:nvPr/>
        </p:nvSpPr>
        <p:spPr>
          <a:xfrm>
            <a:off x="650240" y="541319"/>
            <a:ext cx="22611504" cy="1569660"/>
          </a:xfrm>
          <a:prstGeom prst="rect">
            <a:avLst/>
          </a:prstGeom>
          <a:noFill/>
        </p:spPr>
        <p:txBody>
          <a:bodyPr wrap="square" rtlCol="0" anchor="t">
            <a:spAutoFit/>
          </a:bodyPr>
          <a:lstStyle/>
          <a:p>
            <a:pPr algn="l"/>
            <a:r>
              <a:rPr lang="en-GB" sz="4000" b="1" kern="1200" dirty="0">
                <a:solidFill>
                  <a:srgbClr val="C00000"/>
                </a:solidFill>
                <a:cs typeface="Arial"/>
              </a:rPr>
              <a:t>CI / CD de releases</a:t>
            </a:r>
            <a:r>
              <a:rPr lang="en-US" sz="4000" b="1" kern="1200" dirty="0">
                <a:solidFill>
                  <a:srgbClr val="C00000"/>
                </a:solidFill>
              </a:rPr>
              <a:t>  </a:t>
            </a:r>
            <a:r>
              <a:rPr lang="en-GB" sz="2800" kern="1200" dirty="0">
                <a:solidFill>
                  <a:srgbClr val="C00000"/>
                </a:solidFill>
              </a:rPr>
              <a:t>Integración QA &amp; testing de releases</a:t>
            </a:r>
          </a:p>
          <a:p>
            <a:pPr algn="l"/>
            <a:r>
              <a:rPr lang="es-ES" altLang="en-US" sz="2800" kern="1200" dirty="0">
                <a:solidFill>
                  <a:schemeClr val="tx1"/>
                </a:solidFill>
              </a:rPr>
              <a:t>Vista de Procesos</a:t>
            </a:r>
            <a:endParaRPr lang="en-US" altLang="en-US" sz="2800" kern="1200" dirty="0">
              <a:solidFill>
                <a:schemeClr val="tx1"/>
              </a:solidFill>
            </a:endParaRPr>
          </a:p>
          <a:p>
            <a:pPr algn="l"/>
            <a:endParaRPr lang="en-US" altLang="en-US" sz="2800" kern="1200" dirty="0">
              <a:solidFill>
                <a:srgbClr val="C00000"/>
              </a:solidFill>
              <a:latin typeface="IBM Plex Sans"/>
            </a:endParaRPr>
          </a:p>
        </p:txBody>
      </p:sp>
      <p:pic>
        <p:nvPicPr>
          <p:cNvPr id="4" name="New picture">
            <a:extLst>
              <a:ext uri="{FF2B5EF4-FFF2-40B4-BE49-F238E27FC236}">
                <a16:creationId xmlns:a16="http://schemas.microsoft.com/office/drawing/2014/main" id="{D8D8515F-36AA-40FB-9935-CE2E42C18176}"/>
              </a:ext>
            </a:extLst>
          </p:cNvPr>
          <p:cNvPicPr/>
          <p:nvPr/>
        </p:nvPicPr>
        <p:blipFill rotWithShape="1">
          <a:blip r:embed="rId3"/>
          <a:srcRect b="52026"/>
          <a:stretch/>
        </p:blipFill>
        <p:spPr>
          <a:xfrm>
            <a:off x="650240" y="2484202"/>
            <a:ext cx="23187444" cy="7182311"/>
          </a:xfrm>
          <a:prstGeom prst="rect">
            <a:avLst/>
          </a:prstGeom>
        </p:spPr>
      </p:pic>
    </p:spTree>
    <p:extLst>
      <p:ext uri="{BB962C8B-B14F-4D97-AF65-F5344CB8AC3E}">
        <p14:creationId xmlns:p14="http://schemas.microsoft.com/office/powerpoint/2010/main" val="27768521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1AECC4A-54E2-4B48-9F88-ACC3FE88C62A}"/>
              </a:ext>
            </a:extLst>
          </p:cNvPr>
          <p:cNvSpPr txBox="1"/>
          <p:nvPr/>
        </p:nvSpPr>
        <p:spPr>
          <a:xfrm>
            <a:off x="650240" y="541319"/>
            <a:ext cx="22611504" cy="1569660"/>
          </a:xfrm>
          <a:prstGeom prst="rect">
            <a:avLst/>
          </a:prstGeom>
          <a:noFill/>
        </p:spPr>
        <p:txBody>
          <a:bodyPr wrap="square" rtlCol="0" anchor="t">
            <a:spAutoFit/>
          </a:bodyPr>
          <a:lstStyle/>
          <a:p>
            <a:pPr algn="l"/>
            <a:r>
              <a:rPr lang="en-GB" sz="4000" b="1" kern="1200" dirty="0">
                <a:solidFill>
                  <a:srgbClr val="C00000"/>
                </a:solidFill>
                <a:cs typeface="Arial"/>
              </a:rPr>
              <a:t>CI / CD de releases</a:t>
            </a:r>
            <a:r>
              <a:rPr lang="en-US" sz="4000" b="1" kern="1200" dirty="0">
                <a:solidFill>
                  <a:srgbClr val="C00000"/>
                </a:solidFill>
              </a:rPr>
              <a:t>  </a:t>
            </a:r>
            <a:r>
              <a:rPr lang="en-GB" sz="2800" kern="1200" dirty="0">
                <a:solidFill>
                  <a:srgbClr val="C00000"/>
                </a:solidFill>
              </a:rPr>
              <a:t>Integración QA &amp; testing de releases</a:t>
            </a:r>
          </a:p>
          <a:p>
            <a:pPr algn="l"/>
            <a:r>
              <a:rPr lang="es-ES" altLang="en-US" sz="2800" kern="1200" dirty="0">
                <a:solidFill>
                  <a:schemeClr val="tx1"/>
                </a:solidFill>
              </a:rPr>
              <a:t>Vista de Procesos</a:t>
            </a:r>
            <a:endParaRPr lang="en-US" altLang="en-US" sz="2800" kern="1200" dirty="0">
              <a:solidFill>
                <a:schemeClr val="tx1"/>
              </a:solidFill>
            </a:endParaRPr>
          </a:p>
          <a:p>
            <a:pPr algn="l"/>
            <a:endParaRPr lang="en-US" altLang="en-US" sz="2800" kern="1200" dirty="0">
              <a:solidFill>
                <a:srgbClr val="C00000"/>
              </a:solidFill>
              <a:latin typeface="IBM Plex Sans"/>
            </a:endParaRPr>
          </a:p>
        </p:txBody>
      </p:sp>
      <p:sp>
        <p:nvSpPr>
          <p:cNvPr id="4" name="TextBox 27">
            <a:extLst>
              <a:ext uri="{FF2B5EF4-FFF2-40B4-BE49-F238E27FC236}">
                <a16:creationId xmlns:a16="http://schemas.microsoft.com/office/drawing/2014/main" id="{B39756F6-8ACD-4876-9791-8B2C1392B1A5}"/>
              </a:ext>
            </a:extLst>
          </p:cNvPr>
          <p:cNvSpPr txBox="1">
            <a:spLocks noChangeArrowheads="1"/>
          </p:cNvSpPr>
          <p:nvPr/>
        </p:nvSpPr>
        <p:spPr bwMode="auto">
          <a:xfrm>
            <a:off x="1140883" y="7935102"/>
            <a:ext cx="1851470" cy="34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a:r>
              <a:rPr lang="en-US" sz="2000" dirty="0">
                <a:solidFill>
                  <a:srgbClr val="C00000"/>
                </a:solidFill>
                <a:cs typeface="Arial" panose="020B0604020202020204" pitchFamily="34" charset="0"/>
              </a:rPr>
              <a:t>Informed</a:t>
            </a: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r>
              <a:rPr lang="en-US" sz="2000" dirty="0">
                <a:solidFill>
                  <a:srgbClr val="C00000"/>
                </a:solidFill>
                <a:cs typeface="Arial" panose="020B0604020202020204" pitchFamily="34" charset="0"/>
              </a:rPr>
              <a:t>Accountable</a:t>
            </a: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r>
              <a:rPr lang="en-US" altLang="en-US" sz="2000" dirty="0">
                <a:solidFill>
                  <a:srgbClr val="C00000"/>
                </a:solidFill>
                <a:cs typeface="Arial" panose="020B0604020202020204" pitchFamily="34" charset="0"/>
              </a:rPr>
              <a:t>Consulted</a:t>
            </a:r>
          </a:p>
        </p:txBody>
      </p:sp>
      <p:pic>
        <p:nvPicPr>
          <p:cNvPr id="5" name="Graphic 6" descr="Handshake">
            <a:extLst>
              <a:ext uri="{FF2B5EF4-FFF2-40B4-BE49-F238E27FC236}">
                <a16:creationId xmlns:a16="http://schemas.microsoft.com/office/drawing/2014/main" id="{A6C39EC4-D085-4D0A-82D0-7068D8F022E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7146" y="10546135"/>
            <a:ext cx="788947" cy="788947"/>
          </a:xfrm>
          <a:prstGeom prst="rect">
            <a:avLst/>
          </a:prstGeom>
        </p:spPr>
      </p:pic>
      <p:pic>
        <p:nvPicPr>
          <p:cNvPr id="6" name="Graphic 26" descr="Research">
            <a:extLst>
              <a:ext uri="{FF2B5EF4-FFF2-40B4-BE49-F238E27FC236}">
                <a16:creationId xmlns:a16="http://schemas.microsoft.com/office/drawing/2014/main" id="{10556F45-81C5-42C0-BEA6-0EAB9F2E696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0876" y="8982625"/>
            <a:ext cx="741219" cy="741219"/>
          </a:xfrm>
          <a:prstGeom prst="rect">
            <a:avLst/>
          </a:prstGeom>
        </p:spPr>
      </p:pic>
      <p:pic>
        <p:nvPicPr>
          <p:cNvPr id="7" name="Graphic 34" descr="Information">
            <a:extLst>
              <a:ext uri="{FF2B5EF4-FFF2-40B4-BE49-F238E27FC236}">
                <a16:creationId xmlns:a16="http://schemas.microsoft.com/office/drawing/2014/main" id="{81CF4022-F252-483E-B2C7-C5ACC37EF95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94255" y="7445529"/>
            <a:ext cx="747097" cy="747097"/>
          </a:xfrm>
          <a:prstGeom prst="rect">
            <a:avLst/>
          </a:prstGeom>
        </p:spPr>
      </p:pic>
      <p:sp>
        <p:nvSpPr>
          <p:cNvPr id="9" name="Rectángulo 8">
            <a:extLst>
              <a:ext uri="{FF2B5EF4-FFF2-40B4-BE49-F238E27FC236}">
                <a16:creationId xmlns:a16="http://schemas.microsoft.com/office/drawing/2014/main" id="{C13A6DCA-C0B5-4A84-BB9D-E6D4C45DE3BF}"/>
              </a:ext>
            </a:extLst>
          </p:cNvPr>
          <p:cNvSpPr/>
          <p:nvPr/>
        </p:nvSpPr>
        <p:spPr>
          <a:xfrm>
            <a:off x="3386475" y="6876299"/>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cxnSp>
        <p:nvCxnSpPr>
          <p:cNvPr id="12" name="Conector recto 11">
            <a:extLst>
              <a:ext uri="{FF2B5EF4-FFF2-40B4-BE49-F238E27FC236}">
                <a16:creationId xmlns:a16="http://schemas.microsoft.com/office/drawing/2014/main" id="{F419A8BB-E9D3-4A26-916C-CF50B95568D7}"/>
              </a:ext>
            </a:extLst>
          </p:cNvPr>
          <p:cNvCxnSpPr>
            <a:cxnSpLocks/>
          </p:cNvCxnSpPr>
          <p:nvPr/>
        </p:nvCxnSpPr>
        <p:spPr>
          <a:xfrm>
            <a:off x="483686" y="8425282"/>
            <a:ext cx="22915389"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13" name="Conector recto 12">
            <a:extLst>
              <a:ext uri="{FF2B5EF4-FFF2-40B4-BE49-F238E27FC236}">
                <a16:creationId xmlns:a16="http://schemas.microsoft.com/office/drawing/2014/main" id="{A2232A32-13D4-4644-9D1C-A1AACDED4F9E}"/>
              </a:ext>
            </a:extLst>
          </p:cNvPr>
          <p:cNvCxnSpPr>
            <a:cxnSpLocks/>
          </p:cNvCxnSpPr>
          <p:nvPr/>
        </p:nvCxnSpPr>
        <p:spPr>
          <a:xfrm>
            <a:off x="483686" y="9867955"/>
            <a:ext cx="22778058"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14" name="Conector recto 13">
            <a:extLst>
              <a:ext uri="{FF2B5EF4-FFF2-40B4-BE49-F238E27FC236}">
                <a16:creationId xmlns:a16="http://schemas.microsoft.com/office/drawing/2014/main" id="{44E782D8-3ACF-4AEB-A1C6-117B5AD55B5B}"/>
              </a:ext>
            </a:extLst>
          </p:cNvPr>
          <p:cNvCxnSpPr>
            <a:cxnSpLocks/>
          </p:cNvCxnSpPr>
          <p:nvPr/>
        </p:nvCxnSpPr>
        <p:spPr>
          <a:xfrm flipV="1">
            <a:off x="483686" y="11335082"/>
            <a:ext cx="22915389" cy="38947"/>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sp>
        <p:nvSpPr>
          <p:cNvPr id="17" name="CuadroTexto 16">
            <a:extLst>
              <a:ext uri="{FF2B5EF4-FFF2-40B4-BE49-F238E27FC236}">
                <a16:creationId xmlns:a16="http://schemas.microsoft.com/office/drawing/2014/main" id="{1926B1C7-3E8B-4A0B-8140-623A26B0AC4B}"/>
              </a:ext>
            </a:extLst>
          </p:cNvPr>
          <p:cNvSpPr txBox="1"/>
          <p:nvPr/>
        </p:nvSpPr>
        <p:spPr>
          <a:xfrm>
            <a:off x="3406507" y="6261968"/>
            <a:ext cx="3880600" cy="369332"/>
          </a:xfrm>
          <a:prstGeom prst="rect">
            <a:avLst/>
          </a:prstGeom>
          <a:noFill/>
        </p:spPr>
        <p:txBody>
          <a:bodyPr wrap="square" rtlCol="0">
            <a:spAutoFit/>
          </a:bodyPr>
          <a:lstStyle/>
          <a:p>
            <a:pPr algn="l"/>
            <a:r>
              <a:rPr lang="es-ES" sz="1800" b="1" dirty="0">
                <a:solidFill>
                  <a:srgbClr val="C00000"/>
                </a:solidFill>
              </a:rPr>
              <a:t>Registrar Incidencias en Jira</a:t>
            </a:r>
            <a:endParaRPr lang="es-ES" sz="2400" b="1" dirty="0">
              <a:solidFill>
                <a:srgbClr val="C00000"/>
              </a:solidFill>
            </a:endParaRPr>
          </a:p>
        </p:txBody>
      </p:sp>
      <p:sp>
        <p:nvSpPr>
          <p:cNvPr id="18" name="CuadroTexto 17">
            <a:extLst>
              <a:ext uri="{FF2B5EF4-FFF2-40B4-BE49-F238E27FC236}">
                <a16:creationId xmlns:a16="http://schemas.microsoft.com/office/drawing/2014/main" id="{D08BA1D2-B70E-4C5A-B294-01EDA46C82A7}"/>
              </a:ext>
            </a:extLst>
          </p:cNvPr>
          <p:cNvSpPr txBox="1"/>
          <p:nvPr/>
        </p:nvSpPr>
        <p:spPr>
          <a:xfrm>
            <a:off x="3406507" y="7332911"/>
            <a:ext cx="5654842" cy="4524315"/>
          </a:xfrm>
          <a:prstGeom prst="rect">
            <a:avLst/>
          </a:prstGeom>
          <a:noFill/>
        </p:spPr>
        <p:txBody>
          <a:bodyPr wrap="square" rtlCol="0">
            <a:spAutoFit/>
          </a:bodyPr>
          <a:lstStyle/>
          <a:p>
            <a:pPr algn="l"/>
            <a:endParaRPr lang="en-US" altLang="en-US" sz="2400" dirty="0"/>
          </a:p>
          <a:p>
            <a:pPr algn="l"/>
            <a:endParaRPr lang="en-US" altLang="en-US" sz="2400" dirty="0"/>
          </a:p>
          <a:p>
            <a:pPr algn="l"/>
            <a:endParaRPr lang="en-US" altLang="en-US" sz="2400" dirty="0"/>
          </a:p>
          <a:p>
            <a:pPr algn="l"/>
            <a:endParaRPr lang="en-US" altLang="en-US" sz="2400" dirty="0"/>
          </a:p>
          <a:p>
            <a:pPr algn="l"/>
            <a:r>
              <a:rPr lang="es-ES" sz="2400" dirty="0"/>
              <a:t>Testing (SanTec)</a:t>
            </a:r>
          </a:p>
          <a:p>
            <a:pPr algn="l"/>
            <a:endParaRPr lang="es-ES" altLang="en-US" sz="2400" dirty="0"/>
          </a:p>
          <a:p>
            <a:pPr algn="l"/>
            <a:endParaRPr lang="es-ES" altLang="en-US" sz="2400" dirty="0"/>
          </a:p>
          <a:p>
            <a:pPr algn="l"/>
            <a:endParaRPr lang="es-ES" altLang="en-US" sz="2400" dirty="0"/>
          </a:p>
          <a:p>
            <a:pPr algn="l"/>
            <a:r>
              <a:rPr lang="en-US" altLang="en-US" sz="2400" dirty="0"/>
              <a:t> </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endParaRPr lang="en-US" altLang="en-US" sz="2400" dirty="0"/>
          </a:p>
        </p:txBody>
      </p:sp>
      <p:sp>
        <p:nvSpPr>
          <p:cNvPr id="19" name="TextBox 27">
            <a:extLst>
              <a:ext uri="{FF2B5EF4-FFF2-40B4-BE49-F238E27FC236}">
                <a16:creationId xmlns:a16="http://schemas.microsoft.com/office/drawing/2014/main" id="{545476C9-DDD1-4B22-B9CD-75A2BBB644D3}"/>
              </a:ext>
            </a:extLst>
          </p:cNvPr>
          <p:cNvSpPr txBox="1">
            <a:spLocks noChangeArrowheads="1"/>
          </p:cNvSpPr>
          <p:nvPr/>
        </p:nvSpPr>
        <p:spPr bwMode="auto">
          <a:xfrm>
            <a:off x="1934085" y="5266146"/>
            <a:ext cx="9455840" cy="646331"/>
          </a:xfrm>
          <a:prstGeom prst="rect">
            <a:avLst/>
          </a:prstGeom>
          <a:noFill/>
          <a:ln>
            <a:noFill/>
          </a:ln>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eaLnBrk="1" hangingPunct="1"/>
            <a:r>
              <a:rPr lang="en-US" altLang="en-US" sz="3600" dirty="0">
                <a:solidFill>
                  <a:srgbClr val="C00000"/>
                </a:solidFill>
                <a:cs typeface="Arial" panose="020B0604020202020204" pitchFamily="34" charset="0"/>
              </a:rPr>
              <a:t>Responsible   </a:t>
            </a:r>
            <a:r>
              <a:rPr lang="en-US" altLang="en-US" sz="3200" b="0" dirty="0">
                <a:cs typeface="Arial" panose="020B0604020202020204" pitchFamily="34" charset="0"/>
              </a:rPr>
              <a:t>Testing (SanTec)</a:t>
            </a:r>
          </a:p>
        </p:txBody>
      </p:sp>
      <p:pic>
        <p:nvPicPr>
          <p:cNvPr id="20" name="Picture 25">
            <a:extLst>
              <a:ext uri="{FF2B5EF4-FFF2-40B4-BE49-F238E27FC236}">
                <a16:creationId xmlns:a16="http://schemas.microsoft.com/office/drawing/2014/main" id="{AEE41418-2BED-43F6-B3C3-040728E5F1F9}"/>
              </a:ext>
            </a:extLst>
          </p:cNvPr>
          <p:cNvPicPr>
            <a:picLocks noChangeAspect="1"/>
          </p:cNvPicPr>
          <p:nvPr/>
        </p:nvPicPr>
        <p:blipFill>
          <a:blip r:embed="rId9">
            <a:extLst>
              <a:ext uri="{BEBA8EAE-BF5A-486C-A8C5-ECC9F3942E4B}">
                <a14:imgProps xmlns:a14="http://schemas.microsoft.com/office/drawing/2010/main">
                  <a14:imgLayer r:embed="rId10">
                    <a14:imgEffect>
                      <a14:colorTemperature colorTemp="2300"/>
                    </a14:imgEffect>
                  </a14:imgLayer>
                </a14:imgProps>
              </a:ext>
              <a:ext uri="{28A0092B-C50C-407E-A947-70E740481C1C}">
                <a14:useLocalDpi xmlns:a14="http://schemas.microsoft.com/office/drawing/2010/main" val="0"/>
              </a:ext>
            </a:extLst>
          </a:blip>
          <a:stretch>
            <a:fillRect/>
          </a:stretch>
        </p:blipFill>
        <p:spPr>
          <a:xfrm>
            <a:off x="255221" y="4554484"/>
            <a:ext cx="1817801" cy="1817801"/>
          </a:xfrm>
          <a:prstGeom prst="rect">
            <a:avLst/>
          </a:prstGeom>
        </p:spPr>
      </p:pic>
      <p:sp>
        <p:nvSpPr>
          <p:cNvPr id="36" name="Rectangle 2">
            <a:extLst>
              <a:ext uri="{FF2B5EF4-FFF2-40B4-BE49-F238E27FC236}">
                <a16:creationId xmlns:a16="http://schemas.microsoft.com/office/drawing/2014/main" id="{01A1B284-52CF-4A95-8AA6-383983E0E91A}"/>
              </a:ext>
            </a:extLst>
          </p:cNvPr>
          <p:cNvSpPr>
            <a:spLocks noChangeArrowheads="1"/>
          </p:cNvSpPr>
          <p:nvPr/>
        </p:nvSpPr>
        <p:spPr bwMode="auto">
          <a:xfrm>
            <a:off x="3406507" y="11698775"/>
            <a:ext cx="3496175" cy="1200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altLang="es-ES" sz="1600" b="0" i="0" u="sng" strike="noStrike" cap="none" normalizeH="0" baseline="0" dirty="0">
                <a:ln>
                  <a:noFill/>
                </a:ln>
                <a:solidFill>
                  <a:schemeClr val="tx1"/>
                </a:solidFill>
                <a:effectLst/>
                <a:latin typeface="Arial" panose="020B0604020202020204" pitchFamily="34" charset="0"/>
              </a:rPr>
              <a:t>Delegados:</a:t>
            </a:r>
            <a:endParaRPr kumimoji="0" lang="es-ES" altLang="es-ES" sz="16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s-ES" altLang="es-ES" sz="800" dirty="0">
              <a:solidFill>
                <a:schemeClr val="tx1"/>
              </a:solidFill>
              <a:latin typeface="Arial" panose="020B0604020202020204" pitchFamily="34" charset="0"/>
            </a:endParaRPr>
          </a:p>
          <a:p>
            <a:pPr lvl="3" algn="l" defTabSz="914400" eaLnBrk="0" fontAlgn="base">
              <a:spcBef>
                <a:spcPct val="0"/>
              </a:spcBef>
              <a:spcAft>
                <a:spcPct val="0"/>
              </a:spcAft>
            </a:pPr>
            <a:r>
              <a:rPr kumimoji="0" lang="es-ES" altLang="es-ES" sz="1600" b="0" i="0" u="none" strike="noStrike" cap="none" normalizeH="0" baseline="0" dirty="0">
                <a:ln>
                  <a:noFill/>
                </a:ln>
                <a:solidFill>
                  <a:schemeClr val="tx1"/>
                </a:solidFill>
                <a:effectLst/>
                <a:latin typeface="Arial" panose="020B0604020202020204" pitchFamily="34" charset="0"/>
              </a:rPr>
              <a:t>          Dominio de Negocio</a:t>
            </a:r>
          </a:p>
          <a:p>
            <a:pPr lvl="5" algn="l" defTabSz="914400" eaLnBrk="0" fontAlgn="base">
              <a:spcBef>
                <a:spcPct val="0"/>
              </a:spcBef>
              <a:spcAft>
                <a:spcPct val="0"/>
              </a:spcAft>
            </a:pPr>
            <a:r>
              <a:rPr kumimoji="0" lang="es-ES" altLang="es-ES" sz="1600" b="0" i="0" u="none" strike="noStrike" cap="none" normalizeH="0" baseline="0" dirty="0">
                <a:ln>
                  <a:noFill/>
                </a:ln>
                <a:solidFill>
                  <a:schemeClr val="tx1"/>
                </a:solidFill>
                <a:effectLst/>
                <a:latin typeface="Arial" panose="020B0604020202020204" pitchFamily="34" charset="0"/>
              </a:rPr>
              <a:t>          Ingenieria (SanTec)</a:t>
            </a:r>
          </a:p>
          <a:p>
            <a:pPr lvl="5" algn="l" defTabSz="914400" eaLnBrk="0" fontAlgn="base">
              <a:spcBef>
                <a:spcPct val="0"/>
              </a:spcBef>
              <a:spcAft>
                <a:spcPct val="0"/>
              </a:spcAft>
            </a:pPr>
            <a:r>
              <a:rPr lang="es-ES" altLang="es-ES" sz="1600" dirty="0">
                <a:solidFill>
                  <a:schemeClr val="tx1"/>
                </a:solidFill>
                <a:latin typeface="Arial" panose="020B0604020202020204" pitchFamily="34" charset="0"/>
              </a:rPr>
              <a:t>          Infraestructura (SanTec)</a:t>
            </a:r>
            <a:endParaRPr kumimoji="0" lang="es-ES" altLang="es-ES" sz="1800" b="0" i="0" u="none" strike="noStrike" cap="none" normalizeH="0" baseline="0" dirty="0">
              <a:ln>
                <a:noFill/>
              </a:ln>
              <a:solidFill>
                <a:schemeClr val="tx1"/>
              </a:solidFill>
              <a:effectLst/>
              <a:latin typeface="Arial" panose="020B0604020202020204" pitchFamily="34" charset="0"/>
            </a:endParaRPr>
          </a:p>
        </p:txBody>
      </p:sp>
      <p:pic>
        <p:nvPicPr>
          <p:cNvPr id="39" name="Picture 25">
            <a:extLst>
              <a:ext uri="{FF2B5EF4-FFF2-40B4-BE49-F238E27FC236}">
                <a16:creationId xmlns:a16="http://schemas.microsoft.com/office/drawing/2014/main" id="{B6DFF677-0826-4255-A156-7CA431FA9948}"/>
              </a:ext>
            </a:extLst>
          </p:cNvPr>
          <p:cNvPicPr>
            <a:picLocks noChangeAspect="1"/>
          </p:cNvPicPr>
          <p:nvPr/>
        </p:nvPicPr>
        <p:blipFill>
          <a:blip r:embed="rId9">
            <a:extLst>
              <a:ext uri="{BEBA8EAE-BF5A-486C-A8C5-ECC9F3942E4B}">
                <a14:imgProps xmlns:a14="http://schemas.microsoft.com/office/drawing/2010/main">
                  <a14:imgLayer r:embed="rId10">
                    <a14:imgEffect>
                      <a14:colorTemperature colorTemp="2300"/>
                    </a14:imgEffect>
                  </a14:imgLayer>
                </a14:imgProps>
              </a:ext>
              <a:ext uri="{28A0092B-C50C-407E-A947-70E740481C1C}">
                <a14:useLocalDpi xmlns:a14="http://schemas.microsoft.com/office/drawing/2010/main" val="0"/>
              </a:ext>
            </a:extLst>
          </a:blip>
          <a:stretch>
            <a:fillRect/>
          </a:stretch>
        </p:blipFill>
        <p:spPr>
          <a:xfrm>
            <a:off x="1117247" y="11634775"/>
            <a:ext cx="947290" cy="947290"/>
          </a:xfrm>
          <a:prstGeom prst="rect">
            <a:avLst/>
          </a:prstGeom>
        </p:spPr>
      </p:pic>
      <p:pic>
        <p:nvPicPr>
          <p:cNvPr id="34" name="New picture">
            <a:extLst>
              <a:ext uri="{FF2B5EF4-FFF2-40B4-BE49-F238E27FC236}">
                <a16:creationId xmlns:a16="http://schemas.microsoft.com/office/drawing/2014/main" id="{DE1FDA61-5A96-4D17-9B4E-88407A834B51}"/>
              </a:ext>
            </a:extLst>
          </p:cNvPr>
          <p:cNvPicPr/>
          <p:nvPr/>
        </p:nvPicPr>
        <p:blipFill rotWithShape="1">
          <a:blip r:embed="rId11"/>
          <a:srcRect t="-619" b="91927"/>
          <a:stretch/>
        </p:blipFill>
        <p:spPr>
          <a:xfrm>
            <a:off x="650240" y="2391508"/>
            <a:ext cx="23187444" cy="1301261"/>
          </a:xfrm>
          <a:prstGeom prst="rect">
            <a:avLst/>
          </a:prstGeom>
        </p:spPr>
      </p:pic>
    </p:spTree>
    <p:extLst>
      <p:ext uri="{BB962C8B-B14F-4D97-AF65-F5344CB8AC3E}">
        <p14:creationId xmlns:p14="http://schemas.microsoft.com/office/powerpoint/2010/main" val="42603841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1AECC4A-54E2-4B48-9F88-ACC3FE88C62A}"/>
              </a:ext>
            </a:extLst>
          </p:cNvPr>
          <p:cNvSpPr txBox="1"/>
          <p:nvPr/>
        </p:nvSpPr>
        <p:spPr>
          <a:xfrm>
            <a:off x="650240" y="541319"/>
            <a:ext cx="22611504" cy="1569660"/>
          </a:xfrm>
          <a:prstGeom prst="rect">
            <a:avLst/>
          </a:prstGeom>
          <a:noFill/>
        </p:spPr>
        <p:txBody>
          <a:bodyPr wrap="square" rtlCol="0" anchor="t">
            <a:spAutoFit/>
          </a:bodyPr>
          <a:lstStyle/>
          <a:p>
            <a:pPr algn="l"/>
            <a:r>
              <a:rPr lang="en-GB" sz="4000" b="1" kern="1200" dirty="0">
                <a:solidFill>
                  <a:srgbClr val="C00000"/>
                </a:solidFill>
                <a:cs typeface="Arial"/>
              </a:rPr>
              <a:t>CI / CD de releases</a:t>
            </a:r>
            <a:r>
              <a:rPr lang="en-US" sz="4000" b="1" kern="1200" dirty="0">
                <a:solidFill>
                  <a:srgbClr val="C00000"/>
                </a:solidFill>
              </a:rPr>
              <a:t>  </a:t>
            </a:r>
            <a:r>
              <a:rPr lang="en-GB" sz="2800" kern="1200" dirty="0">
                <a:solidFill>
                  <a:srgbClr val="C00000"/>
                </a:solidFill>
              </a:rPr>
              <a:t>Integración QA &amp; testing de releases</a:t>
            </a:r>
          </a:p>
          <a:p>
            <a:pPr algn="l"/>
            <a:r>
              <a:rPr lang="es-ES" altLang="en-US" sz="2800" kern="1200" dirty="0">
                <a:solidFill>
                  <a:schemeClr val="tx1"/>
                </a:solidFill>
              </a:rPr>
              <a:t>Vista de Procesos</a:t>
            </a:r>
            <a:endParaRPr lang="en-US" altLang="en-US" sz="2800" kern="1200" dirty="0">
              <a:solidFill>
                <a:schemeClr val="tx1"/>
              </a:solidFill>
            </a:endParaRPr>
          </a:p>
          <a:p>
            <a:pPr algn="l"/>
            <a:endParaRPr lang="en-US" altLang="en-US" sz="2800" kern="1200" dirty="0">
              <a:solidFill>
                <a:srgbClr val="C00000"/>
              </a:solidFill>
              <a:latin typeface="IBM Plex Sans"/>
            </a:endParaRPr>
          </a:p>
        </p:txBody>
      </p:sp>
      <p:sp>
        <p:nvSpPr>
          <p:cNvPr id="4" name="TextBox 27">
            <a:extLst>
              <a:ext uri="{FF2B5EF4-FFF2-40B4-BE49-F238E27FC236}">
                <a16:creationId xmlns:a16="http://schemas.microsoft.com/office/drawing/2014/main" id="{303C535F-C891-4EAE-832B-4905784E62AF}"/>
              </a:ext>
            </a:extLst>
          </p:cNvPr>
          <p:cNvSpPr txBox="1">
            <a:spLocks noChangeArrowheads="1"/>
          </p:cNvSpPr>
          <p:nvPr/>
        </p:nvSpPr>
        <p:spPr bwMode="auto">
          <a:xfrm>
            <a:off x="1140883" y="7935102"/>
            <a:ext cx="1851470" cy="34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a:r>
              <a:rPr lang="en-US" sz="2000" dirty="0">
                <a:solidFill>
                  <a:srgbClr val="C00000"/>
                </a:solidFill>
                <a:cs typeface="Arial" panose="020B0604020202020204" pitchFamily="34" charset="0"/>
              </a:rPr>
              <a:t>Informed</a:t>
            </a: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r>
              <a:rPr lang="en-US" sz="2000" dirty="0">
                <a:solidFill>
                  <a:srgbClr val="C00000"/>
                </a:solidFill>
                <a:cs typeface="Arial" panose="020B0604020202020204" pitchFamily="34" charset="0"/>
              </a:rPr>
              <a:t>Accountable</a:t>
            </a: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r>
              <a:rPr lang="en-US" altLang="en-US" sz="2000" dirty="0">
                <a:solidFill>
                  <a:srgbClr val="C00000"/>
                </a:solidFill>
                <a:cs typeface="Arial" panose="020B0604020202020204" pitchFamily="34" charset="0"/>
              </a:rPr>
              <a:t>Consulted</a:t>
            </a:r>
          </a:p>
        </p:txBody>
      </p:sp>
      <p:pic>
        <p:nvPicPr>
          <p:cNvPr id="5" name="Graphic 6" descr="Handshake">
            <a:extLst>
              <a:ext uri="{FF2B5EF4-FFF2-40B4-BE49-F238E27FC236}">
                <a16:creationId xmlns:a16="http://schemas.microsoft.com/office/drawing/2014/main" id="{4ACE075C-736A-4D85-94F4-EB317D9D7FC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7146" y="10546135"/>
            <a:ext cx="788947" cy="788947"/>
          </a:xfrm>
          <a:prstGeom prst="rect">
            <a:avLst/>
          </a:prstGeom>
        </p:spPr>
      </p:pic>
      <p:pic>
        <p:nvPicPr>
          <p:cNvPr id="6" name="Graphic 26" descr="Research">
            <a:extLst>
              <a:ext uri="{FF2B5EF4-FFF2-40B4-BE49-F238E27FC236}">
                <a16:creationId xmlns:a16="http://schemas.microsoft.com/office/drawing/2014/main" id="{063A2079-3D37-46B3-A26E-0A4E3D5E9AC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0876" y="8982625"/>
            <a:ext cx="741219" cy="741219"/>
          </a:xfrm>
          <a:prstGeom prst="rect">
            <a:avLst/>
          </a:prstGeom>
        </p:spPr>
      </p:pic>
      <p:pic>
        <p:nvPicPr>
          <p:cNvPr id="7" name="Graphic 34" descr="Information">
            <a:extLst>
              <a:ext uri="{FF2B5EF4-FFF2-40B4-BE49-F238E27FC236}">
                <a16:creationId xmlns:a16="http://schemas.microsoft.com/office/drawing/2014/main" id="{5F66D983-7FCB-44B1-9FD3-70568AAD809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94255" y="7445529"/>
            <a:ext cx="747097" cy="747097"/>
          </a:xfrm>
          <a:prstGeom prst="rect">
            <a:avLst/>
          </a:prstGeom>
        </p:spPr>
      </p:pic>
      <p:sp>
        <p:nvSpPr>
          <p:cNvPr id="9" name="Rectángulo 8">
            <a:extLst>
              <a:ext uri="{FF2B5EF4-FFF2-40B4-BE49-F238E27FC236}">
                <a16:creationId xmlns:a16="http://schemas.microsoft.com/office/drawing/2014/main" id="{26B3703D-4D84-4836-B715-F6EEAA9DACDE}"/>
              </a:ext>
            </a:extLst>
          </p:cNvPr>
          <p:cNvSpPr/>
          <p:nvPr/>
        </p:nvSpPr>
        <p:spPr>
          <a:xfrm>
            <a:off x="3386475" y="6876299"/>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0" name="CuadroTexto 9">
            <a:extLst>
              <a:ext uri="{FF2B5EF4-FFF2-40B4-BE49-F238E27FC236}">
                <a16:creationId xmlns:a16="http://schemas.microsoft.com/office/drawing/2014/main" id="{C9D90A15-5B7D-48C0-89E3-70B554799CE8}"/>
              </a:ext>
            </a:extLst>
          </p:cNvPr>
          <p:cNvSpPr txBox="1"/>
          <p:nvPr/>
        </p:nvSpPr>
        <p:spPr>
          <a:xfrm>
            <a:off x="3386474" y="6284344"/>
            <a:ext cx="3880600" cy="584775"/>
          </a:xfrm>
          <a:prstGeom prst="rect">
            <a:avLst/>
          </a:prstGeom>
          <a:noFill/>
        </p:spPr>
        <p:txBody>
          <a:bodyPr wrap="square" rtlCol="0">
            <a:spAutoFit/>
          </a:bodyPr>
          <a:lstStyle/>
          <a:p>
            <a:pPr algn="l"/>
            <a:r>
              <a:rPr lang="es-ES" sz="1600" b="1" dirty="0">
                <a:solidFill>
                  <a:srgbClr val="C00000"/>
                </a:solidFill>
              </a:rPr>
              <a:t>Configurar pruebas de rendimiento automáticas</a:t>
            </a:r>
            <a:endParaRPr lang="es-ES" sz="2000" b="1" dirty="0">
              <a:solidFill>
                <a:srgbClr val="C00000"/>
              </a:solidFill>
            </a:endParaRPr>
          </a:p>
        </p:txBody>
      </p:sp>
      <p:sp>
        <p:nvSpPr>
          <p:cNvPr id="11" name="CuadroTexto 10">
            <a:extLst>
              <a:ext uri="{FF2B5EF4-FFF2-40B4-BE49-F238E27FC236}">
                <a16:creationId xmlns:a16="http://schemas.microsoft.com/office/drawing/2014/main" id="{F02B9BEE-7DD3-4E2B-8F6E-1BC2907811F1}"/>
              </a:ext>
            </a:extLst>
          </p:cNvPr>
          <p:cNvSpPr txBox="1"/>
          <p:nvPr/>
        </p:nvSpPr>
        <p:spPr>
          <a:xfrm>
            <a:off x="3316252" y="7353970"/>
            <a:ext cx="5654842" cy="3785652"/>
          </a:xfrm>
          <a:prstGeom prst="rect">
            <a:avLst/>
          </a:prstGeom>
          <a:noFill/>
        </p:spPr>
        <p:txBody>
          <a:bodyPr wrap="square" rtlCol="0">
            <a:spAutoFit/>
          </a:bodyPr>
          <a:lstStyle/>
          <a:p>
            <a:pPr algn="l"/>
            <a:r>
              <a:rPr lang="en-US" altLang="en-US" sz="2400" dirty="0"/>
              <a:t>Infraestructura (SanTec)</a:t>
            </a:r>
          </a:p>
          <a:p>
            <a:pPr algn="l"/>
            <a:endParaRPr lang="en-US" altLang="en-US" sz="2400" dirty="0"/>
          </a:p>
          <a:p>
            <a:pPr algn="l"/>
            <a:endParaRPr lang="en-US" altLang="en-US" sz="2400" dirty="0"/>
          </a:p>
          <a:p>
            <a:pPr algn="l"/>
            <a:endParaRPr lang="en-US" altLang="en-US" sz="2400" dirty="0"/>
          </a:p>
          <a:p>
            <a:pPr algn="l"/>
            <a:r>
              <a:rPr lang="es-ES" sz="2400" dirty="0"/>
              <a:t>Dominio de Negocio</a:t>
            </a:r>
            <a:r>
              <a:rPr lang="en-US" altLang="en-US" sz="2400" dirty="0"/>
              <a:t> </a:t>
            </a:r>
          </a:p>
          <a:p>
            <a:pPr algn="l"/>
            <a:endParaRPr lang="en-US" altLang="en-US" sz="2400" dirty="0"/>
          </a:p>
          <a:p>
            <a:pPr algn="l"/>
            <a:endParaRPr lang="en-US" altLang="en-US" sz="2400" dirty="0"/>
          </a:p>
          <a:p>
            <a:pPr algn="l"/>
            <a:endParaRPr lang="en-US" altLang="en-US" sz="2400" dirty="0"/>
          </a:p>
          <a:p>
            <a:pPr algn="l"/>
            <a:r>
              <a:rPr lang="en-US" altLang="en-US" sz="2400" dirty="0"/>
              <a:t>Testing (SanTec)</a:t>
            </a:r>
          </a:p>
          <a:p>
            <a:pPr algn="l"/>
            <a:r>
              <a:rPr lang="en-US" altLang="en-US" sz="2400" dirty="0"/>
              <a:t> </a:t>
            </a:r>
            <a:endParaRPr lang="es-ES" sz="2400" dirty="0"/>
          </a:p>
        </p:txBody>
      </p:sp>
      <p:cxnSp>
        <p:nvCxnSpPr>
          <p:cNvPr id="12" name="Conector recto 11">
            <a:extLst>
              <a:ext uri="{FF2B5EF4-FFF2-40B4-BE49-F238E27FC236}">
                <a16:creationId xmlns:a16="http://schemas.microsoft.com/office/drawing/2014/main" id="{4C2BDFE0-FB7F-4883-9EC2-33B9437C217E}"/>
              </a:ext>
            </a:extLst>
          </p:cNvPr>
          <p:cNvCxnSpPr>
            <a:cxnSpLocks/>
          </p:cNvCxnSpPr>
          <p:nvPr/>
        </p:nvCxnSpPr>
        <p:spPr>
          <a:xfrm>
            <a:off x="483686" y="8425282"/>
            <a:ext cx="22915389"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13" name="Conector recto 12">
            <a:extLst>
              <a:ext uri="{FF2B5EF4-FFF2-40B4-BE49-F238E27FC236}">
                <a16:creationId xmlns:a16="http://schemas.microsoft.com/office/drawing/2014/main" id="{72C4701F-480C-407E-8ACC-4F400E8A186B}"/>
              </a:ext>
            </a:extLst>
          </p:cNvPr>
          <p:cNvCxnSpPr>
            <a:cxnSpLocks/>
          </p:cNvCxnSpPr>
          <p:nvPr/>
        </p:nvCxnSpPr>
        <p:spPr>
          <a:xfrm>
            <a:off x="483686" y="9867955"/>
            <a:ext cx="22778058"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14" name="Conector recto 13">
            <a:extLst>
              <a:ext uri="{FF2B5EF4-FFF2-40B4-BE49-F238E27FC236}">
                <a16:creationId xmlns:a16="http://schemas.microsoft.com/office/drawing/2014/main" id="{B28133ED-0897-4012-A6B2-FB5AE034B56B}"/>
              </a:ext>
            </a:extLst>
          </p:cNvPr>
          <p:cNvCxnSpPr>
            <a:cxnSpLocks/>
          </p:cNvCxnSpPr>
          <p:nvPr/>
        </p:nvCxnSpPr>
        <p:spPr>
          <a:xfrm flipV="1">
            <a:off x="483686" y="11335082"/>
            <a:ext cx="22915389" cy="38947"/>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sp>
        <p:nvSpPr>
          <p:cNvPr id="15" name="CuadroTexto 14">
            <a:extLst>
              <a:ext uri="{FF2B5EF4-FFF2-40B4-BE49-F238E27FC236}">
                <a16:creationId xmlns:a16="http://schemas.microsoft.com/office/drawing/2014/main" id="{69AF75C1-5C84-457F-8BB0-2E09F102172F}"/>
              </a:ext>
            </a:extLst>
          </p:cNvPr>
          <p:cNvSpPr txBox="1"/>
          <p:nvPr/>
        </p:nvSpPr>
        <p:spPr>
          <a:xfrm>
            <a:off x="7419475" y="6260281"/>
            <a:ext cx="3845350" cy="584775"/>
          </a:xfrm>
          <a:prstGeom prst="rect">
            <a:avLst/>
          </a:prstGeom>
          <a:noFill/>
        </p:spPr>
        <p:txBody>
          <a:bodyPr wrap="square" rtlCol="0">
            <a:spAutoFit/>
          </a:bodyPr>
          <a:lstStyle/>
          <a:p>
            <a:pPr algn="l"/>
            <a:r>
              <a:rPr lang="es-ES" sz="1600" b="1" dirty="0">
                <a:solidFill>
                  <a:srgbClr val="C00000"/>
                </a:solidFill>
              </a:rPr>
              <a:t>Configurar pruebas funcionales automáticas</a:t>
            </a:r>
            <a:endParaRPr lang="es-ES" sz="2000" b="1" dirty="0">
              <a:solidFill>
                <a:srgbClr val="C00000"/>
              </a:solidFill>
            </a:endParaRPr>
          </a:p>
        </p:txBody>
      </p:sp>
      <p:sp>
        <p:nvSpPr>
          <p:cNvPr id="16" name="CuadroTexto 15">
            <a:extLst>
              <a:ext uri="{FF2B5EF4-FFF2-40B4-BE49-F238E27FC236}">
                <a16:creationId xmlns:a16="http://schemas.microsoft.com/office/drawing/2014/main" id="{B2C78FDE-42F4-4C73-96B1-D3C6F5A81069}"/>
              </a:ext>
            </a:extLst>
          </p:cNvPr>
          <p:cNvSpPr txBox="1"/>
          <p:nvPr/>
        </p:nvSpPr>
        <p:spPr>
          <a:xfrm>
            <a:off x="11389925" y="6261968"/>
            <a:ext cx="3880600" cy="584775"/>
          </a:xfrm>
          <a:prstGeom prst="rect">
            <a:avLst/>
          </a:prstGeom>
          <a:noFill/>
        </p:spPr>
        <p:txBody>
          <a:bodyPr wrap="square" rtlCol="0">
            <a:spAutoFit/>
          </a:bodyPr>
          <a:lstStyle/>
          <a:p>
            <a:pPr algn="l"/>
            <a:r>
              <a:rPr lang="es-ES" sz="1600" b="1" dirty="0">
                <a:solidFill>
                  <a:srgbClr val="C00000"/>
                </a:solidFill>
              </a:rPr>
              <a:t>Configurar pruebas de seguridad automáticas</a:t>
            </a:r>
            <a:endParaRPr lang="es-ES" sz="2000" b="1" dirty="0">
              <a:solidFill>
                <a:srgbClr val="C00000"/>
              </a:solidFill>
            </a:endParaRPr>
          </a:p>
        </p:txBody>
      </p:sp>
      <p:sp>
        <p:nvSpPr>
          <p:cNvPr id="17" name="CuadroTexto 16">
            <a:extLst>
              <a:ext uri="{FF2B5EF4-FFF2-40B4-BE49-F238E27FC236}">
                <a16:creationId xmlns:a16="http://schemas.microsoft.com/office/drawing/2014/main" id="{CF316EB0-54C9-437C-88E5-FE31AB379C7F}"/>
              </a:ext>
            </a:extLst>
          </p:cNvPr>
          <p:cNvSpPr txBox="1"/>
          <p:nvPr/>
        </p:nvSpPr>
        <p:spPr>
          <a:xfrm>
            <a:off x="11389925" y="7332911"/>
            <a:ext cx="5654842" cy="4893647"/>
          </a:xfrm>
          <a:prstGeom prst="rect">
            <a:avLst/>
          </a:prstGeom>
          <a:noFill/>
        </p:spPr>
        <p:txBody>
          <a:bodyPr wrap="square" rtlCol="0">
            <a:spAutoFit/>
          </a:bodyPr>
          <a:lstStyle/>
          <a:p>
            <a:pPr algn="l"/>
            <a:r>
              <a:rPr lang="en-US" altLang="en-US" sz="2400" dirty="0"/>
              <a:t>RTYO (SanTec)</a:t>
            </a:r>
          </a:p>
          <a:p>
            <a:pPr algn="l"/>
            <a:endParaRPr lang="en-US" altLang="en-US" sz="2400" dirty="0"/>
          </a:p>
          <a:p>
            <a:pPr algn="l"/>
            <a:endParaRPr lang="en-US" altLang="en-US" sz="2400" dirty="0"/>
          </a:p>
          <a:p>
            <a:pPr algn="l"/>
            <a:endParaRPr lang="en-US" altLang="en-US" sz="2400" dirty="0"/>
          </a:p>
          <a:p>
            <a:pPr algn="l"/>
            <a:r>
              <a:rPr lang="es-ES" sz="2400" dirty="0"/>
              <a:t>Dominio de Negocio</a:t>
            </a:r>
          </a:p>
          <a:p>
            <a:pPr algn="l"/>
            <a:endParaRPr lang="es-ES" altLang="en-US" sz="2400" dirty="0"/>
          </a:p>
          <a:p>
            <a:pPr algn="l"/>
            <a:endParaRPr lang="es-ES" altLang="en-US" sz="2400" dirty="0"/>
          </a:p>
          <a:p>
            <a:pPr algn="l"/>
            <a:endParaRPr lang="es-ES" altLang="en-US" sz="2400" dirty="0"/>
          </a:p>
          <a:p>
            <a:pPr algn="l"/>
            <a:r>
              <a:rPr lang="en-US" altLang="en-US" sz="2400" dirty="0"/>
              <a:t>Testing (SanTec)</a:t>
            </a:r>
          </a:p>
          <a:p>
            <a:pPr algn="l"/>
            <a:r>
              <a:rPr lang="en-US" altLang="en-US" sz="2400" dirty="0"/>
              <a:t> </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endParaRPr lang="en-US" altLang="en-US" sz="2400" dirty="0"/>
          </a:p>
        </p:txBody>
      </p:sp>
      <p:sp>
        <p:nvSpPr>
          <p:cNvPr id="18" name="TextBox 27">
            <a:extLst>
              <a:ext uri="{FF2B5EF4-FFF2-40B4-BE49-F238E27FC236}">
                <a16:creationId xmlns:a16="http://schemas.microsoft.com/office/drawing/2014/main" id="{971B5EF6-8B29-4057-86B1-BA3808B312B3}"/>
              </a:ext>
            </a:extLst>
          </p:cNvPr>
          <p:cNvSpPr txBox="1">
            <a:spLocks noChangeArrowheads="1"/>
          </p:cNvSpPr>
          <p:nvPr/>
        </p:nvSpPr>
        <p:spPr bwMode="auto">
          <a:xfrm>
            <a:off x="1934085" y="5266146"/>
            <a:ext cx="9455840" cy="646331"/>
          </a:xfrm>
          <a:prstGeom prst="rect">
            <a:avLst/>
          </a:prstGeom>
          <a:noFill/>
          <a:ln>
            <a:noFill/>
          </a:ln>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eaLnBrk="1" hangingPunct="1"/>
            <a:r>
              <a:rPr lang="en-US" altLang="en-US" sz="3600" dirty="0">
                <a:solidFill>
                  <a:srgbClr val="C00000"/>
                </a:solidFill>
                <a:cs typeface="Arial" panose="020B0604020202020204" pitchFamily="34" charset="0"/>
              </a:rPr>
              <a:t>Responsible   </a:t>
            </a:r>
            <a:r>
              <a:rPr lang="en-US" altLang="en-US" sz="3200" b="0" dirty="0">
                <a:cs typeface="Arial" panose="020B0604020202020204" pitchFamily="34" charset="0"/>
              </a:rPr>
              <a:t>Dominio de Negocio</a:t>
            </a:r>
          </a:p>
        </p:txBody>
      </p:sp>
      <p:pic>
        <p:nvPicPr>
          <p:cNvPr id="19" name="Picture 25">
            <a:extLst>
              <a:ext uri="{FF2B5EF4-FFF2-40B4-BE49-F238E27FC236}">
                <a16:creationId xmlns:a16="http://schemas.microsoft.com/office/drawing/2014/main" id="{7627B8F6-B003-42D1-8313-10FA337ABD57}"/>
              </a:ext>
            </a:extLst>
          </p:cNvPr>
          <p:cNvPicPr>
            <a:picLocks noChangeAspect="1"/>
          </p:cNvPicPr>
          <p:nvPr/>
        </p:nvPicPr>
        <p:blipFill>
          <a:blip r:embed="rId9">
            <a:extLst>
              <a:ext uri="{BEBA8EAE-BF5A-486C-A8C5-ECC9F3942E4B}">
                <a14:imgProps xmlns:a14="http://schemas.microsoft.com/office/drawing/2010/main">
                  <a14:imgLayer r:embed="rId10">
                    <a14:imgEffect>
                      <a14:colorTemperature colorTemp="2300"/>
                    </a14:imgEffect>
                  </a14:imgLayer>
                </a14:imgProps>
              </a:ext>
              <a:ext uri="{28A0092B-C50C-407E-A947-70E740481C1C}">
                <a14:useLocalDpi xmlns:a14="http://schemas.microsoft.com/office/drawing/2010/main" val="0"/>
              </a:ext>
            </a:extLst>
          </a:blip>
          <a:stretch>
            <a:fillRect/>
          </a:stretch>
        </p:blipFill>
        <p:spPr>
          <a:xfrm>
            <a:off x="255221" y="4554484"/>
            <a:ext cx="1817801" cy="1817801"/>
          </a:xfrm>
          <a:prstGeom prst="rect">
            <a:avLst/>
          </a:prstGeom>
        </p:spPr>
      </p:pic>
      <p:sp>
        <p:nvSpPr>
          <p:cNvPr id="20" name="Rectángulo 19">
            <a:extLst>
              <a:ext uri="{FF2B5EF4-FFF2-40B4-BE49-F238E27FC236}">
                <a16:creationId xmlns:a16="http://schemas.microsoft.com/office/drawing/2014/main" id="{87A4DA26-1E5F-46FA-852D-65CA7BCD76CD}"/>
              </a:ext>
            </a:extLst>
          </p:cNvPr>
          <p:cNvSpPr/>
          <p:nvPr/>
        </p:nvSpPr>
        <p:spPr>
          <a:xfrm>
            <a:off x="19518475" y="6851179"/>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1" name="Rectángulo 20">
            <a:extLst>
              <a:ext uri="{FF2B5EF4-FFF2-40B4-BE49-F238E27FC236}">
                <a16:creationId xmlns:a16="http://schemas.microsoft.com/office/drawing/2014/main" id="{90EFD748-2261-4032-8E6D-481F01F7B961}"/>
              </a:ext>
            </a:extLst>
          </p:cNvPr>
          <p:cNvSpPr/>
          <p:nvPr/>
        </p:nvSpPr>
        <p:spPr>
          <a:xfrm>
            <a:off x="15485475" y="6892180"/>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2" name="Rectángulo 21">
            <a:extLst>
              <a:ext uri="{FF2B5EF4-FFF2-40B4-BE49-F238E27FC236}">
                <a16:creationId xmlns:a16="http://schemas.microsoft.com/office/drawing/2014/main" id="{8583D6F5-3ECA-4B9D-9C72-C3F5B899B511}"/>
              </a:ext>
            </a:extLst>
          </p:cNvPr>
          <p:cNvSpPr/>
          <p:nvPr/>
        </p:nvSpPr>
        <p:spPr>
          <a:xfrm>
            <a:off x="11452475" y="6876299"/>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3" name="Rectángulo 22">
            <a:extLst>
              <a:ext uri="{FF2B5EF4-FFF2-40B4-BE49-F238E27FC236}">
                <a16:creationId xmlns:a16="http://schemas.microsoft.com/office/drawing/2014/main" id="{D2ABD068-9DA6-4100-BB06-01253A65BD5A}"/>
              </a:ext>
            </a:extLst>
          </p:cNvPr>
          <p:cNvSpPr/>
          <p:nvPr/>
        </p:nvSpPr>
        <p:spPr>
          <a:xfrm>
            <a:off x="7419475" y="6882281"/>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4" name="CuadroTexto 23">
            <a:extLst>
              <a:ext uri="{FF2B5EF4-FFF2-40B4-BE49-F238E27FC236}">
                <a16:creationId xmlns:a16="http://schemas.microsoft.com/office/drawing/2014/main" id="{B89FC625-5D9A-4E7E-A14F-F68BF95907C3}"/>
              </a:ext>
            </a:extLst>
          </p:cNvPr>
          <p:cNvSpPr txBox="1"/>
          <p:nvPr/>
        </p:nvSpPr>
        <p:spPr>
          <a:xfrm>
            <a:off x="15485475" y="6294815"/>
            <a:ext cx="3907900" cy="584775"/>
          </a:xfrm>
          <a:prstGeom prst="rect">
            <a:avLst/>
          </a:prstGeom>
          <a:noFill/>
        </p:spPr>
        <p:txBody>
          <a:bodyPr wrap="square" rtlCol="0">
            <a:spAutoFit/>
          </a:bodyPr>
          <a:lstStyle/>
          <a:p>
            <a:pPr algn="l"/>
            <a:r>
              <a:rPr lang="es-ES" sz="1600" b="1" dirty="0">
                <a:solidFill>
                  <a:srgbClr val="C00000"/>
                </a:solidFill>
              </a:rPr>
              <a:t>Configurar pruebas de resiliencia automáticas</a:t>
            </a:r>
            <a:endParaRPr lang="es-ES" sz="2000" b="1" dirty="0">
              <a:solidFill>
                <a:srgbClr val="C00000"/>
              </a:solidFill>
            </a:endParaRPr>
          </a:p>
        </p:txBody>
      </p:sp>
      <p:sp>
        <p:nvSpPr>
          <p:cNvPr id="25" name="CuadroTexto 24">
            <a:extLst>
              <a:ext uri="{FF2B5EF4-FFF2-40B4-BE49-F238E27FC236}">
                <a16:creationId xmlns:a16="http://schemas.microsoft.com/office/drawing/2014/main" id="{C815608D-E66B-4D41-BDCA-B615E4A26D97}"/>
              </a:ext>
            </a:extLst>
          </p:cNvPr>
          <p:cNvSpPr txBox="1"/>
          <p:nvPr/>
        </p:nvSpPr>
        <p:spPr>
          <a:xfrm>
            <a:off x="19518475" y="6327664"/>
            <a:ext cx="5029200" cy="338554"/>
          </a:xfrm>
          <a:prstGeom prst="rect">
            <a:avLst/>
          </a:prstGeom>
          <a:noFill/>
        </p:spPr>
        <p:txBody>
          <a:bodyPr wrap="square" rtlCol="0">
            <a:spAutoFit/>
          </a:bodyPr>
          <a:lstStyle/>
          <a:p>
            <a:pPr algn="l"/>
            <a:r>
              <a:rPr lang="es-ES" sz="1600" b="1" dirty="0">
                <a:solidFill>
                  <a:srgbClr val="C00000"/>
                </a:solidFill>
              </a:rPr>
              <a:t>Desplegar en Entorno de Pre Producción</a:t>
            </a:r>
            <a:endParaRPr lang="es-ES" sz="2000" b="1" dirty="0">
              <a:solidFill>
                <a:srgbClr val="C00000"/>
              </a:solidFill>
            </a:endParaRPr>
          </a:p>
        </p:txBody>
      </p:sp>
      <p:sp>
        <p:nvSpPr>
          <p:cNvPr id="26" name="CuadroTexto 25">
            <a:extLst>
              <a:ext uri="{FF2B5EF4-FFF2-40B4-BE49-F238E27FC236}">
                <a16:creationId xmlns:a16="http://schemas.microsoft.com/office/drawing/2014/main" id="{3182F7FA-E747-469E-B8B8-0D82B6CD443F}"/>
              </a:ext>
            </a:extLst>
          </p:cNvPr>
          <p:cNvSpPr txBox="1"/>
          <p:nvPr/>
        </p:nvSpPr>
        <p:spPr>
          <a:xfrm>
            <a:off x="15509077" y="7327163"/>
            <a:ext cx="5654842" cy="4524315"/>
          </a:xfrm>
          <a:prstGeom prst="rect">
            <a:avLst/>
          </a:prstGeom>
          <a:noFill/>
        </p:spPr>
        <p:txBody>
          <a:bodyPr wrap="square" rtlCol="0">
            <a:spAutoFit/>
          </a:bodyPr>
          <a:lstStyle/>
          <a:p>
            <a:pPr algn="l"/>
            <a:endParaRPr lang="en-US" altLang="en-US" sz="2400" dirty="0"/>
          </a:p>
          <a:p>
            <a:pPr algn="l"/>
            <a:endParaRPr lang="en-US" altLang="en-US" sz="2400" dirty="0"/>
          </a:p>
          <a:p>
            <a:pPr algn="l"/>
            <a:endParaRPr lang="en-US" altLang="en-US" sz="2400" dirty="0"/>
          </a:p>
          <a:p>
            <a:pPr algn="l"/>
            <a:endParaRPr lang="en-US" altLang="en-US" sz="2400" dirty="0"/>
          </a:p>
          <a:p>
            <a:pPr algn="l"/>
            <a:r>
              <a:rPr lang="es-ES" sz="2400" dirty="0"/>
              <a:t>Dominio de Negocio</a:t>
            </a:r>
            <a:endParaRPr lang="en-US" altLang="en-US" sz="2400" dirty="0"/>
          </a:p>
          <a:p>
            <a:pPr algn="l"/>
            <a:endParaRPr lang="en-US" altLang="en-US" sz="2400" dirty="0"/>
          </a:p>
          <a:p>
            <a:pPr algn="l"/>
            <a:endParaRPr lang="en-US" altLang="en-US" sz="2400" dirty="0"/>
          </a:p>
          <a:p>
            <a:pPr algn="l"/>
            <a:endParaRPr lang="en-US" altLang="en-US" sz="2400" dirty="0"/>
          </a:p>
          <a:p>
            <a:pPr algn="l"/>
            <a:r>
              <a:rPr lang="en-US" altLang="en-US" sz="2400" dirty="0"/>
              <a:t>Infraestructura (SanTec)</a:t>
            </a:r>
          </a:p>
          <a:p>
            <a:pPr algn="l"/>
            <a:r>
              <a:rPr lang="en-US" altLang="en-US" sz="2400" dirty="0"/>
              <a:t>Testing (SanTec)</a:t>
            </a:r>
          </a:p>
          <a:p>
            <a:pPr algn="l"/>
            <a:endParaRPr lang="en-US" altLang="en-US" sz="2400" dirty="0"/>
          </a:p>
          <a:p>
            <a:pPr algn="l"/>
            <a:endParaRPr lang="en-US" altLang="en-US" sz="2400" dirty="0"/>
          </a:p>
        </p:txBody>
      </p:sp>
      <p:sp>
        <p:nvSpPr>
          <p:cNvPr id="27" name="CuadroTexto 26">
            <a:extLst>
              <a:ext uri="{FF2B5EF4-FFF2-40B4-BE49-F238E27FC236}">
                <a16:creationId xmlns:a16="http://schemas.microsoft.com/office/drawing/2014/main" id="{FAD9F972-E20C-4150-89E1-A0854049F7C8}"/>
              </a:ext>
            </a:extLst>
          </p:cNvPr>
          <p:cNvSpPr txBox="1"/>
          <p:nvPr/>
        </p:nvSpPr>
        <p:spPr>
          <a:xfrm>
            <a:off x="19518475" y="7327163"/>
            <a:ext cx="5654842" cy="4154984"/>
          </a:xfrm>
          <a:prstGeom prst="rect">
            <a:avLst/>
          </a:prstGeom>
          <a:noFill/>
        </p:spPr>
        <p:txBody>
          <a:bodyPr wrap="square" rtlCol="0">
            <a:spAutoFit/>
          </a:bodyPr>
          <a:lstStyle/>
          <a:p>
            <a:pPr algn="l"/>
            <a:r>
              <a:rPr lang="en-US" altLang="en-US" sz="2400" dirty="0"/>
              <a:t>Testing (SanTec)</a:t>
            </a:r>
          </a:p>
          <a:p>
            <a:pPr algn="l"/>
            <a:endParaRPr lang="en-US" altLang="en-US" sz="2400" dirty="0"/>
          </a:p>
          <a:p>
            <a:pPr algn="l"/>
            <a:endParaRPr lang="en-US" altLang="en-US" sz="2400" dirty="0"/>
          </a:p>
          <a:p>
            <a:pPr algn="l"/>
            <a:endParaRPr lang="en-US" altLang="en-US" sz="2400" dirty="0"/>
          </a:p>
          <a:p>
            <a:pPr algn="l"/>
            <a:r>
              <a:rPr lang="es-ES" sz="2400" dirty="0"/>
              <a:t>Dominio de Negocio</a:t>
            </a:r>
          </a:p>
          <a:p>
            <a:pPr algn="l"/>
            <a:endParaRPr lang="es-ES" sz="2400" dirty="0"/>
          </a:p>
          <a:p>
            <a:pPr algn="l"/>
            <a:endParaRPr lang="es-ES" sz="2400" dirty="0"/>
          </a:p>
          <a:p>
            <a:pPr algn="l"/>
            <a:endParaRPr lang="es-ES" sz="2400" dirty="0"/>
          </a:p>
          <a:p>
            <a:pPr algn="l"/>
            <a:r>
              <a:rPr lang="en-US" altLang="en-US" sz="2400" dirty="0"/>
              <a:t>Ingeniería (SanTec)</a:t>
            </a:r>
          </a:p>
          <a:p>
            <a:pPr algn="l"/>
            <a:endParaRPr lang="es-ES" sz="2400" dirty="0"/>
          </a:p>
          <a:p>
            <a:pPr algn="l"/>
            <a:endParaRPr lang="en-US" altLang="en-US" sz="2400" dirty="0"/>
          </a:p>
        </p:txBody>
      </p:sp>
      <p:sp>
        <p:nvSpPr>
          <p:cNvPr id="29" name="CuadroTexto 28">
            <a:extLst>
              <a:ext uri="{FF2B5EF4-FFF2-40B4-BE49-F238E27FC236}">
                <a16:creationId xmlns:a16="http://schemas.microsoft.com/office/drawing/2014/main" id="{F7ED716B-5AD4-4314-8F74-E1C815747D39}"/>
              </a:ext>
            </a:extLst>
          </p:cNvPr>
          <p:cNvSpPr txBox="1"/>
          <p:nvPr/>
        </p:nvSpPr>
        <p:spPr>
          <a:xfrm>
            <a:off x="7435404" y="7327163"/>
            <a:ext cx="5654842" cy="4893647"/>
          </a:xfrm>
          <a:prstGeom prst="rect">
            <a:avLst/>
          </a:prstGeom>
          <a:noFill/>
        </p:spPr>
        <p:txBody>
          <a:bodyPr wrap="square" rtlCol="0">
            <a:spAutoFit/>
          </a:bodyPr>
          <a:lstStyle/>
          <a:p>
            <a:pPr algn="l"/>
            <a:endParaRPr lang="en-US" altLang="en-US" sz="2400" dirty="0"/>
          </a:p>
          <a:p>
            <a:pPr algn="l"/>
            <a:endParaRPr lang="en-US" altLang="en-US" sz="2400" dirty="0"/>
          </a:p>
          <a:p>
            <a:pPr algn="l"/>
            <a:endParaRPr lang="en-US" altLang="en-US" sz="2400" dirty="0"/>
          </a:p>
          <a:p>
            <a:pPr algn="l"/>
            <a:endParaRPr lang="en-US" altLang="en-US" sz="2400" dirty="0"/>
          </a:p>
          <a:p>
            <a:pPr algn="l"/>
            <a:r>
              <a:rPr lang="es-ES" sz="2400" dirty="0"/>
              <a:t>Dominio de Negocio</a:t>
            </a:r>
            <a:r>
              <a:rPr lang="en-US" altLang="en-US" sz="2400" dirty="0"/>
              <a:t> </a:t>
            </a:r>
          </a:p>
          <a:p>
            <a:pPr algn="l"/>
            <a:endParaRPr lang="es-ES" altLang="en-US" sz="2400" dirty="0"/>
          </a:p>
          <a:p>
            <a:pPr algn="l"/>
            <a:endParaRPr lang="es-ES" altLang="en-US" sz="2400" dirty="0"/>
          </a:p>
          <a:p>
            <a:pPr algn="l"/>
            <a:endParaRPr lang="es-ES" altLang="en-US" sz="2400" dirty="0"/>
          </a:p>
          <a:p>
            <a:pPr algn="l"/>
            <a:r>
              <a:rPr lang="en-US" altLang="en-US" sz="2400" dirty="0"/>
              <a:t>Testing (SanTec)</a:t>
            </a:r>
          </a:p>
          <a:p>
            <a:pPr algn="l"/>
            <a:r>
              <a:rPr lang="en-US" altLang="en-US" sz="2400" dirty="0"/>
              <a:t> </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endParaRPr lang="en-US" altLang="en-US" sz="2400" dirty="0"/>
          </a:p>
        </p:txBody>
      </p:sp>
      <p:pic>
        <p:nvPicPr>
          <p:cNvPr id="30" name="New picture">
            <a:extLst>
              <a:ext uri="{FF2B5EF4-FFF2-40B4-BE49-F238E27FC236}">
                <a16:creationId xmlns:a16="http://schemas.microsoft.com/office/drawing/2014/main" id="{F97F2107-4875-406C-94C5-34185E59A4EF}"/>
              </a:ext>
            </a:extLst>
          </p:cNvPr>
          <p:cNvPicPr/>
          <p:nvPr/>
        </p:nvPicPr>
        <p:blipFill rotWithShape="1">
          <a:blip r:embed="rId11"/>
          <a:srcRect t="13447" b="58633"/>
          <a:stretch/>
        </p:blipFill>
        <p:spPr>
          <a:xfrm>
            <a:off x="3564742" y="1742803"/>
            <a:ext cx="19834333" cy="3575632"/>
          </a:xfrm>
          <a:prstGeom prst="rect">
            <a:avLst/>
          </a:prstGeom>
        </p:spPr>
      </p:pic>
    </p:spTree>
    <p:extLst>
      <p:ext uri="{BB962C8B-B14F-4D97-AF65-F5344CB8AC3E}">
        <p14:creationId xmlns:p14="http://schemas.microsoft.com/office/powerpoint/2010/main" val="959978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1AECC4A-54E2-4B48-9F88-ACC3FE88C62A}"/>
              </a:ext>
            </a:extLst>
          </p:cNvPr>
          <p:cNvSpPr txBox="1"/>
          <p:nvPr/>
        </p:nvSpPr>
        <p:spPr>
          <a:xfrm>
            <a:off x="650240" y="541319"/>
            <a:ext cx="22611504" cy="1569660"/>
          </a:xfrm>
          <a:prstGeom prst="rect">
            <a:avLst/>
          </a:prstGeom>
          <a:noFill/>
        </p:spPr>
        <p:txBody>
          <a:bodyPr wrap="square" rtlCol="0" anchor="t">
            <a:spAutoFit/>
          </a:bodyPr>
          <a:lstStyle/>
          <a:p>
            <a:pPr algn="l"/>
            <a:r>
              <a:rPr lang="en-GB" sz="4000" b="1" kern="1200" dirty="0">
                <a:solidFill>
                  <a:srgbClr val="C00000"/>
                </a:solidFill>
                <a:cs typeface="Arial"/>
              </a:rPr>
              <a:t>CI / CD de releases</a:t>
            </a:r>
            <a:r>
              <a:rPr lang="en-US" sz="4000" b="1" kern="1200" dirty="0">
                <a:solidFill>
                  <a:srgbClr val="C00000"/>
                </a:solidFill>
              </a:rPr>
              <a:t>  </a:t>
            </a:r>
            <a:r>
              <a:rPr lang="en-GB" sz="2800" kern="1200" dirty="0">
                <a:solidFill>
                  <a:srgbClr val="C00000"/>
                </a:solidFill>
              </a:rPr>
              <a:t>Integración QA &amp; testing de releases</a:t>
            </a:r>
          </a:p>
          <a:p>
            <a:pPr algn="l"/>
            <a:r>
              <a:rPr lang="es-ES" altLang="en-US" sz="2800" kern="1200" dirty="0">
                <a:solidFill>
                  <a:schemeClr val="tx1"/>
                </a:solidFill>
              </a:rPr>
              <a:t>Vista de Procesos</a:t>
            </a:r>
            <a:endParaRPr lang="en-US" altLang="en-US" sz="2800" kern="1200" dirty="0">
              <a:solidFill>
                <a:schemeClr val="tx1"/>
              </a:solidFill>
            </a:endParaRPr>
          </a:p>
          <a:p>
            <a:pPr algn="l"/>
            <a:endParaRPr lang="en-US" altLang="en-US" sz="2800" kern="1200" dirty="0">
              <a:solidFill>
                <a:srgbClr val="C00000"/>
              </a:solidFill>
              <a:latin typeface="IBM Plex Sans"/>
            </a:endParaRPr>
          </a:p>
        </p:txBody>
      </p:sp>
      <p:sp>
        <p:nvSpPr>
          <p:cNvPr id="5" name="TextBox 27">
            <a:extLst>
              <a:ext uri="{FF2B5EF4-FFF2-40B4-BE49-F238E27FC236}">
                <a16:creationId xmlns:a16="http://schemas.microsoft.com/office/drawing/2014/main" id="{4C04B3B4-3489-4264-A951-8469097A50F2}"/>
              </a:ext>
            </a:extLst>
          </p:cNvPr>
          <p:cNvSpPr txBox="1">
            <a:spLocks noChangeArrowheads="1"/>
          </p:cNvSpPr>
          <p:nvPr/>
        </p:nvSpPr>
        <p:spPr bwMode="auto">
          <a:xfrm>
            <a:off x="1140883" y="7935102"/>
            <a:ext cx="1851470" cy="34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a:r>
              <a:rPr lang="en-US" sz="2000" dirty="0">
                <a:solidFill>
                  <a:srgbClr val="C00000"/>
                </a:solidFill>
                <a:cs typeface="Arial" panose="020B0604020202020204" pitchFamily="34" charset="0"/>
              </a:rPr>
              <a:t>Informed</a:t>
            </a: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r>
              <a:rPr lang="en-US" sz="2000" dirty="0">
                <a:solidFill>
                  <a:srgbClr val="C00000"/>
                </a:solidFill>
                <a:cs typeface="Arial" panose="020B0604020202020204" pitchFamily="34" charset="0"/>
              </a:rPr>
              <a:t>Accountable</a:t>
            </a: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r>
              <a:rPr lang="en-US" altLang="en-US" sz="2000" dirty="0">
                <a:solidFill>
                  <a:srgbClr val="C00000"/>
                </a:solidFill>
                <a:cs typeface="Arial" panose="020B0604020202020204" pitchFamily="34" charset="0"/>
              </a:rPr>
              <a:t>Consulted</a:t>
            </a:r>
          </a:p>
        </p:txBody>
      </p:sp>
      <p:pic>
        <p:nvPicPr>
          <p:cNvPr id="6" name="Graphic 6" descr="Handshake">
            <a:extLst>
              <a:ext uri="{FF2B5EF4-FFF2-40B4-BE49-F238E27FC236}">
                <a16:creationId xmlns:a16="http://schemas.microsoft.com/office/drawing/2014/main" id="{582FAF72-B405-4804-9CE2-5BDC21C9FC8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7146" y="10546135"/>
            <a:ext cx="788947" cy="788947"/>
          </a:xfrm>
          <a:prstGeom prst="rect">
            <a:avLst/>
          </a:prstGeom>
        </p:spPr>
      </p:pic>
      <p:pic>
        <p:nvPicPr>
          <p:cNvPr id="7" name="Graphic 26" descr="Research">
            <a:extLst>
              <a:ext uri="{FF2B5EF4-FFF2-40B4-BE49-F238E27FC236}">
                <a16:creationId xmlns:a16="http://schemas.microsoft.com/office/drawing/2014/main" id="{33986B7E-393F-44BE-8770-D327848F9D8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0876" y="8982625"/>
            <a:ext cx="741219" cy="741219"/>
          </a:xfrm>
          <a:prstGeom prst="rect">
            <a:avLst/>
          </a:prstGeom>
        </p:spPr>
      </p:pic>
      <p:pic>
        <p:nvPicPr>
          <p:cNvPr id="9" name="Graphic 34" descr="Information">
            <a:extLst>
              <a:ext uri="{FF2B5EF4-FFF2-40B4-BE49-F238E27FC236}">
                <a16:creationId xmlns:a16="http://schemas.microsoft.com/office/drawing/2014/main" id="{67089150-517E-4A65-BBB6-FC0C2A00A01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94255" y="7445529"/>
            <a:ext cx="747097" cy="747097"/>
          </a:xfrm>
          <a:prstGeom prst="rect">
            <a:avLst/>
          </a:prstGeom>
        </p:spPr>
      </p:pic>
      <p:sp>
        <p:nvSpPr>
          <p:cNvPr id="10" name="Rectángulo 9">
            <a:extLst>
              <a:ext uri="{FF2B5EF4-FFF2-40B4-BE49-F238E27FC236}">
                <a16:creationId xmlns:a16="http://schemas.microsoft.com/office/drawing/2014/main" id="{00F17A49-6452-4775-8A23-D64C9B727E7F}"/>
              </a:ext>
            </a:extLst>
          </p:cNvPr>
          <p:cNvSpPr/>
          <p:nvPr/>
        </p:nvSpPr>
        <p:spPr>
          <a:xfrm>
            <a:off x="3386475" y="6876299"/>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1" name="CuadroTexto 10">
            <a:extLst>
              <a:ext uri="{FF2B5EF4-FFF2-40B4-BE49-F238E27FC236}">
                <a16:creationId xmlns:a16="http://schemas.microsoft.com/office/drawing/2014/main" id="{12257555-3D22-4584-9BF2-0C74943BF0B8}"/>
              </a:ext>
            </a:extLst>
          </p:cNvPr>
          <p:cNvSpPr txBox="1"/>
          <p:nvPr/>
        </p:nvSpPr>
        <p:spPr>
          <a:xfrm>
            <a:off x="3386474" y="6284344"/>
            <a:ext cx="3880600" cy="338554"/>
          </a:xfrm>
          <a:prstGeom prst="rect">
            <a:avLst/>
          </a:prstGeom>
          <a:noFill/>
        </p:spPr>
        <p:txBody>
          <a:bodyPr wrap="square" rtlCol="0">
            <a:spAutoFit/>
          </a:bodyPr>
          <a:lstStyle/>
          <a:p>
            <a:pPr algn="l"/>
            <a:r>
              <a:rPr lang="es-ES" sz="1600" b="1" dirty="0">
                <a:solidFill>
                  <a:srgbClr val="C00000"/>
                </a:solidFill>
              </a:rPr>
              <a:t>Revisar Incidencias reportadas</a:t>
            </a:r>
          </a:p>
        </p:txBody>
      </p:sp>
      <p:sp>
        <p:nvSpPr>
          <p:cNvPr id="12" name="CuadroTexto 11">
            <a:extLst>
              <a:ext uri="{FF2B5EF4-FFF2-40B4-BE49-F238E27FC236}">
                <a16:creationId xmlns:a16="http://schemas.microsoft.com/office/drawing/2014/main" id="{80D7CE4F-5984-4543-A773-BEB2DA97CA03}"/>
              </a:ext>
            </a:extLst>
          </p:cNvPr>
          <p:cNvSpPr txBox="1"/>
          <p:nvPr/>
        </p:nvSpPr>
        <p:spPr>
          <a:xfrm>
            <a:off x="3386474" y="7259984"/>
            <a:ext cx="5654842" cy="3600986"/>
          </a:xfrm>
          <a:prstGeom prst="rect">
            <a:avLst/>
          </a:prstGeom>
          <a:noFill/>
        </p:spPr>
        <p:txBody>
          <a:bodyPr wrap="square" rtlCol="0">
            <a:spAutoFit/>
          </a:bodyPr>
          <a:lstStyle/>
          <a:p>
            <a:pPr algn="l"/>
            <a:r>
              <a:rPr lang="en-US" altLang="en-US" sz="1200" dirty="0"/>
              <a:t>Infraestructura (SanTec)</a:t>
            </a:r>
          </a:p>
          <a:p>
            <a:pPr algn="l"/>
            <a:r>
              <a:rPr lang="en-US" altLang="en-US" sz="1200" dirty="0"/>
              <a:t>Operaciones (SanTec)</a:t>
            </a:r>
          </a:p>
          <a:p>
            <a:pPr algn="l"/>
            <a:r>
              <a:rPr lang="en-US" altLang="en-US" sz="1200" dirty="0"/>
              <a:t>Testing (SanTec)</a:t>
            </a:r>
          </a:p>
          <a:p>
            <a:pPr algn="l"/>
            <a:r>
              <a:rPr lang="en-US" altLang="en-US" sz="1200" dirty="0"/>
              <a:t>Rendimiento (SGT)</a:t>
            </a:r>
          </a:p>
          <a:p>
            <a:pPr algn="l"/>
            <a:r>
              <a:rPr lang="en-US" altLang="en-US" sz="1200" dirty="0"/>
              <a:t>Seguridad (SGT)</a:t>
            </a:r>
          </a:p>
          <a:p>
            <a:pPr algn="l"/>
            <a:endParaRPr lang="en-US" altLang="en-US" sz="2400" dirty="0"/>
          </a:p>
          <a:p>
            <a:pPr algn="l"/>
            <a:endParaRPr lang="es-ES" sz="2400" dirty="0"/>
          </a:p>
          <a:p>
            <a:pPr algn="l"/>
            <a:r>
              <a:rPr lang="es-ES" sz="2400" dirty="0"/>
              <a:t>Dominio de Negocio</a:t>
            </a:r>
            <a:r>
              <a:rPr lang="en-US" altLang="en-US" sz="2400" dirty="0"/>
              <a:t> </a:t>
            </a:r>
          </a:p>
          <a:p>
            <a:pPr algn="l"/>
            <a:endParaRPr lang="en-US" altLang="en-US" sz="2400" dirty="0"/>
          </a:p>
          <a:p>
            <a:pPr algn="l"/>
            <a:endParaRPr lang="en-US" altLang="en-US" sz="2400" dirty="0"/>
          </a:p>
          <a:p>
            <a:pPr algn="l"/>
            <a:endParaRPr lang="en-US" altLang="en-US" sz="2400" dirty="0"/>
          </a:p>
          <a:p>
            <a:pPr algn="l"/>
            <a:r>
              <a:rPr lang="en-US" altLang="en-US" sz="2400" dirty="0"/>
              <a:t> </a:t>
            </a:r>
            <a:endParaRPr lang="es-ES" sz="2400" dirty="0"/>
          </a:p>
        </p:txBody>
      </p:sp>
      <p:cxnSp>
        <p:nvCxnSpPr>
          <p:cNvPr id="13" name="Conector recto 12">
            <a:extLst>
              <a:ext uri="{FF2B5EF4-FFF2-40B4-BE49-F238E27FC236}">
                <a16:creationId xmlns:a16="http://schemas.microsoft.com/office/drawing/2014/main" id="{9BEF7A10-C450-456B-9E37-E803804D4252}"/>
              </a:ext>
            </a:extLst>
          </p:cNvPr>
          <p:cNvCxnSpPr>
            <a:cxnSpLocks/>
          </p:cNvCxnSpPr>
          <p:nvPr/>
        </p:nvCxnSpPr>
        <p:spPr>
          <a:xfrm>
            <a:off x="483686" y="8425282"/>
            <a:ext cx="22915389"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14" name="Conector recto 13">
            <a:extLst>
              <a:ext uri="{FF2B5EF4-FFF2-40B4-BE49-F238E27FC236}">
                <a16:creationId xmlns:a16="http://schemas.microsoft.com/office/drawing/2014/main" id="{8E1C4E6F-613C-4B72-8D50-AD34202C9131}"/>
              </a:ext>
            </a:extLst>
          </p:cNvPr>
          <p:cNvCxnSpPr>
            <a:cxnSpLocks/>
          </p:cNvCxnSpPr>
          <p:nvPr/>
        </p:nvCxnSpPr>
        <p:spPr>
          <a:xfrm>
            <a:off x="483686" y="9867955"/>
            <a:ext cx="22778058"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15" name="Conector recto 14">
            <a:extLst>
              <a:ext uri="{FF2B5EF4-FFF2-40B4-BE49-F238E27FC236}">
                <a16:creationId xmlns:a16="http://schemas.microsoft.com/office/drawing/2014/main" id="{5488BF79-81DF-4184-801B-9CE8F8246A75}"/>
              </a:ext>
            </a:extLst>
          </p:cNvPr>
          <p:cNvCxnSpPr>
            <a:cxnSpLocks/>
          </p:cNvCxnSpPr>
          <p:nvPr/>
        </p:nvCxnSpPr>
        <p:spPr>
          <a:xfrm flipV="1">
            <a:off x="483686" y="11335082"/>
            <a:ext cx="22915389" cy="38947"/>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sp>
        <p:nvSpPr>
          <p:cNvPr id="19" name="TextBox 27">
            <a:extLst>
              <a:ext uri="{FF2B5EF4-FFF2-40B4-BE49-F238E27FC236}">
                <a16:creationId xmlns:a16="http://schemas.microsoft.com/office/drawing/2014/main" id="{5FF5D18C-980F-4BAA-A2B9-2D044694F20B}"/>
              </a:ext>
            </a:extLst>
          </p:cNvPr>
          <p:cNvSpPr txBox="1">
            <a:spLocks noChangeArrowheads="1"/>
          </p:cNvSpPr>
          <p:nvPr/>
        </p:nvSpPr>
        <p:spPr bwMode="auto">
          <a:xfrm>
            <a:off x="1934085" y="5266146"/>
            <a:ext cx="9455840" cy="646331"/>
          </a:xfrm>
          <a:prstGeom prst="rect">
            <a:avLst/>
          </a:prstGeom>
          <a:noFill/>
          <a:ln>
            <a:noFill/>
          </a:ln>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eaLnBrk="1" hangingPunct="1"/>
            <a:r>
              <a:rPr lang="en-US" altLang="en-US" sz="3600" dirty="0">
                <a:solidFill>
                  <a:srgbClr val="C00000"/>
                </a:solidFill>
                <a:cs typeface="Arial" panose="020B0604020202020204" pitchFamily="34" charset="0"/>
              </a:rPr>
              <a:t>Responsible   </a:t>
            </a:r>
            <a:r>
              <a:rPr lang="en-US" altLang="en-US" sz="3200" b="0" dirty="0">
                <a:cs typeface="Arial" panose="020B0604020202020204" pitchFamily="34" charset="0"/>
              </a:rPr>
              <a:t>Dominio de Negocio</a:t>
            </a:r>
          </a:p>
        </p:txBody>
      </p:sp>
      <p:pic>
        <p:nvPicPr>
          <p:cNvPr id="20" name="Picture 25">
            <a:extLst>
              <a:ext uri="{FF2B5EF4-FFF2-40B4-BE49-F238E27FC236}">
                <a16:creationId xmlns:a16="http://schemas.microsoft.com/office/drawing/2014/main" id="{66BB03AA-6B13-4BA1-9C8D-DC8F2837188C}"/>
              </a:ext>
            </a:extLst>
          </p:cNvPr>
          <p:cNvPicPr>
            <a:picLocks noChangeAspect="1"/>
          </p:cNvPicPr>
          <p:nvPr/>
        </p:nvPicPr>
        <p:blipFill>
          <a:blip r:embed="rId9">
            <a:extLst>
              <a:ext uri="{BEBA8EAE-BF5A-486C-A8C5-ECC9F3942E4B}">
                <a14:imgProps xmlns:a14="http://schemas.microsoft.com/office/drawing/2010/main">
                  <a14:imgLayer r:embed="rId10">
                    <a14:imgEffect>
                      <a14:colorTemperature colorTemp="2300"/>
                    </a14:imgEffect>
                  </a14:imgLayer>
                </a14:imgProps>
              </a:ext>
              <a:ext uri="{28A0092B-C50C-407E-A947-70E740481C1C}">
                <a14:useLocalDpi xmlns:a14="http://schemas.microsoft.com/office/drawing/2010/main" val="0"/>
              </a:ext>
            </a:extLst>
          </a:blip>
          <a:stretch>
            <a:fillRect/>
          </a:stretch>
        </p:blipFill>
        <p:spPr>
          <a:xfrm>
            <a:off x="255221" y="4554484"/>
            <a:ext cx="1817801" cy="1817801"/>
          </a:xfrm>
          <a:prstGeom prst="rect">
            <a:avLst/>
          </a:prstGeom>
        </p:spPr>
      </p:pic>
      <p:pic>
        <p:nvPicPr>
          <p:cNvPr id="16" name="New picture">
            <a:extLst>
              <a:ext uri="{FF2B5EF4-FFF2-40B4-BE49-F238E27FC236}">
                <a16:creationId xmlns:a16="http://schemas.microsoft.com/office/drawing/2014/main" id="{016B5B9E-7B31-483F-B1CE-D03B29C21F62}"/>
              </a:ext>
            </a:extLst>
          </p:cNvPr>
          <p:cNvPicPr/>
          <p:nvPr/>
        </p:nvPicPr>
        <p:blipFill rotWithShape="1">
          <a:blip r:embed="rId11"/>
          <a:srcRect t="13447" b="58633"/>
          <a:stretch/>
        </p:blipFill>
        <p:spPr>
          <a:xfrm>
            <a:off x="3564742" y="1742803"/>
            <a:ext cx="19834333" cy="3575632"/>
          </a:xfrm>
          <a:prstGeom prst="rect">
            <a:avLst/>
          </a:prstGeom>
        </p:spPr>
      </p:pic>
      <p:sp>
        <p:nvSpPr>
          <p:cNvPr id="17" name="CuadroTexto 16">
            <a:extLst>
              <a:ext uri="{FF2B5EF4-FFF2-40B4-BE49-F238E27FC236}">
                <a16:creationId xmlns:a16="http://schemas.microsoft.com/office/drawing/2014/main" id="{53F470BA-17D3-488E-9B8B-3B566F6BB77D}"/>
              </a:ext>
            </a:extLst>
          </p:cNvPr>
          <p:cNvSpPr txBox="1"/>
          <p:nvPr/>
        </p:nvSpPr>
        <p:spPr>
          <a:xfrm>
            <a:off x="7419475" y="6260281"/>
            <a:ext cx="3845350" cy="584775"/>
          </a:xfrm>
          <a:prstGeom prst="rect">
            <a:avLst/>
          </a:prstGeom>
          <a:noFill/>
        </p:spPr>
        <p:txBody>
          <a:bodyPr wrap="square" rtlCol="0">
            <a:spAutoFit/>
          </a:bodyPr>
          <a:lstStyle/>
          <a:p>
            <a:pPr algn="l"/>
            <a:r>
              <a:rPr lang="es-ES" sz="1600" b="1" dirty="0">
                <a:solidFill>
                  <a:srgbClr val="C00000"/>
                </a:solidFill>
              </a:rPr>
              <a:t>Realizar pruebas de Seguridad manuales</a:t>
            </a:r>
            <a:endParaRPr lang="es-ES" sz="2000" b="1" dirty="0">
              <a:solidFill>
                <a:srgbClr val="C00000"/>
              </a:solidFill>
            </a:endParaRPr>
          </a:p>
        </p:txBody>
      </p:sp>
      <p:sp>
        <p:nvSpPr>
          <p:cNvPr id="18" name="CuadroTexto 17">
            <a:extLst>
              <a:ext uri="{FF2B5EF4-FFF2-40B4-BE49-F238E27FC236}">
                <a16:creationId xmlns:a16="http://schemas.microsoft.com/office/drawing/2014/main" id="{6AEBA529-B347-41C0-B73E-B9D11967F386}"/>
              </a:ext>
            </a:extLst>
          </p:cNvPr>
          <p:cNvSpPr txBox="1"/>
          <p:nvPr/>
        </p:nvSpPr>
        <p:spPr>
          <a:xfrm>
            <a:off x="11389925" y="6261968"/>
            <a:ext cx="3880600" cy="584775"/>
          </a:xfrm>
          <a:prstGeom prst="rect">
            <a:avLst/>
          </a:prstGeom>
          <a:noFill/>
        </p:spPr>
        <p:txBody>
          <a:bodyPr wrap="square" rtlCol="0">
            <a:spAutoFit/>
          </a:bodyPr>
          <a:lstStyle/>
          <a:p>
            <a:pPr algn="l"/>
            <a:r>
              <a:rPr lang="es-ES" sz="1600" b="1" dirty="0">
                <a:solidFill>
                  <a:srgbClr val="C00000"/>
                </a:solidFill>
              </a:rPr>
              <a:t>Realizar pruebas Funcionales manuales</a:t>
            </a:r>
            <a:endParaRPr lang="es-ES" sz="2000" b="1" dirty="0">
              <a:solidFill>
                <a:srgbClr val="C00000"/>
              </a:solidFill>
            </a:endParaRPr>
          </a:p>
        </p:txBody>
      </p:sp>
      <p:sp>
        <p:nvSpPr>
          <p:cNvPr id="21" name="CuadroTexto 20">
            <a:extLst>
              <a:ext uri="{FF2B5EF4-FFF2-40B4-BE49-F238E27FC236}">
                <a16:creationId xmlns:a16="http://schemas.microsoft.com/office/drawing/2014/main" id="{06ECF31C-DDF5-4F83-8D7E-68130B9A6323}"/>
              </a:ext>
            </a:extLst>
          </p:cNvPr>
          <p:cNvSpPr txBox="1"/>
          <p:nvPr/>
        </p:nvSpPr>
        <p:spPr>
          <a:xfrm>
            <a:off x="11389925" y="7332911"/>
            <a:ext cx="5654842" cy="4893647"/>
          </a:xfrm>
          <a:prstGeom prst="rect">
            <a:avLst/>
          </a:prstGeom>
          <a:noFill/>
        </p:spPr>
        <p:txBody>
          <a:bodyPr wrap="square" rtlCol="0">
            <a:spAutoFit/>
          </a:bodyPr>
          <a:lstStyle/>
          <a:p>
            <a:pPr algn="l"/>
            <a:endParaRPr lang="en-US" altLang="en-US" sz="2400" dirty="0"/>
          </a:p>
          <a:p>
            <a:pPr algn="l"/>
            <a:endParaRPr lang="en-US" altLang="en-US" sz="2400" dirty="0"/>
          </a:p>
          <a:p>
            <a:pPr algn="l"/>
            <a:endParaRPr lang="en-US" altLang="en-US" sz="2400" dirty="0"/>
          </a:p>
          <a:p>
            <a:pPr algn="l"/>
            <a:endParaRPr lang="en-US" altLang="en-US" sz="2400" dirty="0"/>
          </a:p>
          <a:p>
            <a:pPr algn="l"/>
            <a:r>
              <a:rPr lang="es-ES" sz="2400" dirty="0"/>
              <a:t>Dominio de Negocio</a:t>
            </a:r>
          </a:p>
          <a:p>
            <a:pPr algn="l"/>
            <a:endParaRPr lang="es-ES" altLang="en-US" sz="2400" dirty="0"/>
          </a:p>
          <a:p>
            <a:pPr algn="l"/>
            <a:endParaRPr lang="es-ES" altLang="en-US" sz="2400" dirty="0"/>
          </a:p>
          <a:p>
            <a:pPr algn="l"/>
            <a:endParaRPr lang="es-ES" altLang="en-US" sz="2400" dirty="0"/>
          </a:p>
          <a:p>
            <a:pPr algn="l"/>
            <a:r>
              <a:rPr lang="en-US" altLang="en-US" sz="2400" dirty="0"/>
              <a:t>Testing (SanTec)</a:t>
            </a:r>
          </a:p>
          <a:p>
            <a:pPr algn="l"/>
            <a:r>
              <a:rPr lang="en-US" altLang="en-US" sz="2400" dirty="0"/>
              <a:t> </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endParaRPr lang="en-US" altLang="en-US" sz="2400" dirty="0"/>
          </a:p>
        </p:txBody>
      </p:sp>
      <p:sp>
        <p:nvSpPr>
          <p:cNvPr id="22" name="Rectángulo 21">
            <a:extLst>
              <a:ext uri="{FF2B5EF4-FFF2-40B4-BE49-F238E27FC236}">
                <a16:creationId xmlns:a16="http://schemas.microsoft.com/office/drawing/2014/main" id="{B3B2AB33-8458-45CA-BC73-5498794685A9}"/>
              </a:ext>
            </a:extLst>
          </p:cNvPr>
          <p:cNvSpPr/>
          <p:nvPr/>
        </p:nvSpPr>
        <p:spPr>
          <a:xfrm>
            <a:off x="19518475" y="6851179"/>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3" name="Rectángulo 22">
            <a:extLst>
              <a:ext uri="{FF2B5EF4-FFF2-40B4-BE49-F238E27FC236}">
                <a16:creationId xmlns:a16="http://schemas.microsoft.com/office/drawing/2014/main" id="{76CADDD6-4C70-4137-AA35-C345251121F3}"/>
              </a:ext>
            </a:extLst>
          </p:cNvPr>
          <p:cNvSpPr/>
          <p:nvPr/>
        </p:nvSpPr>
        <p:spPr>
          <a:xfrm>
            <a:off x="15485475" y="6892180"/>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4" name="Rectángulo 23">
            <a:extLst>
              <a:ext uri="{FF2B5EF4-FFF2-40B4-BE49-F238E27FC236}">
                <a16:creationId xmlns:a16="http://schemas.microsoft.com/office/drawing/2014/main" id="{1B85ADBC-87D8-4B3D-98CC-57675A07C108}"/>
              </a:ext>
            </a:extLst>
          </p:cNvPr>
          <p:cNvSpPr/>
          <p:nvPr/>
        </p:nvSpPr>
        <p:spPr>
          <a:xfrm>
            <a:off x="11452475" y="6876299"/>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5" name="Rectángulo 24">
            <a:extLst>
              <a:ext uri="{FF2B5EF4-FFF2-40B4-BE49-F238E27FC236}">
                <a16:creationId xmlns:a16="http://schemas.microsoft.com/office/drawing/2014/main" id="{51F85718-3152-430C-B367-A91A07ABAF40}"/>
              </a:ext>
            </a:extLst>
          </p:cNvPr>
          <p:cNvSpPr/>
          <p:nvPr/>
        </p:nvSpPr>
        <p:spPr>
          <a:xfrm>
            <a:off x="7419475" y="6882281"/>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6" name="CuadroTexto 25">
            <a:extLst>
              <a:ext uri="{FF2B5EF4-FFF2-40B4-BE49-F238E27FC236}">
                <a16:creationId xmlns:a16="http://schemas.microsoft.com/office/drawing/2014/main" id="{645E62C8-ECAE-434B-89F2-465397F6612E}"/>
              </a:ext>
            </a:extLst>
          </p:cNvPr>
          <p:cNvSpPr txBox="1"/>
          <p:nvPr/>
        </p:nvSpPr>
        <p:spPr>
          <a:xfrm>
            <a:off x="15485475" y="6294815"/>
            <a:ext cx="3907900" cy="584775"/>
          </a:xfrm>
          <a:prstGeom prst="rect">
            <a:avLst/>
          </a:prstGeom>
          <a:noFill/>
        </p:spPr>
        <p:txBody>
          <a:bodyPr wrap="square" rtlCol="0">
            <a:spAutoFit/>
          </a:bodyPr>
          <a:lstStyle/>
          <a:p>
            <a:pPr algn="l"/>
            <a:r>
              <a:rPr lang="es-ES" sz="1600" b="1" dirty="0">
                <a:solidFill>
                  <a:srgbClr val="C00000"/>
                </a:solidFill>
              </a:rPr>
              <a:t>Realizar pruebas de rendimiento manuales</a:t>
            </a:r>
            <a:endParaRPr lang="es-ES" sz="2000" b="1" dirty="0">
              <a:solidFill>
                <a:srgbClr val="C00000"/>
              </a:solidFill>
            </a:endParaRPr>
          </a:p>
        </p:txBody>
      </p:sp>
      <p:sp>
        <p:nvSpPr>
          <p:cNvPr id="27" name="CuadroTexto 26">
            <a:extLst>
              <a:ext uri="{FF2B5EF4-FFF2-40B4-BE49-F238E27FC236}">
                <a16:creationId xmlns:a16="http://schemas.microsoft.com/office/drawing/2014/main" id="{84D0B1C9-1A54-4ED2-96D2-01DD805DA2D2}"/>
              </a:ext>
            </a:extLst>
          </p:cNvPr>
          <p:cNvSpPr txBox="1"/>
          <p:nvPr/>
        </p:nvSpPr>
        <p:spPr>
          <a:xfrm>
            <a:off x="19518475" y="6327664"/>
            <a:ext cx="3970450" cy="584775"/>
          </a:xfrm>
          <a:prstGeom prst="rect">
            <a:avLst/>
          </a:prstGeom>
          <a:noFill/>
        </p:spPr>
        <p:txBody>
          <a:bodyPr wrap="square" rtlCol="0">
            <a:spAutoFit/>
          </a:bodyPr>
          <a:lstStyle/>
          <a:p>
            <a:pPr algn="l"/>
            <a:r>
              <a:rPr lang="es-ES" sz="1600" b="1" dirty="0">
                <a:solidFill>
                  <a:srgbClr val="C00000"/>
                </a:solidFill>
              </a:rPr>
              <a:t>Realizar pruebas de resiliencia manuales</a:t>
            </a:r>
            <a:endParaRPr lang="es-ES" sz="2000" b="1" dirty="0">
              <a:solidFill>
                <a:srgbClr val="C00000"/>
              </a:solidFill>
            </a:endParaRPr>
          </a:p>
        </p:txBody>
      </p:sp>
      <p:sp>
        <p:nvSpPr>
          <p:cNvPr id="28" name="CuadroTexto 27">
            <a:extLst>
              <a:ext uri="{FF2B5EF4-FFF2-40B4-BE49-F238E27FC236}">
                <a16:creationId xmlns:a16="http://schemas.microsoft.com/office/drawing/2014/main" id="{66A0FA27-E9C7-4AAC-A380-267D5251451C}"/>
              </a:ext>
            </a:extLst>
          </p:cNvPr>
          <p:cNvSpPr txBox="1"/>
          <p:nvPr/>
        </p:nvSpPr>
        <p:spPr>
          <a:xfrm>
            <a:off x="15509077" y="7327163"/>
            <a:ext cx="5654842" cy="4524315"/>
          </a:xfrm>
          <a:prstGeom prst="rect">
            <a:avLst/>
          </a:prstGeom>
          <a:noFill/>
        </p:spPr>
        <p:txBody>
          <a:bodyPr wrap="square" rtlCol="0">
            <a:spAutoFit/>
          </a:bodyPr>
          <a:lstStyle/>
          <a:p>
            <a:pPr algn="l"/>
            <a:endParaRPr lang="en-US" altLang="en-US" sz="2400" dirty="0"/>
          </a:p>
          <a:p>
            <a:pPr algn="l"/>
            <a:endParaRPr lang="en-US" altLang="en-US" sz="2400" dirty="0"/>
          </a:p>
          <a:p>
            <a:pPr algn="l"/>
            <a:endParaRPr lang="en-US" altLang="en-US" sz="2400" dirty="0"/>
          </a:p>
          <a:p>
            <a:pPr algn="l"/>
            <a:endParaRPr lang="en-US" altLang="en-US" sz="2400" dirty="0"/>
          </a:p>
          <a:p>
            <a:pPr algn="l"/>
            <a:r>
              <a:rPr lang="es-ES" sz="2400" dirty="0"/>
              <a:t>Dominio de Negocio</a:t>
            </a:r>
            <a:endParaRPr lang="en-US" altLang="en-US" sz="2400" dirty="0"/>
          </a:p>
          <a:p>
            <a:pPr algn="l"/>
            <a:endParaRPr lang="en-US" altLang="en-US" sz="2400" dirty="0"/>
          </a:p>
          <a:p>
            <a:pPr algn="l"/>
            <a:endParaRPr lang="en-US" altLang="en-US" sz="2400" dirty="0"/>
          </a:p>
          <a:p>
            <a:pPr algn="l"/>
            <a:endParaRPr lang="en-US" altLang="en-US" sz="2400" dirty="0"/>
          </a:p>
          <a:p>
            <a:pPr algn="l"/>
            <a:r>
              <a:rPr lang="en-US" altLang="en-US" sz="2400" dirty="0"/>
              <a:t>Rendimiento (SGT)</a:t>
            </a:r>
          </a:p>
          <a:p>
            <a:pPr algn="l"/>
            <a:r>
              <a:rPr lang="en-US" altLang="en-US" sz="2400" dirty="0"/>
              <a:t>Testing (SanTec)</a:t>
            </a:r>
          </a:p>
          <a:p>
            <a:pPr algn="l"/>
            <a:endParaRPr lang="en-US" altLang="en-US" sz="2400" dirty="0"/>
          </a:p>
          <a:p>
            <a:pPr algn="l"/>
            <a:endParaRPr lang="en-US" altLang="en-US" sz="2400" dirty="0"/>
          </a:p>
        </p:txBody>
      </p:sp>
      <p:sp>
        <p:nvSpPr>
          <p:cNvPr id="30" name="CuadroTexto 29">
            <a:extLst>
              <a:ext uri="{FF2B5EF4-FFF2-40B4-BE49-F238E27FC236}">
                <a16:creationId xmlns:a16="http://schemas.microsoft.com/office/drawing/2014/main" id="{713618B1-5780-4AC7-A40C-2437830FDE02}"/>
              </a:ext>
            </a:extLst>
          </p:cNvPr>
          <p:cNvSpPr txBox="1"/>
          <p:nvPr/>
        </p:nvSpPr>
        <p:spPr>
          <a:xfrm>
            <a:off x="7435404" y="7327163"/>
            <a:ext cx="5654842" cy="5632311"/>
          </a:xfrm>
          <a:prstGeom prst="rect">
            <a:avLst/>
          </a:prstGeom>
          <a:noFill/>
        </p:spPr>
        <p:txBody>
          <a:bodyPr wrap="square" rtlCol="0">
            <a:spAutoFit/>
          </a:bodyPr>
          <a:lstStyle/>
          <a:p>
            <a:pPr algn="l"/>
            <a:endParaRPr lang="en-US" altLang="en-US" sz="2400" dirty="0"/>
          </a:p>
          <a:p>
            <a:pPr algn="l"/>
            <a:endParaRPr lang="en-US" altLang="en-US" sz="2400" dirty="0"/>
          </a:p>
          <a:p>
            <a:pPr algn="l"/>
            <a:endParaRPr lang="en-US" altLang="en-US" sz="2400" dirty="0"/>
          </a:p>
          <a:p>
            <a:pPr algn="l"/>
            <a:endParaRPr lang="en-US" altLang="en-US" sz="2400" dirty="0"/>
          </a:p>
          <a:p>
            <a:pPr algn="l"/>
            <a:r>
              <a:rPr lang="es-ES" sz="2400" dirty="0"/>
              <a:t>Dominio de Negocio</a:t>
            </a:r>
            <a:r>
              <a:rPr lang="en-US" altLang="en-US" sz="2400" dirty="0"/>
              <a:t> </a:t>
            </a:r>
          </a:p>
          <a:p>
            <a:pPr algn="l"/>
            <a:endParaRPr lang="es-ES" altLang="en-US" sz="2400" dirty="0"/>
          </a:p>
          <a:p>
            <a:pPr algn="l"/>
            <a:endParaRPr lang="es-ES" altLang="en-US" sz="2400" dirty="0"/>
          </a:p>
          <a:p>
            <a:pPr algn="l"/>
            <a:endParaRPr lang="es-ES" altLang="en-US" sz="2400" dirty="0"/>
          </a:p>
          <a:p>
            <a:pPr algn="l"/>
            <a:r>
              <a:rPr lang="en-US" altLang="en-US" sz="2000" dirty="0"/>
              <a:t>Testing (SanTec)</a:t>
            </a:r>
          </a:p>
          <a:p>
            <a:pPr algn="l"/>
            <a:r>
              <a:rPr lang="en-US" altLang="en-US" sz="2000" dirty="0"/>
              <a:t>RTYO (SanTec)</a:t>
            </a:r>
          </a:p>
          <a:p>
            <a:pPr algn="l"/>
            <a:r>
              <a:rPr lang="en-US" altLang="en-US" sz="2000" dirty="0"/>
              <a:t>Seguridad (SGT)</a:t>
            </a:r>
          </a:p>
          <a:p>
            <a:pPr algn="l"/>
            <a:r>
              <a:rPr lang="en-US" altLang="en-US" sz="2400" dirty="0"/>
              <a:t> </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endParaRPr lang="en-US" altLang="en-US" sz="2400" dirty="0"/>
          </a:p>
        </p:txBody>
      </p:sp>
      <p:sp>
        <p:nvSpPr>
          <p:cNvPr id="31" name="Rectangle 2">
            <a:extLst>
              <a:ext uri="{FF2B5EF4-FFF2-40B4-BE49-F238E27FC236}">
                <a16:creationId xmlns:a16="http://schemas.microsoft.com/office/drawing/2014/main" id="{388C1956-8F31-4ACF-A0E0-CFDED48CE451}"/>
              </a:ext>
            </a:extLst>
          </p:cNvPr>
          <p:cNvSpPr>
            <a:spLocks noChangeArrowheads="1"/>
          </p:cNvSpPr>
          <p:nvPr/>
        </p:nvSpPr>
        <p:spPr bwMode="auto">
          <a:xfrm>
            <a:off x="11389925" y="11872614"/>
            <a:ext cx="3496175"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altLang="es-ES" sz="1600" b="0" i="0" u="sng" strike="noStrike" cap="none" normalizeH="0" baseline="0" dirty="0">
                <a:ln>
                  <a:noFill/>
                </a:ln>
                <a:solidFill>
                  <a:schemeClr val="tx1"/>
                </a:solidFill>
                <a:effectLst/>
                <a:latin typeface="Arial" panose="020B0604020202020204" pitchFamily="34" charset="0"/>
              </a:rPr>
              <a:t>Delegados:</a:t>
            </a:r>
            <a:endParaRPr kumimoji="0" lang="es-ES" altLang="es-ES" sz="16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s-ES" altLang="es-ES" sz="800" dirty="0">
              <a:solidFill>
                <a:schemeClr val="tx1"/>
              </a:solidFill>
              <a:latin typeface="Arial" panose="020B0604020202020204" pitchFamily="34" charset="0"/>
            </a:endParaRPr>
          </a:p>
          <a:p>
            <a:pPr lvl="3" algn="l" defTabSz="914400" eaLnBrk="0" fontAlgn="base">
              <a:spcBef>
                <a:spcPct val="0"/>
              </a:spcBef>
              <a:spcAft>
                <a:spcPct val="0"/>
              </a:spcAft>
            </a:pPr>
            <a:r>
              <a:rPr kumimoji="0" lang="es-ES" altLang="es-ES" sz="1600" b="0" i="0" u="none" strike="noStrike" cap="none" normalizeH="0" baseline="0" dirty="0">
                <a:ln>
                  <a:noFill/>
                </a:ln>
                <a:solidFill>
                  <a:schemeClr val="tx1"/>
                </a:solidFill>
                <a:effectLst/>
                <a:latin typeface="Arial" panose="020B0604020202020204" pitchFamily="34" charset="0"/>
              </a:rPr>
              <a:t>          Operaciones </a:t>
            </a:r>
            <a:r>
              <a:rPr lang="es-ES" altLang="es-ES" sz="1600" dirty="0">
                <a:solidFill>
                  <a:schemeClr val="tx1"/>
                </a:solidFill>
                <a:latin typeface="Arial" panose="020B0604020202020204" pitchFamily="34" charset="0"/>
              </a:rPr>
              <a:t>(SanTec)</a:t>
            </a:r>
            <a:endParaRPr kumimoji="0" lang="es-ES" altLang="es-ES" sz="1800" b="0" i="0" u="none" strike="noStrike" cap="none" normalizeH="0" baseline="0" dirty="0">
              <a:ln>
                <a:noFill/>
              </a:ln>
              <a:solidFill>
                <a:schemeClr val="tx1"/>
              </a:solidFill>
              <a:effectLst/>
              <a:latin typeface="Arial" panose="020B0604020202020204" pitchFamily="34" charset="0"/>
            </a:endParaRPr>
          </a:p>
        </p:txBody>
      </p:sp>
      <p:pic>
        <p:nvPicPr>
          <p:cNvPr id="32" name="Picture 25">
            <a:extLst>
              <a:ext uri="{FF2B5EF4-FFF2-40B4-BE49-F238E27FC236}">
                <a16:creationId xmlns:a16="http://schemas.microsoft.com/office/drawing/2014/main" id="{8567831E-2062-4F7C-903B-7D7D9FDB03D3}"/>
              </a:ext>
            </a:extLst>
          </p:cNvPr>
          <p:cNvPicPr>
            <a:picLocks noChangeAspect="1"/>
          </p:cNvPicPr>
          <p:nvPr/>
        </p:nvPicPr>
        <p:blipFill>
          <a:blip r:embed="rId9">
            <a:extLst>
              <a:ext uri="{BEBA8EAE-BF5A-486C-A8C5-ECC9F3942E4B}">
                <a14:imgProps xmlns:a14="http://schemas.microsoft.com/office/drawing/2010/main">
                  <a14:imgLayer r:embed="rId10">
                    <a14:imgEffect>
                      <a14:colorTemperature colorTemp="2300"/>
                    </a14:imgEffect>
                  </a14:imgLayer>
                </a14:imgProps>
              </a:ext>
              <a:ext uri="{28A0092B-C50C-407E-A947-70E740481C1C}">
                <a14:useLocalDpi xmlns:a14="http://schemas.microsoft.com/office/drawing/2010/main" val="0"/>
              </a:ext>
            </a:extLst>
          </a:blip>
          <a:stretch>
            <a:fillRect/>
          </a:stretch>
        </p:blipFill>
        <p:spPr>
          <a:xfrm>
            <a:off x="1117247" y="11634775"/>
            <a:ext cx="947290" cy="947290"/>
          </a:xfrm>
          <a:prstGeom prst="rect">
            <a:avLst/>
          </a:prstGeom>
        </p:spPr>
      </p:pic>
      <p:sp>
        <p:nvSpPr>
          <p:cNvPr id="33" name="CuadroTexto 32">
            <a:extLst>
              <a:ext uri="{FF2B5EF4-FFF2-40B4-BE49-F238E27FC236}">
                <a16:creationId xmlns:a16="http://schemas.microsoft.com/office/drawing/2014/main" id="{A42EE1FD-6A0B-4181-82E2-0BC008C4E0BD}"/>
              </a:ext>
            </a:extLst>
          </p:cNvPr>
          <p:cNvSpPr txBox="1"/>
          <p:nvPr/>
        </p:nvSpPr>
        <p:spPr>
          <a:xfrm>
            <a:off x="19505521" y="7327162"/>
            <a:ext cx="5654842" cy="4154984"/>
          </a:xfrm>
          <a:prstGeom prst="rect">
            <a:avLst/>
          </a:prstGeom>
          <a:noFill/>
        </p:spPr>
        <p:txBody>
          <a:bodyPr wrap="square" rtlCol="0">
            <a:spAutoFit/>
          </a:bodyPr>
          <a:lstStyle/>
          <a:p>
            <a:pPr algn="l"/>
            <a:r>
              <a:rPr lang="en-US" altLang="en-US" sz="2400" dirty="0"/>
              <a:t>Ingeniería (SanTec)</a:t>
            </a:r>
          </a:p>
          <a:p>
            <a:pPr algn="l"/>
            <a:r>
              <a:rPr lang="en-US" altLang="en-US" sz="2400" dirty="0"/>
              <a:t>Infraestructura (SanTec)</a:t>
            </a:r>
          </a:p>
          <a:p>
            <a:pPr algn="l"/>
            <a:endParaRPr lang="en-US" altLang="en-US" sz="2400" dirty="0"/>
          </a:p>
          <a:p>
            <a:pPr algn="l"/>
            <a:endParaRPr lang="en-US" altLang="en-US" sz="2400" dirty="0"/>
          </a:p>
          <a:p>
            <a:pPr algn="l"/>
            <a:r>
              <a:rPr lang="es-ES" sz="2400" dirty="0"/>
              <a:t>Dominio de Negocio</a:t>
            </a:r>
            <a:endParaRPr lang="en-US" altLang="en-US" sz="2400" dirty="0"/>
          </a:p>
          <a:p>
            <a:pPr algn="l"/>
            <a:endParaRPr lang="en-US" altLang="en-US" sz="2400" dirty="0"/>
          </a:p>
          <a:p>
            <a:pPr algn="l"/>
            <a:endParaRPr lang="en-US" altLang="en-US" sz="2400" dirty="0"/>
          </a:p>
          <a:p>
            <a:pPr algn="l"/>
            <a:endParaRPr lang="en-US" altLang="en-US" sz="2400" dirty="0"/>
          </a:p>
          <a:p>
            <a:pPr algn="l"/>
            <a:r>
              <a:rPr lang="en-US" altLang="en-US" sz="2400" dirty="0"/>
              <a:t>Testing (SanTec)</a:t>
            </a:r>
          </a:p>
          <a:p>
            <a:pPr algn="l"/>
            <a:endParaRPr lang="en-US" altLang="en-US" sz="2400" dirty="0"/>
          </a:p>
          <a:p>
            <a:pPr algn="l"/>
            <a:endParaRPr lang="en-US" altLang="en-US" sz="2400" dirty="0"/>
          </a:p>
        </p:txBody>
      </p:sp>
      <p:sp>
        <p:nvSpPr>
          <p:cNvPr id="34" name="Rectangle 2">
            <a:extLst>
              <a:ext uri="{FF2B5EF4-FFF2-40B4-BE49-F238E27FC236}">
                <a16:creationId xmlns:a16="http://schemas.microsoft.com/office/drawing/2014/main" id="{22B84776-55AD-4F13-832E-F8DFF5E8AE30}"/>
              </a:ext>
            </a:extLst>
          </p:cNvPr>
          <p:cNvSpPr>
            <a:spLocks noChangeArrowheads="1"/>
          </p:cNvSpPr>
          <p:nvPr/>
        </p:nvSpPr>
        <p:spPr bwMode="auto">
          <a:xfrm>
            <a:off x="19518475" y="11848141"/>
            <a:ext cx="3496175"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altLang="es-ES" sz="1600" b="0" i="0" u="sng" strike="noStrike" cap="none" normalizeH="0" baseline="0" dirty="0">
                <a:ln>
                  <a:noFill/>
                </a:ln>
                <a:solidFill>
                  <a:schemeClr val="tx1"/>
                </a:solidFill>
                <a:effectLst/>
                <a:latin typeface="Arial" panose="020B0604020202020204" pitchFamily="34" charset="0"/>
              </a:rPr>
              <a:t>Delegados:</a:t>
            </a:r>
            <a:endParaRPr kumimoji="0" lang="es-ES" altLang="es-ES" sz="16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s-ES" altLang="es-ES" sz="800" dirty="0">
              <a:solidFill>
                <a:schemeClr val="tx1"/>
              </a:solidFill>
              <a:latin typeface="Arial" panose="020B0604020202020204" pitchFamily="34" charset="0"/>
            </a:endParaRPr>
          </a:p>
          <a:p>
            <a:pPr lvl="3" algn="l" defTabSz="914400" eaLnBrk="0" fontAlgn="base">
              <a:spcBef>
                <a:spcPct val="0"/>
              </a:spcBef>
              <a:spcAft>
                <a:spcPct val="0"/>
              </a:spcAft>
            </a:pPr>
            <a:r>
              <a:rPr kumimoji="0" lang="es-ES" altLang="es-ES" sz="1600" b="0" i="0" u="none" strike="noStrike" cap="none" normalizeH="0" baseline="0" dirty="0">
                <a:ln>
                  <a:noFill/>
                </a:ln>
                <a:solidFill>
                  <a:schemeClr val="tx1"/>
                </a:solidFill>
                <a:effectLst/>
                <a:latin typeface="Arial" panose="020B0604020202020204" pitchFamily="34" charset="0"/>
              </a:rPr>
              <a:t>          </a:t>
            </a:r>
            <a:r>
              <a:rPr lang="es-ES" altLang="es-ES" sz="1600" dirty="0">
                <a:solidFill>
                  <a:schemeClr val="tx1"/>
                </a:solidFill>
                <a:latin typeface="Arial" panose="020B0604020202020204" pitchFamily="34" charset="0"/>
              </a:rPr>
              <a:t>Infraestructura</a:t>
            </a:r>
            <a:r>
              <a:rPr kumimoji="0" lang="es-ES" altLang="es-ES" sz="1600" b="0" i="0" u="none" strike="noStrike" cap="none" normalizeH="0" baseline="0" dirty="0">
                <a:ln>
                  <a:noFill/>
                </a:ln>
                <a:solidFill>
                  <a:schemeClr val="tx1"/>
                </a:solidFill>
                <a:effectLst/>
                <a:latin typeface="Arial" panose="020B0604020202020204" pitchFamily="34" charset="0"/>
              </a:rPr>
              <a:t> </a:t>
            </a:r>
            <a:r>
              <a:rPr lang="es-ES" altLang="es-ES" sz="1600" dirty="0">
                <a:solidFill>
                  <a:schemeClr val="tx1"/>
                </a:solidFill>
                <a:latin typeface="Arial" panose="020B0604020202020204" pitchFamily="34" charset="0"/>
              </a:rPr>
              <a:t>(SanTec)</a:t>
            </a:r>
            <a:endParaRPr kumimoji="0" lang="es-ES" altLang="es-E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3194080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1AECC4A-54E2-4B48-9F88-ACC3FE88C62A}"/>
              </a:ext>
            </a:extLst>
          </p:cNvPr>
          <p:cNvSpPr txBox="1"/>
          <p:nvPr/>
        </p:nvSpPr>
        <p:spPr>
          <a:xfrm>
            <a:off x="650240" y="541319"/>
            <a:ext cx="22611504" cy="1569660"/>
          </a:xfrm>
          <a:prstGeom prst="rect">
            <a:avLst/>
          </a:prstGeom>
          <a:noFill/>
        </p:spPr>
        <p:txBody>
          <a:bodyPr wrap="square" rtlCol="0" anchor="t">
            <a:spAutoFit/>
          </a:bodyPr>
          <a:lstStyle/>
          <a:p>
            <a:pPr algn="l"/>
            <a:r>
              <a:rPr lang="en-GB" sz="4000" b="1" kern="1200" dirty="0">
                <a:solidFill>
                  <a:srgbClr val="C00000"/>
                </a:solidFill>
                <a:cs typeface="Arial"/>
              </a:rPr>
              <a:t>CI / CD de releases</a:t>
            </a:r>
            <a:r>
              <a:rPr lang="en-US" sz="4000" b="1" kern="1200" dirty="0">
                <a:solidFill>
                  <a:srgbClr val="C00000"/>
                </a:solidFill>
              </a:rPr>
              <a:t>  </a:t>
            </a:r>
            <a:r>
              <a:rPr lang="en-GB" sz="2800" kern="1200" dirty="0">
                <a:solidFill>
                  <a:srgbClr val="C00000"/>
                </a:solidFill>
              </a:rPr>
              <a:t>Integración QA &amp; testing de releases</a:t>
            </a:r>
          </a:p>
          <a:p>
            <a:pPr algn="l"/>
            <a:r>
              <a:rPr lang="es-ES" altLang="en-US" sz="2800" kern="1200" dirty="0">
                <a:solidFill>
                  <a:schemeClr val="tx1"/>
                </a:solidFill>
              </a:rPr>
              <a:t>Vista de Procesos</a:t>
            </a:r>
            <a:endParaRPr lang="en-US" altLang="en-US" sz="2800" kern="1200" dirty="0">
              <a:solidFill>
                <a:schemeClr val="tx1"/>
              </a:solidFill>
            </a:endParaRPr>
          </a:p>
          <a:p>
            <a:pPr algn="l"/>
            <a:endParaRPr lang="en-US" altLang="en-US" sz="2800" kern="1200" dirty="0">
              <a:solidFill>
                <a:srgbClr val="C00000"/>
              </a:solidFill>
              <a:latin typeface="IBM Plex Sans"/>
            </a:endParaRPr>
          </a:p>
        </p:txBody>
      </p:sp>
      <p:sp>
        <p:nvSpPr>
          <p:cNvPr id="4" name="TextBox 27">
            <a:extLst>
              <a:ext uri="{FF2B5EF4-FFF2-40B4-BE49-F238E27FC236}">
                <a16:creationId xmlns:a16="http://schemas.microsoft.com/office/drawing/2014/main" id="{1BFA4DE6-C377-4932-A41F-33465DCCECA0}"/>
              </a:ext>
            </a:extLst>
          </p:cNvPr>
          <p:cNvSpPr txBox="1">
            <a:spLocks noChangeArrowheads="1"/>
          </p:cNvSpPr>
          <p:nvPr/>
        </p:nvSpPr>
        <p:spPr bwMode="auto">
          <a:xfrm>
            <a:off x="1934085" y="5266146"/>
            <a:ext cx="7852466" cy="646331"/>
          </a:xfrm>
          <a:prstGeom prst="rect">
            <a:avLst/>
          </a:prstGeom>
          <a:noFill/>
          <a:ln>
            <a:noFill/>
          </a:ln>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eaLnBrk="1" hangingPunct="1"/>
            <a:r>
              <a:rPr lang="en-US" altLang="en-US" sz="3600" dirty="0">
                <a:solidFill>
                  <a:srgbClr val="C00000"/>
                </a:solidFill>
                <a:cs typeface="Arial" panose="020B0604020202020204" pitchFamily="34" charset="0"/>
              </a:rPr>
              <a:t>Responsible   </a:t>
            </a:r>
            <a:r>
              <a:rPr lang="en-US" altLang="en-US" sz="3200" b="0" dirty="0">
                <a:cs typeface="Arial" panose="020B0604020202020204" pitchFamily="34" charset="0"/>
              </a:rPr>
              <a:t>Ingeniería (SanTec)</a:t>
            </a:r>
          </a:p>
        </p:txBody>
      </p:sp>
      <p:sp>
        <p:nvSpPr>
          <p:cNvPr id="5" name="TextBox 27">
            <a:extLst>
              <a:ext uri="{FF2B5EF4-FFF2-40B4-BE49-F238E27FC236}">
                <a16:creationId xmlns:a16="http://schemas.microsoft.com/office/drawing/2014/main" id="{05BBF2A4-2064-457D-A5EE-A157BD414E4D}"/>
              </a:ext>
            </a:extLst>
          </p:cNvPr>
          <p:cNvSpPr txBox="1">
            <a:spLocks noChangeArrowheads="1"/>
          </p:cNvSpPr>
          <p:nvPr/>
        </p:nvSpPr>
        <p:spPr bwMode="auto">
          <a:xfrm>
            <a:off x="1140883" y="7935102"/>
            <a:ext cx="1851470" cy="34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a:r>
              <a:rPr lang="en-US" sz="2000" dirty="0">
                <a:solidFill>
                  <a:srgbClr val="C00000"/>
                </a:solidFill>
                <a:cs typeface="Arial" panose="020B0604020202020204" pitchFamily="34" charset="0"/>
              </a:rPr>
              <a:t>Informed</a:t>
            </a: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r>
              <a:rPr lang="en-US" sz="2000" dirty="0">
                <a:solidFill>
                  <a:srgbClr val="C00000"/>
                </a:solidFill>
                <a:cs typeface="Arial" panose="020B0604020202020204" pitchFamily="34" charset="0"/>
              </a:rPr>
              <a:t>Accountable</a:t>
            </a: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r>
              <a:rPr lang="en-US" altLang="en-US" sz="2000" dirty="0">
                <a:solidFill>
                  <a:srgbClr val="C00000"/>
                </a:solidFill>
                <a:cs typeface="Arial" panose="020B0604020202020204" pitchFamily="34" charset="0"/>
              </a:rPr>
              <a:t>Consulted</a:t>
            </a:r>
          </a:p>
        </p:txBody>
      </p:sp>
      <p:pic>
        <p:nvPicPr>
          <p:cNvPr id="6" name="Picture 25">
            <a:extLst>
              <a:ext uri="{FF2B5EF4-FFF2-40B4-BE49-F238E27FC236}">
                <a16:creationId xmlns:a16="http://schemas.microsoft.com/office/drawing/2014/main" id="{FF3D788C-511A-4754-A0E3-04B02CB2BAE8}"/>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2300"/>
                    </a14:imgEffect>
                  </a14:imgLayer>
                </a14:imgProps>
              </a:ext>
              <a:ext uri="{28A0092B-C50C-407E-A947-70E740481C1C}">
                <a14:useLocalDpi xmlns:a14="http://schemas.microsoft.com/office/drawing/2010/main" val="0"/>
              </a:ext>
            </a:extLst>
          </a:blip>
          <a:stretch>
            <a:fillRect/>
          </a:stretch>
        </p:blipFill>
        <p:spPr>
          <a:xfrm>
            <a:off x="255221" y="4554484"/>
            <a:ext cx="1817801" cy="1817801"/>
          </a:xfrm>
          <a:prstGeom prst="rect">
            <a:avLst/>
          </a:prstGeom>
        </p:spPr>
      </p:pic>
      <p:pic>
        <p:nvPicPr>
          <p:cNvPr id="7" name="Graphic 6" descr="Handshake">
            <a:extLst>
              <a:ext uri="{FF2B5EF4-FFF2-40B4-BE49-F238E27FC236}">
                <a16:creationId xmlns:a16="http://schemas.microsoft.com/office/drawing/2014/main" id="{BCB3B76B-42EB-4DFC-ACF8-48818DD3B30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7146" y="10546135"/>
            <a:ext cx="788947" cy="788947"/>
          </a:xfrm>
          <a:prstGeom prst="rect">
            <a:avLst/>
          </a:prstGeom>
        </p:spPr>
      </p:pic>
      <p:pic>
        <p:nvPicPr>
          <p:cNvPr id="9" name="Graphic 26" descr="Research">
            <a:extLst>
              <a:ext uri="{FF2B5EF4-FFF2-40B4-BE49-F238E27FC236}">
                <a16:creationId xmlns:a16="http://schemas.microsoft.com/office/drawing/2014/main" id="{72110FCE-EF7E-40F7-9479-2BBB051CD49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0876" y="8982625"/>
            <a:ext cx="741219" cy="741219"/>
          </a:xfrm>
          <a:prstGeom prst="rect">
            <a:avLst/>
          </a:prstGeom>
        </p:spPr>
      </p:pic>
      <p:pic>
        <p:nvPicPr>
          <p:cNvPr id="10" name="Graphic 34" descr="Information">
            <a:extLst>
              <a:ext uri="{FF2B5EF4-FFF2-40B4-BE49-F238E27FC236}">
                <a16:creationId xmlns:a16="http://schemas.microsoft.com/office/drawing/2014/main" id="{104CC24D-3CCB-4522-8C25-296A94550D3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94255" y="7445529"/>
            <a:ext cx="747097" cy="747097"/>
          </a:xfrm>
          <a:prstGeom prst="rect">
            <a:avLst/>
          </a:prstGeom>
        </p:spPr>
      </p:pic>
      <p:sp>
        <p:nvSpPr>
          <p:cNvPr id="11" name="Rectángulo 10">
            <a:extLst>
              <a:ext uri="{FF2B5EF4-FFF2-40B4-BE49-F238E27FC236}">
                <a16:creationId xmlns:a16="http://schemas.microsoft.com/office/drawing/2014/main" id="{855F0D00-423E-4A3E-B986-06F06898C002}"/>
              </a:ext>
            </a:extLst>
          </p:cNvPr>
          <p:cNvSpPr/>
          <p:nvPr/>
        </p:nvSpPr>
        <p:spPr>
          <a:xfrm>
            <a:off x="3386474" y="6876299"/>
            <a:ext cx="4831253" cy="2408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2" name="CuadroTexto 11">
            <a:extLst>
              <a:ext uri="{FF2B5EF4-FFF2-40B4-BE49-F238E27FC236}">
                <a16:creationId xmlns:a16="http://schemas.microsoft.com/office/drawing/2014/main" id="{1E310FBE-792F-4E3A-BC3E-93EA4D592C82}"/>
              </a:ext>
            </a:extLst>
          </p:cNvPr>
          <p:cNvSpPr txBox="1"/>
          <p:nvPr/>
        </p:nvSpPr>
        <p:spPr>
          <a:xfrm>
            <a:off x="3386474" y="6260281"/>
            <a:ext cx="5029200" cy="400110"/>
          </a:xfrm>
          <a:prstGeom prst="rect">
            <a:avLst/>
          </a:prstGeom>
          <a:noFill/>
        </p:spPr>
        <p:txBody>
          <a:bodyPr wrap="square" rtlCol="0">
            <a:spAutoFit/>
          </a:bodyPr>
          <a:lstStyle/>
          <a:p>
            <a:pPr algn="l"/>
            <a:r>
              <a:rPr lang="es-ES" sz="2000" b="1" dirty="0">
                <a:solidFill>
                  <a:srgbClr val="C00000"/>
                </a:solidFill>
              </a:rPr>
              <a:t>Instalar Dependencias On-premise</a:t>
            </a:r>
            <a:endParaRPr lang="es-ES" sz="2800" b="1" dirty="0">
              <a:solidFill>
                <a:srgbClr val="C00000"/>
              </a:solidFill>
            </a:endParaRPr>
          </a:p>
        </p:txBody>
      </p:sp>
      <p:cxnSp>
        <p:nvCxnSpPr>
          <p:cNvPr id="13" name="Conector recto 12">
            <a:extLst>
              <a:ext uri="{FF2B5EF4-FFF2-40B4-BE49-F238E27FC236}">
                <a16:creationId xmlns:a16="http://schemas.microsoft.com/office/drawing/2014/main" id="{1156C70D-6218-41A8-8393-8D4CCB5B3982}"/>
              </a:ext>
            </a:extLst>
          </p:cNvPr>
          <p:cNvCxnSpPr/>
          <p:nvPr/>
        </p:nvCxnSpPr>
        <p:spPr>
          <a:xfrm>
            <a:off x="483686" y="8425282"/>
            <a:ext cx="19846064"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14" name="Conector recto 13">
            <a:extLst>
              <a:ext uri="{FF2B5EF4-FFF2-40B4-BE49-F238E27FC236}">
                <a16:creationId xmlns:a16="http://schemas.microsoft.com/office/drawing/2014/main" id="{267D306D-A534-4B58-81E5-47D4288FB8C4}"/>
              </a:ext>
            </a:extLst>
          </p:cNvPr>
          <p:cNvCxnSpPr/>
          <p:nvPr/>
        </p:nvCxnSpPr>
        <p:spPr>
          <a:xfrm>
            <a:off x="483686" y="9867955"/>
            <a:ext cx="19846064"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15" name="Conector recto 14">
            <a:extLst>
              <a:ext uri="{FF2B5EF4-FFF2-40B4-BE49-F238E27FC236}">
                <a16:creationId xmlns:a16="http://schemas.microsoft.com/office/drawing/2014/main" id="{1AC9BDD2-C355-4580-8B9B-EF75707F0CE9}"/>
              </a:ext>
            </a:extLst>
          </p:cNvPr>
          <p:cNvCxnSpPr/>
          <p:nvPr/>
        </p:nvCxnSpPr>
        <p:spPr>
          <a:xfrm>
            <a:off x="483686" y="11374029"/>
            <a:ext cx="19846064"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sp>
        <p:nvSpPr>
          <p:cNvPr id="16" name="CuadroTexto 15">
            <a:extLst>
              <a:ext uri="{FF2B5EF4-FFF2-40B4-BE49-F238E27FC236}">
                <a16:creationId xmlns:a16="http://schemas.microsoft.com/office/drawing/2014/main" id="{B06C73B6-D2F4-405B-982E-98F712AE69EF}"/>
              </a:ext>
            </a:extLst>
          </p:cNvPr>
          <p:cNvSpPr txBox="1"/>
          <p:nvPr/>
        </p:nvSpPr>
        <p:spPr>
          <a:xfrm>
            <a:off x="3316252" y="7353970"/>
            <a:ext cx="5654842" cy="3416320"/>
          </a:xfrm>
          <a:prstGeom prst="rect">
            <a:avLst/>
          </a:prstGeom>
          <a:noFill/>
        </p:spPr>
        <p:txBody>
          <a:bodyPr wrap="square" rtlCol="0">
            <a:spAutoFit/>
          </a:bodyPr>
          <a:lstStyle/>
          <a:p>
            <a:pPr algn="l"/>
            <a:r>
              <a:rPr lang="en-US" altLang="en-US" sz="2400" dirty="0"/>
              <a:t>Dominio de Negocio</a:t>
            </a:r>
          </a:p>
          <a:p>
            <a:pPr algn="l"/>
            <a:r>
              <a:rPr lang="en-US" altLang="en-US" sz="2400" dirty="0"/>
              <a:t>Testing (SanTec)</a:t>
            </a:r>
          </a:p>
          <a:p>
            <a:pPr algn="l"/>
            <a:endParaRPr lang="en-US" altLang="en-US" sz="2400" dirty="0"/>
          </a:p>
          <a:p>
            <a:pPr algn="l"/>
            <a:endParaRPr lang="en-US" altLang="en-US" sz="2400" dirty="0"/>
          </a:p>
          <a:p>
            <a:pPr algn="l"/>
            <a:r>
              <a:rPr lang="es-ES" sz="2400" dirty="0"/>
              <a:t>Ingeniería (SanTec)</a:t>
            </a:r>
            <a:r>
              <a:rPr lang="en-US" altLang="en-US" sz="2400" dirty="0"/>
              <a:t> </a:t>
            </a:r>
          </a:p>
          <a:p>
            <a:pPr algn="l"/>
            <a:endParaRPr lang="en-US" altLang="en-US" sz="2400" dirty="0"/>
          </a:p>
          <a:p>
            <a:pPr algn="l"/>
            <a:endParaRPr lang="en-US" altLang="en-US" sz="2400" dirty="0"/>
          </a:p>
          <a:p>
            <a:pPr algn="l"/>
            <a:endParaRPr lang="en-US" altLang="en-US" sz="2400" dirty="0"/>
          </a:p>
          <a:p>
            <a:pPr algn="l"/>
            <a:r>
              <a:rPr lang="en-US" altLang="en-US" sz="2400" dirty="0"/>
              <a:t> </a:t>
            </a:r>
            <a:endParaRPr lang="es-ES" sz="2400" dirty="0"/>
          </a:p>
        </p:txBody>
      </p:sp>
      <p:pic>
        <p:nvPicPr>
          <p:cNvPr id="18" name="New picture">
            <a:extLst>
              <a:ext uri="{FF2B5EF4-FFF2-40B4-BE49-F238E27FC236}">
                <a16:creationId xmlns:a16="http://schemas.microsoft.com/office/drawing/2014/main" id="{E955F6A2-498C-4DF2-85EA-E67B0BD9160C}"/>
              </a:ext>
            </a:extLst>
          </p:cNvPr>
          <p:cNvPicPr/>
          <p:nvPr/>
        </p:nvPicPr>
        <p:blipFill rotWithShape="1">
          <a:blip r:embed="rId11"/>
          <a:srcRect t="40373" b="52026"/>
          <a:stretch/>
        </p:blipFill>
        <p:spPr>
          <a:xfrm>
            <a:off x="754216" y="2493811"/>
            <a:ext cx="23187444" cy="1137975"/>
          </a:xfrm>
          <a:prstGeom prst="rect">
            <a:avLst/>
          </a:prstGeom>
        </p:spPr>
      </p:pic>
    </p:spTree>
    <p:extLst>
      <p:ext uri="{BB962C8B-B14F-4D97-AF65-F5344CB8AC3E}">
        <p14:creationId xmlns:p14="http://schemas.microsoft.com/office/powerpoint/2010/main" val="19614054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4" name="Freeform 4">
            <a:extLst>
              <a:ext uri="{FF2B5EF4-FFF2-40B4-BE49-F238E27FC236}">
                <a16:creationId xmlns:a16="http://schemas.microsoft.com/office/drawing/2014/main" id="{4B5AE9BF-DAE5-4CA5-99DC-7F6203C3AC30}"/>
              </a:ext>
            </a:extLst>
          </p:cNvPr>
          <p:cNvSpPr>
            <a:spLocks/>
          </p:cNvSpPr>
          <p:nvPr>
            <p:custDataLst>
              <p:tags r:id="rId1"/>
            </p:custDataLst>
          </p:nvPr>
        </p:nvSpPr>
        <p:spPr bwMode="auto">
          <a:xfrm>
            <a:off x="4487496" y="11266736"/>
            <a:ext cx="70735" cy="121262"/>
          </a:xfrm>
          <a:custGeom>
            <a:avLst/>
            <a:gdLst>
              <a:gd name="T0" fmla="*/ 0 w 73"/>
              <a:gd name="T1" fmla="*/ 0 h 20"/>
              <a:gd name="T2" fmla="*/ 457 w 73"/>
              <a:gd name="T3" fmla="*/ 14288 h 20"/>
              <a:gd name="T4" fmla="*/ 1827 w 73"/>
              <a:gd name="T5" fmla="*/ 28575 h 20"/>
              <a:gd name="T6" fmla="*/ 3653 w 73"/>
              <a:gd name="T7" fmla="*/ 40005 h 20"/>
              <a:gd name="T8" fmla="*/ 5937 w 73"/>
              <a:gd name="T9" fmla="*/ 57150 h 20"/>
              <a:gd name="T10" fmla="*/ 7307 w 73"/>
              <a:gd name="T11" fmla="*/ 48578 h 20"/>
              <a:gd name="T12" fmla="*/ 8677 w 73"/>
              <a:gd name="T13" fmla="*/ 37148 h 20"/>
              <a:gd name="T14" fmla="*/ 10503 w 73"/>
              <a:gd name="T15" fmla="*/ 31433 h 20"/>
              <a:gd name="T16" fmla="*/ 12330 w 73"/>
              <a:gd name="T17" fmla="*/ 28575 h 20"/>
              <a:gd name="T18" fmla="*/ 16440 w 73"/>
              <a:gd name="T19" fmla="*/ 22860 h 20"/>
              <a:gd name="T20" fmla="*/ 21007 w 73"/>
              <a:gd name="T21" fmla="*/ 20003 h 20"/>
              <a:gd name="T22" fmla="*/ 24660 w 73"/>
              <a:gd name="T23" fmla="*/ 20003 h 20"/>
              <a:gd name="T24" fmla="*/ 28770 w 73"/>
              <a:gd name="T25" fmla="*/ 17145 h 20"/>
              <a:gd name="T26" fmla="*/ 30140 w 73"/>
              <a:gd name="T27" fmla="*/ 14288 h 20"/>
              <a:gd name="T28" fmla="*/ 31510 w 73"/>
              <a:gd name="T29" fmla="*/ 11430 h 20"/>
              <a:gd name="T30" fmla="*/ 32424 w 73"/>
              <a:gd name="T31" fmla="*/ 5715 h 20"/>
              <a:gd name="T32" fmla="*/ 3333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555" name="Freeform 5">
            <a:extLst>
              <a:ext uri="{FF2B5EF4-FFF2-40B4-BE49-F238E27FC236}">
                <a16:creationId xmlns:a16="http://schemas.microsoft.com/office/drawing/2014/main" id="{6479E628-6D75-48E0-97A4-FE13478C8E1D}"/>
              </a:ext>
            </a:extLst>
          </p:cNvPr>
          <p:cNvSpPr>
            <a:spLocks/>
          </p:cNvSpPr>
          <p:nvPr>
            <p:custDataLst>
              <p:tags r:id="rId2"/>
            </p:custDataLst>
          </p:nvPr>
        </p:nvSpPr>
        <p:spPr bwMode="auto">
          <a:xfrm>
            <a:off x="580181" y="2994007"/>
            <a:ext cx="1663977" cy="946514"/>
          </a:xfrm>
          <a:custGeom>
            <a:avLst/>
            <a:gdLst>
              <a:gd name="T0" fmla="*/ 605085 w 1808"/>
              <a:gd name="T1" fmla="*/ 423521 h 850"/>
              <a:gd name="T2" fmla="*/ 604651 w 1808"/>
              <a:gd name="T3" fmla="*/ 395181 h 850"/>
              <a:gd name="T4" fmla="*/ 595543 w 1808"/>
              <a:gd name="T5" fmla="*/ 340076 h 850"/>
              <a:gd name="T6" fmla="*/ 573855 w 1808"/>
              <a:gd name="T7" fmla="*/ 336403 h 850"/>
              <a:gd name="T8" fmla="*/ 548263 w 1808"/>
              <a:gd name="T9" fmla="*/ 335353 h 850"/>
              <a:gd name="T10" fmla="*/ 491876 w 1808"/>
              <a:gd name="T11" fmla="*/ 305439 h 850"/>
              <a:gd name="T12" fmla="*/ 422041 w 1808"/>
              <a:gd name="T13" fmla="*/ 281823 h 850"/>
              <a:gd name="T14" fmla="*/ 409029 w 1808"/>
              <a:gd name="T15" fmla="*/ 264504 h 850"/>
              <a:gd name="T16" fmla="*/ 390811 w 1808"/>
              <a:gd name="T17" fmla="*/ 270802 h 850"/>
              <a:gd name="T18" fmla="*/ 368256 w 1808"/>
              <a:gd name="T19" fmla="*/ 299141 h 850"/>
              <a:gd name="T20" fmla="*/ 292783 w 1808"/>
              <a:gd name="T21" fmla="*/ 324857 h 850"/>
              <a:gd name="T22" fmla="*/ 294084 w 1808"/>
              <a:gd name="T23" fmla="*/ 303340 h 850"/>
              <a:gd name="T24" fmla="*/ 312736 w 1808"/>
              <a:gd name="T25" fmla="*/ 287596 h 850"/>
              <a:gd name="T26" fmla="*/ 340930 w 1808"/>
              <a:gd name="T27" fmla="*/ 286021 h 850"/>
              <a:gd name="T28" fmla="*/ 314037 w 1808"/>
              <a:gd name="T29" fmla="*/ 277099 h 850"/>
              <a:gd name="T30" fmla="*/ 250709 w 1808"/>
              <a:gd name="T31" fmla="*/ 309113 h 850"/>
              <a:gd name="T32" fmla="*/ 237263 w 1808"/>
              <a:gd name="T33" fmla="*/ 328006 h 850"/>
              <a:gd name="T34" fmla="*/ 228154 w 1808"/>
              <a:gd name="T35" fmla="*/ 341126 h 850"/>
              <a:gd name="T36" fmla="*/ 196056 w 1808"/>
              <a:gd name="T37" fmla="*/ 343225 h 850"/>
              <a:gd name="T38" fmla="*/ 166127 w 1808"/>
              <a:gd name="T39" fmla="*/ 368416 h 850"/>
              <a:gd name="T40" fmla="*/ 109306 w 1808"/>
              <a:gd name="T41" fmla="*/ 393607 h 850"/>
              <a:gd name="T42" fmla="*/ 45544 w 1808"/>
              <a:gd name="T43" fmla="*/ 423521 h 850"/>
              <a:gd name="T44" fmla="*/ 1735 w 1808"/>
              <a:gd name="T45" fmla="*/ 426670 h 850"/>
              <a:gd name="T46" fmla="*/ 6073 w 1808"/>
              <a:gd name="T47" fmla="*/ 414075 h 850"/>
              <a:gd name="T48" fmla="*/ 55087 w 1808"/>
              <a:gd name="T49" fmla="*/ 399380 h 850"/>
              <a:gd name="T50" fmla="*/ 114944 w 1808"/>
              <a:gd name="T51" fmla="*/ 365267 h 850"/>
              <a:gd name="T52" fmla="*/ 130126 w 1808"/>
              <a:gd name="T53" fmla="*/ 328531 h 850"/>
              <a:gd name="T54" fmla="*/ 109739 w 1808"/>
              <a:gd name="T55" fmla="*/ 344800 h 850"/>
              <a:gd name="T56" fmla="*/ 65063 w 1808"/>
              <a:gd name="T57" fmla="*/ 337452 h 850"/>
              <a:gd name="T58" fmla="*/ 74605 w 1808"/>
              <a:gd name="T59" fmla="*/ 320134 h 850"/>
              <a:gd name="T60" fmla="*/ 104101 w 1808"/>
              <a:gd name="T61" fmla="*/ 287071 h 850"/>
              <a:gd name="T62" fmla="*/ 65930 w 1808"/>
              <a:gd name="T63" fmla="*/ 301765 h 850"/>
              <a:gd name="T64" fmla="*/ 62027 w 1808"/>
              <a:gd name="T65" fmla="*/ 281298 h 850"/>
              <a:gd name="T66" fmla="*/ 150078 w 1808"/>
              <a:gd name="T67" fmla="*/ 199428 h 850"/>
              <a:gd name="T68" fmla="*/ 192586 w 1808"/>
              <a:gd name="T69" fmla="*/ 200477 h 850"/>
              <a:gd name="T70" fmla="*/ 246805 w 1808"/>
              <a:gd name="T71" fmla="*/ 183158 h 850"/>
              <a:gd name="T72" fmla="*/ 256782 w 1808"/>
              <a:gd name="T73" fmla="*/ 160592 h 850"/>
              <a:gd name="T74" fmla="*/ 219479 w 1808"/>
              <a:gd name="T75" fmla="*/ 173712 h 850"/>
              <a:gd name="T76" fmla="*/ 189984 w 1808"/>
              <a:gd name="T77" fmla="*/ 166889 h 850"/>
              <a:gd name="T78" fmla="*/ 204731 w 1808"/>
              <a:gd name="T79" fmla="*/ 150620 h 850"/>
              <a:gd name="T80" fmla="*/ 308398 w 1808"/>
              <a:gd name="T81" fmla="*/ 124905 h 850"/>
              <a:gd name="T82" fmla="*/ 324881 w 1808"/>
              <a:gd name="T83" fmla="*/ 110210 h 850"/>
              <a:gd name="T84" fmla="*/ 296687 w 1808"/>
              <a:gd name="T85" fmla="*/ 92366 h 850"/>
              <a:gd name="T86" fmla="*/ 320543 w 1808"/>
              <a:gd name="T87" fmla="*/ 57204 h 850"/>
              <a:gd name="T88" fmla="*/ 428548 w 1808"/>
              <a:gd name="T89" fmla="*/ 14170 h 850"/>
              <a:gd name="T90" fmla="*/ 501852 w 1808"/>
              <a:gd name="T91" fmla="*/ 4723 h 850"/>
              <a:gd name="T92" fmla="*/ 553902 w 1808"/>
              <a:gd name="T93" fmla="*/ 1050 h 850"/>
              <a:gd name="T94" fmla="*/ 587301 w 1808"/>
              <a:gd name="T95" fmla="*/ 5248 h 850"/>
              <a:gd name="T96" fmla="*/ 657569 w 1808"/>
              <a:gd name="T97" fmla="*/ 17844 h 850"/>
              <a:gd name="T98" fmla="*/ 763839 w 1808"/>
              <a:gd name="T99" fmla="*/ 21517 h 850"/>
              <a:gd name="T100" fmla="*/ 558240 w 1808"/>
              <a:gd name="T101" fmla="*/ 283397 h 850"/>
              <a:gd name="T102" fmla="*/ 572987 w 1808"/>
              <a:gd name="T103" fmla="*/ 299666 h 850"/>
              <a:gd name="T104" fmla="*/ 575590 w 1808"/>
              <a:gd name="T105" fmla="*/ 315410 h 850"/>
              <a:gd name="T106" fmla="*/ 599446 w 1808"/>
              <a:gd name="T107" fmla="*/ 314361 h 850"/>
              <a:gd name="T108" fmla="*/ 619833 w 1808"/>
              <a:gd name="T109" fmla="*/ 302815 h 850"/>
              <a:gd name="T110" fmla="*/ 639785 w 1808"/>
              <a:gd name="T111" fmla="*/ 350048 h 850"/>
              <a:gd name="T112" fmla="*/ 634147 w 1808"/>
              <a:gd name="T113" fmla="*/ 370515 h 850"/>
              <a:gd name="T114" fmla="*/ 628508 w 1808"/>
              <a:gd name="T115" fmla="*/ 389409 h 850"/>
              <a:gd name="T116" fmla="*/ 640653 w 1808"/>
              <a:gd name="T117" fmla="*/ 410926 h 850"/>
              <a:gd name="T118" fmla="*/ 640653 w 1808"/>
              <a:gd name="T119" fmla="*/ 425620 h 850"/>
              <a:gd name="T120" fmla="*/ 618531 w 1808"/>
              <a:gd name="T121" fmla="*/ 445038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556" name="Freeform 6">
            <a:extLst>
              <a:ext uri="{FF2B5EF4-FFF2-40B4-BE49-F238E27FC236}">
                <a16:creationId xmlns:a16="http://schemas.microsoft.com/office/drawing/2014/main" id="{907D1D90-FE86-4450-8525-DD79BCF1CA57}"/>
              </a:ext>
            </a:extLst>
          </p:cNvPr>
          <p:cNvSpPr>
            <a:spLocks/>
          </p:cNvSpPr>
          <p:nvPr>
            <p:custDataLst>
              <p:tags r:id="rId3"/>
            </p:custDataLst>
          </p:nvPr>
        </p:nvSpPr>
        <p:spPr bwMode="auto">
          <a:xfrm>
            <a:off x="1557010" y="4300936"/>
            <a:ext cx="2930486" cy="1633663"/>
          </a:xfrm>
          <a:custGeom>
            <a:avLst/>
            <a:gdLst>
              <a:gd name="T0" fmla="*/ 1273680 w 3175"/>
              <a:gd name="T1" fmla="*/ 184639 h 1472"/>
              <a:gd name="T2" fmla="*/ 1259760 w 3175"/>
              <a:gd name="T3" fmla="*/ 230145 h 1472"/>
              <a:gd name="T4" fmla="*/ 1236705 w 3175"/>
              <a:gd name="T5" fmla="*/ 241652 h 1472"/>
              <a:gd name="T6" fmla="*/ 1160145 w 3175"/>
              <a:gd name="T7" fmla="*/ 296050 h 1472"/>
              <a:gd name="T8" fmla="*/ 1128825 w 3175"/>
              <a:gd name="T9" fmla="*/ 305988 h 1472"/>
              <a:gd name="T10" fmla="*/ 1117950 w 3175"/>
              <a:gd name="T11" fmla="*/ 354109 h 1472"/>
              <a:gd name="T12" fmla="*/ 1093590 w 3175"/>
              <a:gd name="T13" fmla="*/ 324818 h 1472"/>
              <a:gd name="T14" fmla="*/ 1087065 w 3175"/>
              <a:gd name="T15" fmla="*/ 360908 h 1472"/>
              <a:gd name="T16" fmla="*/ 1072275 w 3175"/>
              <a:gd name="T17" fmla="*/ 389153 h 1472"/>
              <a:gd name="T18" fmla="*/ 1074885 w 3175"/>
              <a:gd name="T19" fmla="*/ 430475 h 1472"/>
              <a:gd name="T20" fmla="*/ 1014420 w 3175"/>
              <a:gd name="T21" fmla="*/ 485396 h 1472"/>
              <a:gd name="T22" fmla="*/ 941775 w 3175"/>
              <a:gd name="T23" fmla="*/ 546593 h 1472"/>
              <a:gd name="T24" fmla="*/ 918720 w 3175"/>
              <a:gd name="T25" fmla="*/ 625052 h 1472"/>
              <a:gd name="T26" fmla="*/ 914805 w 3175"/>
              <a:gd name="T27" fmla="*/ 762092 h 1472"/>
              <a:gd name="T28" fmla="*/ 881310 w 3175"/>
              <a:gd name="T29" fmla="*/ 739601 h 1472"/>
              <a:gd name="T30" fmla="*/ 866955 w 3175"/>
              <a:gd name="T31" fmla="*/ 693572 h 1472"/>
              <a:gd name="T32" fmla="*/ 852165 w 3175"/>
              <a:gd name="T33" fmla="*/ 619298 h 1472"/>
              <a:gd name="T34" fmla="*/ 796920 w 3175"/>
              <a:gd name="T35" fmla="*/ 610929 h 1472"/>
              <a:gd name="T36" fmla="*/ 719055 w 3175"/>
              <a:gd name="T37" fmla="*/ 597853 h 1472"/>
              <a:gd name="T38" fmla="*/ 702960 w 3175"/>
              <a:gd name="T39" fmla="*/ 620344 h 1472"/>
              <a:gd name="T40" fmla="*/ 673380 w 3175"/>
              <a:gd name="T41" fmla="*/ 647543 h 1472"/>
              <a:gd name="T42" fmla="*/ 624660 w 3175"/>
              <a:gd name="T43" fmla="*/ 623482 h 1472"/>
              <a:gd name="T44" fmla="*/ 535485 w 3175"/>
              <a:gd name="T45" fmla="*/ 665327 h 1472"/>
              <a:gd name="T46" fmla="*/ 504600 w 3175"/>
              <a:gd name="T47" fmla="*/ 728094 h 1472"/>
              <a:gd name="T48" fmla="*/ 469800 w 3175"/>
              <a:gd name="T49" fmla="*/ 722863 h 1472"/>
              <a:gd name="T50" fmla="*/ 451095 w 3175"/>
              <a:gd name="T51" fmla="*/ 641789 h 1472"/>
              <a:gd name="T52" fmla="*/ 408900 w 3175"/>
              <a:gd name="T53" fmla="*/ 622436 h 1472"/>
              <a:gd name="T54" fmla="*/ 377145 w 3175"/>
              <a:gd name="T55" fmla="*/ 637605 h 1472"/>
              <a:gd name="T56" fmla="*/ 340170 w 3175"/>
              <a:gd name="T57" fmla="*/ 568562 h 1472"/>
              <a:gd name="T58" fmla="*/ 291450 w 3175"/>
              <a:gd name="T59" fmla="*/ 557054 h 1472"/>
              <a:gd name="T60" fmla="*/ 200970 w 3175"/>
              <a:gd name="T61" fmla="*/ 557054 h 1472"/>
              <a:gd name="T62" fmla="*/ 95700 w 3175"/>
              <a:gd name="T63" fmla="*/ 531425 h 1472"/>
              <a:gd name="T64" fmla="*/ 38280 w 3175"/>
              <a:gd name="T65" fmla="*/ 481211 h 1472"/>
              <a:gd name="T66" fmla="*/ 16965 w 3175"/>
              <a:gd name="T67" fmla="*/ 443551 h 1472"/>
              <a:gd name="T68" fmla="*/ 12615 w 3175"/>
              <a:gd name="T69" fmla="*/ 346263 h 1472"/>
              <a:gd name="T70" fmla="*/ 0 w 3175"/>
              <a:gd name="T71" fmla="*/ 315926 h 1472"/>
              <a:gd name="T72" fmla="*/ 61335 w 3175"/>
              <a:gd name="T73" fmla="*/ 175747 h 1472"/>
              <a:gd name="T74" fmla="*/ 107445 w 3175"/>
              <a:gd name="T75" fmla="*/ 92058 h 1472"/>
              <a:gd name="T76" fmla="*/ 154425 w 3175"/>
              <a:gd name="T77" fmla="*/ 53352 h 1472"/>
              <a:gd name="T78" fmla="*/ 163560 w 3175"/>
              <a:gd name="T79" fmla="*/ 62767 h 1472"/>
              <a:gd name="T80" fmla="*/ 794745 w 3175"/>
              <a:gd name="T81" fmla="*/ 0 h 1472"/>
              <a:gd name="T82" fmla="*/ 837810 w 3175"/>
              <a:gd name="T83" fmla="*/ 28768 h 1472"/>
              <a:gd name="T84" fmla="*/ 876525 w 3175"/>
              <a:gd name="T85" fmla="*/ 36091 h 1472"/>
              <a:gd name="T86" fmla="*/ 839115 w 3175"/>
              <a:gd name="T87" fmla="*/ 66951 h 1472"/>
              <a:gd name="T88" fmla="*/ 859995 w 3175"/>
              <a:gd name="T89" fmla="*/ 86827 h 1472"/>
              <a:gd name="T90" fmla="*/ 910890 w 3175"/>
              <a:gd name="T91" fmla="*/ 81074 h 1472"/>
              <a:gd name="T92" fmla="*/ 993540 w 3175"/>
              <a:gd name="T93" fmla="*/ 100950 h 1472"/>
              <a:gd name="T94" fmla="*/ 964395 w 3175"/>
              <a:gd name="T95" fmla="*/ 106703 h 1472"/>
              <a:gd name="T96" fmla="*/ 907845 w 3175"/>
              <a:gd name="T97" fmla="*/ 138087 h 1472"/>
              <a:gd name="T98" fmla="*/ 879135 w 3175"/>
              <a:gd name="T99" fmla="*/ 185685 h 1472"/>
              <a:gd name="T100" fmla="*/ 875220 w 3175"/>
              <a:gd name="T101" fmla="*/ 235898 h 1472"/>
              <a:gd name="T102" fmla="*/ 903060 w 3175"/>
              <a:gd name="T103" fmla="*/ 218114 h 1472"/>
              <a:gd name="T104" fmla="*/ 959175 w 3175"/>
              <a:gd name="T105" fmla="*/ 131810 h 1472"/>
              <a:gd name="T106" fmla="*/ 986145 w 3175"/>
              <a:gd name="T107" fmla="*/ 158486 h 1472"/>
              <a:gd name="T108" fmla="*/ 1000065 w 3175"/>
              <a:gd name="T109" fmla="*/ 206084 h 1472"/>
              <a:gd name="T110" fmla="*/ 959610 w 3175"/>
              <a:gd name="T111" fmla="*/ 237467 h 1472"/>
              <a:gd name="T112" fmla="*/ 1007895 w 3175"/>
              <a:gd name="T113" fmla="*/ 239036 h 1472"/>
              <a:gd name="T114" fmla="*/ 1117950 w 3175"/>
              <a:gd name="T115" fmla="*/ 195100 h 1472"/>
              <a:gd name="T116" fmla="*/ 1187550 w 3175"/>
              <a:gd name="T117" fmla="*/ 131810 h 1472"/>
              <a:gd name="T118" fmla="*/ 1311960 w 3175"/>
              <a:gd name="T119" fmla="*/ 106180 h 1472"/>
              <a:gd name="T120" fmla="*/ 1364160 w 3175"/>
              <a:gd name="T121" fmla="*/ 61721 h 1472"/>
              <a:gd name="T122" fmla="*/ 1369815 w 3175"/>
              <a:gd name="T123" fmla="*/ 96242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557" name="Freeform 7">
            <a:extLst>
              <a:ext uri="{FF2B5EF4-FFF2-40B4-BE49-F238E27FC236}">
                <a16:creationId xmlns:a16="http://schemas.microsoft.com/office/drawing/2014/main" id="{3D96EEB2-7969-4DAB-B0E5-9B3E3B50D046}"/>
              </a:ext>
            </a:extLst>
          </p:cNvPr>
          <p:cNvSpPr>
            <a:spLocks/>
          </p:cNvSpPr>
          <p:nvPr>
            <p:custDataLst>
              <p:tags r:id="rId4"/>
            </p:custDataLst>
          </p:nvPr>
        </p:nvSpPr>
        <p:spPr bwMode="auto">
          <a:xfrm>
            <a:off x="3325406" y="7591840"/>
            <a:ext cx="720832" cy="1253036"/>
          </a:xfrm>
          <a:custGeom>
            <a:avLst/>
            <a:gdLst>
              <a:gd name="T0" fmla="*/ 252627 w 784"/>
              <a:gd name="T1" fmla="*/ 145020 h 1128"/>
              <a:gd name="T2" fmla="*/ 237894 w 784"/>
              <a:gd name="T3" fmla="*/ 154443 h 1128"/>
              <a:gd name="T4" fmla="*/ 209728 w 784"/>
              <a:gd name="T5" fmla="*/ 202609 h 1128"/>
              <a:gd name="T6" fmla="*/ 201495 w 784"/>
              <a:gd name="T7" fmla="*/ 239257 h 1128"/>
              <a:gd name="T8" fmla="*/ 208428 w 784"/>
              <a:gd name="T9" fmla="*/ 273286 h 1128"/>
              <a:gd name="T10" fmla="*/ 229661 w 784"/>
              <a:gd name="T11" fmla="*/ 309411 h 1128"/>
              <a:gd name="T12" fmla="*/ 250894 w 784"/>
              <a:gd name="T13" fmla="*/ 322499 h 1128"/>
              <a:gd name="T14" fmla="*/ 270827 w 784"/>
              <a:gd name="T15" fmla="*/ 314122 h 1128"/>
              <a:gd name="T16" fmla="*/ 283393 w 784"/>
              <a:gd name="T17" fmla="*/ 341870 h 1128"/>
              <a:gd name="T18" fmla="*/ 291193 w 784"/>
              <a:gd name="T19" fmla="*/ 357576 h 1128"/>
              <a:gd name="T20" fmla="*/ 309392 w 784"/>
              <a:gd name="T21" fmla="*/ 359670 h 1128"/>
              <a:gd name="T22" fmla="*/ 324559 w 784"/>
              <a:gd name="T23" fmla="*/ 372759 h 1128"/>
              <a:gd name="T24" fmla="*/ 333658 w 784"/>
              <a:gd name="T25" fmla="*/ 395794 h 1128"/>
              <a:gd name="T26" fmla="*/ 329759 w 784"/>
              <a:gd name="T27" fmla="*/ 413594 h 1128"/>
              <a:gd name="T28" fmla="*/ 329325 w 784"/>
              <a:gd name="T29" fmla="*/ 431918 h 1128"/>
              <a:gd name="T30" fmla="*/ 334525 w 784"/>
              <a:gd name="T31" fmla="*/ 461760 h 1128"/>
              <a:gd name="T32" fmla="*/ 328459 w 784"/>
              <a:gd name="T33" fmla="*/ 487937 h 1128"/>
              <a:gd name="T34" fmla="*/ 333658 w 784"/>
              <a:gd name="T35" fmla="*/ 520396 h 1128"/>
              <a:gd name="T36" fmla="*/ 330625 w 784"/>
              <a:gd name="T37" fmla="*/ 551808 h 1128"/>
              <a:gd name="T38" fmla="*/ 299426 w 784"/>
              <a:gd name="T39" fmla="*/ 587409 h 1128"/>
              <a:gd name="T40" fmla="*/ 280793 w 784"/>
              <a:gd name="T41" fmla="*/ 577462 h 1128"/>
              <a:gd name="T42" fmla="*/ 260860 w 784"/>
              <a:gd name="T43" fmla="*/ 552855 h 1128"/>
              <a:gd name="T44" fmla="*/ 200628 w 784"/>
              <a:gd name="T45" fmla="*/ 522490 h 1128"/>
              <a:gd name="T46" fmla="*/ 184162 w 784"/>
              <a:gd name="T47" fmla="*/ 506261 h 1128"/>
              <a:gd name="T48" fmla="*/ 143430 w 784"/>
              <a:gd name="T49" fmla="*/ 468042 h 1128"/>
              <a:gd name="T50" fmla="*/ 137797 w 784"/>
              <a:gd name="T51" fmla="*/ 453907 h 1128"/>
              <a:gd name="T52" fmla="*/ 142130 w 784"/>
              <a:gd name="T53" fmla="*/ 426683 h 1128"/>
              <a:gd name="T54" fmla="*/ 125664 w 784"/>
              <a:gd name="T55" fmla="*/ 407312 h 1128"/>
              <a:gd name="T56" fmla="*/ 112231 w 784"/>
              <a:gd name="T57" fmla="*/ 390035 h 1128"/>
              <a:gd name="T58" fmla="*/ 105297 w 784"/>
              <a:gd name="T59" fmla="*/ 360717 h 1128"/>
              <a:gd name="T60" fmla="*/ 66298 w 784"/>
              <a:gd name="T61" fmla="*/ 277475 h 1128"/>
              <a:gd name="T62" fmla="*/ 51999 w 784"/>
              <a:gd name="T63" fmla="*/ 254963 h 1128"/>
              <a:gd name="T64" fmla="*/ 38999 w 784"/>
              <a:gd name="T65" fmla="*/ 226168 h 1128"/>
              <a:gd name="T66" fmla="*/ 9533 w 784"/>
              <a:gd name="T67" fmla="*/ 207844 h 1128"/>
              <a:gd name="T68" fmla="*/ 0 w 784"/>
              <a:gd name="T69" fmla="*/ 190044 h 1128"/>
              <a:gd name="T70" fmla="*/ 5633 w 784"/>
              <a:gd name="T71" fmla="*/ 144496 h 1128"/>
              <a:gd name="T72" fmla="*/ 12133 w 784"/>
              <a:gd name="T73" fmla="*/ 128790 h 1128"/>
              <a:gd name="T74" fmla="*/ 31199 w 784"/>
              <a:gd name="T75" fmla="*/ 116225 h 1128"/>
              <a:gd name="T76" fmla="*/ 41166 w 784"/>
              <a:gd name="T77" fmla="*/ 142402 h 1128"/>
              <a:gd name="T78" fmla="*/ 68465 w 784"/>
              <a:gd name="T79" fmla="*/ 160726 h 1128"/>
              <a:gd name="T80" fmla="*/ 79731 w 784"/>
              <a:gd name="T81" fmla="*/ 141879 h 1128"/>
              <a:gd name="T82" fmla="*/ 87098 w 784"/>
              <a:gd name="T83" fmla="*/ 117796 h 1128"/>
              <a:gd name="T84" fmla="*/ 116997 w 784"/>
              <a:gd name="T85" fmla="*/ 89001 h 1128"/>
              <a:gd name="T86" fmla="*/ 149063 w 784"/>
              <a:gd name="T87" fmla="*/ 62824 h 1128"/>
              <a:gd name="T88" fmla="*/ 154696 w 784"/>
              <a:gd name="T89" fmla="*/ 36648 h 1128"/>
              <a:gd name="T90" fmla="*/ 150363 w 784"/>
              <a:gd name="T91" fmla="*/ 2618 h 1128"/>
              <a:gd name="T92" fmla="*/ 182862 w 784"/>
              <a:gd name="T93" fmla="*/ 27747 h 1128"/>
              <a:gd name="T94" fmla="*/ 202362 w 784"/>
              <a:gd name="T95" fmla="*/ 56018 h 1128"/>
              <a:gd name="T96" fmla="*/ 219261 w 784"/>
              <a:gd name="T97" fmla="*/ 80625 h 1128"/>
              <a:gd name="T98" fmla="*/ 243094 w 784"/>
              <a:gd name="T99" fmla="*/ 82195 h 1128"/>
              <a:gd name="T100" fmla="*/ 267360 w 784"/>
              <a:gd name="T101" fmla="*/ 78007 h 1128"/>
              <a:gd name="T102" fmla="*/ 277327 w 784"/>
              <a:gd name="T103" fmla="*/ 81672 h 1128"/>
              <a:gd name="T104" fmla="*/ 283393 w 784"/>
              <a:gd name="T105" fmla="*/ 101043 h 1128"/>
              <a:gd name="T106" fmla="*/ 271693 w 784"/>
              <a:gd name="T107" fmla="*/ 109943 h 1128"/>
              <a:gd name="T108" fmla="*/ 271693 w 784"/>
              <a:gd name="T109" fmla="*/ 125649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558" name="Freeform 8">
            <a:extLst>
              <a:ext uri="{FF2B5EF4-FFF2-40B4-BE49-F238E27FC236}">
                <a16:creationId xmlns:a16="http://schemas.microsoft.com/office/drawing/2014/main" id="{6DB452A5-75CA-416B-9BD4-89E4586C2324}"/>
              </a:ext>
            </a:extLst>
          </p:cNvPr>
          <p:cNvSpPr>
            <a:spLocks/>
          </p:cNvSpPr>
          <p:nvPr>
            <p:custDataLst>
              <p:tags r:id="rId5"/>
            </p:custDataLst>
          </p:nvPr>
        </p:nvSpPr>
        <p:spPr bwMode="auto">
          <a:xfrm>
            <a:off x="3962030" y="8787612"/>
            <a:ext cx="555781" cy="2398283"/>
          </a:xfrm>
          <a:custGeom>
            <a:avLst/>
            <a:gdLst>
              <a:gd name="T0" fmla="*/ 183093 w 598"/>
              <a:gd name="T1" fmla="*/ 1058543 h 2158"/>
              <a:gd name="T2" fmla="*/ 149803 w 598"/>
              <a:gd name="T3" fmla="*/ 1023974 h 2158"/>
              <a:gd name="T4" fmla="*/ 148489 w 598"/>
              <a:gd name="T5" fmla="*/ 991500 h 2158"/>
              <a:gd name="T6" fmla="*/ 151118 w 598"/>
              <a:gd name="T7" fmla="*/ 965312 h 2158"/>
              <a:gd name="T8" fmla="*/ 158564 w 598"/>
              <a:gd name="T9" fmla="*/ 938076 h 2158"/>
              <a:gd name="T10" fmla="*/ 155060 w 598"/>
              <a:gd name="T11" fmla="*/ 911363 h 2158"/>
              <a:gd name="T12" fmla="*/ 145423 w 598"/>
              <a:gd name="T13" fmla="*/ 881508 h 2158"/>
              <a:gd name="T14" fmla="*/ 132721 w 598"/>
              <a:gd name="T15" fmla="*/ 828084 h 2158"/>
              <a:gd name="T16" fmla="*/ 98993 w 598"/>
              <a:gd name="T17" fmla="*/ 764707 h 2158"/>
              <a:gd name="T18" fmla="*/ 90232 w 598"/>
              <a:gd name="T19" fmla="*/ 723329 h 2158"/>
              <a:gd name="T20" fmla="*/ 95051 w 598"/>
              <a:gd name="T21" fmla="*/ 680380 h 2158"/>
              <a:gd name="T22" fmla="*/ 91109 w 598"/>
              <a:gd name="T23" fmla="*/ 646858 h 2158"/>
              <a:gd name="T24" fmla="*/ 81034 w 598"/>
              <a:gd name="T25" fmla="*/ 610194 h 2158"/>
              <a:gd name="T26" fmla="*/ 92423 w 598"/>
              <a:gd name="T27" fmla="*/ 588196 h 2158"/>
              <a:gd name="T28" fmla="*/ 85414 w 598"/>
              <a:gd name="T29" fmla="*/ 566721 h 2158"/>
              <a:gd name="T30" fmla="*/ 92423 w 598"/>
              <a:gd name="T31" fmla="*/ 536866 h 2158"/>
              <a:gd name="T32" fmla="*/ 91985 w 598"/>
              <a:gd name="T33" fmla="*/ 520106 h 2158"/>
              <a:gd name="T34" fmla="*/ 81910 w 598"/>
              <a:gd name="T35" fmla="*/ 485537 h 2158"/>
              <a:gd name="T36" fmla="*/ 59571 w 598"/>
              <a:gd name="T37" fmla="*/ 446254 h 2158"/>
              <a:gd name="T38" fmla="*/ 58695 w 598"/>
              <a:gd name="T39" fmla="*/ 359308 h 2158"/>
              <a:gd name="T40" fmla="*/ 80158 w 598"/>
              <a:gd name="T41" fmla="*/ 305883 h 2158"/>
              <a:gd name="T42" fmla="*/ 82786 w 598"/>
              <a:gd name="T43" fmla="*/ 273409 h 2158"/>
              <a:gd name="T44" fmla="*/ 70083 w 598"/>
              <a:gd name="T45" fmla="*/ 240411 h 2158"/>
              <a:gd name="T46" fmla="*/ 79720 w 598"/>
              <a:gd name="T47" fmla="*/ 212651 h 2158"/>
              <a:gd name="T48" fmla="*/ 100307 w 598"/>
              <a:gd name="T49" fmla="*/ 181225 h 2158"/>
              <a:gd name="T50" fmla="*/ 87604 w 598"/>
              <a:gd name="T51" fmla="*/ 161322 h 2158"/>
              <a:gd name="T52" fmla="*/ 64827 w 598"/>
              <a:gd name="T53" fmla="*/ 116277 h 2158"/>
              <a:gd name="T54" fmla="*/ 56505 w 598"/>
              <a:gd name="T55" fmla="*/ 65472 h 2158"/>
              <a:gd name="T56" fmla="*/ 39860 w 598"/>
              <a:gd name="T57" fmla="*/ 19380 h 2158"/>
              <a:gd name="T58" fmla="*/ 0 w 598"/>
              <a:gd name="T59" fmla="*/ 23046 h 2158"/>
              <a:gd name="T60" fmla="*/ 13579 w 598"/>
              <a:gd name="T61" fmla="*/ 104754 h 2158"/>
              <a:gd name="T62" fmla="*/ 18397 w 598"/>
              <a:gd name="T63" fmla="*/ 159227 h 2158"/>
              <a:gd name="T64" fmla="*/ 11827 w 598"/>
              <a:gd name="T65" fmla="*/ 195891 h 2158"/>
              <a:gd name="T66" fmla="*/ 22777 w 598"/>
              <a:gd name="T67" fmla="*/ 274457 h 2158"/>
              <a:gd name="T68" fmla="*/ 20149 w 598"/>
              <a:gd name="T69" fmla="*/ 339928 h 2158"/>
              <a:gd name="T70" fmla="*/ 15769 w 598"/>
              <a:gd name="T71" fmla="*/ 376068 h 2158"/>
              <a:gd name="T72" fmla="*/ 22777 w 598"/>
              <a:gd name="T73" fmla="*/ 401733 h 2158"/>
              <a:gd name="T74" fmla="*/ 28033 w 598"/>
              <a:gd name="T75" fmla="*/ 456205 h 2158"/>
              <a:gd name="T76" fmla="*/ 35480 w 598"/>
              <a:gd name="T77" fmla="*/ 478204 h 2158"/>
              <a:gd name="T78" fmla="*/ 31976 w 598"/>
              <a:gd name="T79" fmla="*/ 547342 h 2158"/>
              <a:gd name="T80" fmla="*/ 27595 w 598"/>
              <a:gd name="T81" fmla="*/ 603385 h 2158"/>
              <a:gd name="T82" fmla="*/ 17521 w 598"/>
              <a:gd name="T83" fmla="*/ 622241 h 2158"/>
              <a:gd name="T84" fmla="*/ 26281 w 598"/>
              <a:gd name="T85" fmla="*/ 658905 h 2158"/>
              <a:gd name="T86" fmla="*/ 46430 w 598"/>
              <a:gd name="T87" fmla="*/ 703426 h 2158"/>
              <a:gd name="T88" fmla="*/ 40736 w 598"/>
              <a:gd name="T89" fmla="*/ 731186 h 2158"/>
              <a:gd name="T90" fmla="*/ 46430 w 598"/>
              <a:gd name="T91" fmla="*/ 758946 h 2158"/>
              <a:gd name="T92" fmla="*/ 71836 w 598"/>
              <a:gd name="T93" fmla="*/ 768374 h 2158"/>
              <a:gd name="T94" fmla="*/ 91547 w 598"/>
              <a:gd name="T95" fmla="*/ 849034 h 2158"/>
              <a:gd name="T96" fmla="*/ 99431 w 598"/>
              <a:gd name="T97" fmla="*/ 895126 h 2158"/>
              <a:gd name="T98" fmla="*/ 66141 w 598"/>
              <a:gd name="T99" fmla="*/ 916077 h 2158"/>
              <a:gd name="T100" fmla="*/ 90671 w 598"/>
              <a:gd name="T101" fmla="*/ 930219 h 2158"/>
              <a:gd name="T102" fmla="*/ 109505 w 598"/>
              <a:gd name="T103" fmla="*/ 953265 h 2158"/>
              <a:gd name="T104" fmla="*/ 120456 w 598"/>
              <a:gd name="T105" fmla="*/ 979977 h 2158"/>
              <a:gd name="T106" fmla="*/ 134911 w 598"/>
              <a:gd name="T107" fmla="*/ 1027117 h 2158"/>
              <a:gd name="T108" fmla="*/ 157250 w 598"/>
              <a:gd name="T109" fmla="*/ 1054353 h 2158"/>
              <a:gd name="T110" fmla="*/ 172143 w 598"/>
              <a:gd name="T111" fmla="*/ 1072685 h 2158"/>
              <a:gd name="T112" fmla="*/ 185721 w 598"/>
              <a:gd name="T113" fmla="*/ 1086303 h 2158"/>
              <a:gd name="T114" fmla="*/ 203680 w 598"/>
              <a:gd name="T115" fmla="*/ 1105159 h 2158"/>
              <a:gd name="T116" fmla="*/ 227333 w 598"/>
              <a:gd name="T117" fmla="*/ 1120872 h 2158"/>
              <a:gd name="T118" fmla="*/ 235656 w 598"/>
              <a:gd name="T119" fmla="*/ 1126634 h 2158"/>
              <a:gd name="T120" fmla="*/ 256681 w 598"/>
              <a:gd name="T121" fmla="*/ 1098874 h 2158"/>
              <a:gd name="T122" fmla="*/ 258871 w 598"/>
              <a:gd name="T123" fmla="*/ 1084732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559" name="Freeform 9">
            <a:extLst>
              <a:ext uri="{FF2B5EF4-FFF2-40B4-BE49-F238E27FC236}">
                <a16:creationId xmlns:a16="http://schemas.microsoft.com/office/drawing/2014/main" id="{2946E04D-52F7-4A23-B6A3-1B77D20C35C0}"/>
              </a:ext>
            </a:extLst>
          </p:cNvPr>
          <p:cNvSpPr>
            <a:spLocks/>
          </p:cNvSpPr>
          <p:nvPr>
            <p:custDataLst>
              <p:tags r:id="rId6"/>
            </p:custDataLst>
          </p:nvPr>
        </p:nvSpPr>
        <p:spPr bwMode="auto">
          <a:xfrm>
            <a:off x="3759927" y="7265106"/>
            <a:ext cx="2051339" cy="2553228"/>
          </a:xfrm>
          <a:custGeom>
            <a:avLst/>
            <a:gdLst>
              <a:gd name="T0" fmla="*/ 191099 w 2226"/>
              <a:gd name="T1" fmla="*/ 470410 h 2292"/>
              <a:gd name="T2" fmla="*/ 219329 w 2226"/>
              <a:gd name="T3" fmla="*/ 517136 h 2292"/>
              <a:gd name="T4" fmla="*/ 248429 w 2226"/>
              <a:gd name="T5" fmla="*/ 553361 h 2292"/>
              <a:gd name="T6" fmla="*/ 310970 w 2226"/>
              <a:gd name="T7" fmla="*/ 576462 h 2292"/>
              <a:gd name="T8" fmla="*/ 346584 w 2226"/>
              <a:gd name="T9" fmla="*/ 632113 h 2292"/>
              <a:gd name="T10" fmla="*/ 367431 w 2226"/>
              <a:gd name="T11" fmla="*/ 678314 h 2292"/>
              <a:gd name="T12" fmla="*/ 407823 w 2226"/>
              <a:gd name="T13" fmla="*/ 711390 h 2292"/>
              <a:gd name="T14" fmla="*/ 415640 w 2226"/>
              <a:gd name="T15" fmla="*/ 769666 h 2292"/>
              <a:gd name="T16" fmla="*/ 423892 w 2226"/>
              <a:gd name="T17" fmla="*/ 809042 h 2292"/>
              <a:gd name="T18" fmla="*/ 430841 w 2226"/>
              <a:gd name="T19" fmla="*/ 856818 h 2292"/>
              <a:gd name="T20" fmla="*/ 491211 w 2226"/>
              <a:gd name="T21" fmla="*/ 891469 h 2292"/>
              <a:gd name="T22" fmla="*/ 518139 w 2226"/>
              <a:gd name="T23" fmla="*/ 947645 h 2292"/>
              <a:gd name="T24" fmla="*/ 539855 w 2226"/>
              <a:gd name="T25" fmla="*/ 978620 h 2292"/>
              <a:gd name="T26" fmla="*/ 513796 w 2226"/>
              <a:gd name="T27" fmla="*/ 1051597 h 2292"/>
              <a:gd name="T28" fmla="*/ 470798 w 2226"/>
              <a:gd name="T29" fmla="*/ 1117223 h 2292"/>
              <a:gd name="T30" fmla="*/ 512493 w 2226"/>
              <a:gd name="T31" fmla="*/ 1134549 h 2292"/>
              <a:gd name="T32" fmla="*/ 562873 w 2226"/>
              <a:gd name="T33" fmla="*/ 1172874 h 2292"/>
              <a:gd name="T34" fmla="*/ 616294 w 2226"/>
              <a:gd name="T35" fmla="*/ 1153974 h 2292"/>
              <a:gd name="T36" fmla="*/ 659291 w 2226"/>
              <a:gd name="T37" fmla="*/ 1068922 h 2292"/>
              <a:gd name="T38" fmla="*/ 656686 w 2226"/>
              <a:gd name="T39" fmla="*/ 1006971 h 2292"/>
              <a:gd name="T40" fmla="*/ 677967 w 2226"/>
              <a:gd name="T41" fmla="*/ 941345 h 2292"/>
              <a:gd name="T42" fmla="*/ 740943 w 2226"/>
              <a:gd name="T43" fmla="*/ 906694 h 2292"/>
              <a:gd name="T44" fmla="*/ 780900 w 2226"/>
              <a:gd name="T45" fmla="*/ 882543 h 2292"/>
              <a:gd name="T46" fmla="*/ 823897 w 2226"/>
              <a:gd name="T47" fmla="*/ 861543 h 2292"/>
              <a:gd name="T48" fmla="*/ 860814 w 2226"/>
              <a:gd name="T49" fmla="*/ 735015 h 2292"/>
              <a:gd name="T50" fmla="*/ 874712 w 2226"/>
              <a:gd name="T51" fmla="*/ 676214 h 2292"/>
              <a:gd name="T52" fmla="*/ 869500 w 2226"/>
              <a:gd name="T53" fmla="*/ 572262 h 2292"/>
              <a:gd name="T54" fmla="*/ 900337 w 2226"/>
              <a:gd name="T55" fmla="*/ 529736 h 2292"/>
              <a:gd name="T56" fmla="*/ 951152 w 2226"/>
              <a:gd name="T57" fmla="*/ 460435 h 2292"/>
              <a:gd name="T58" fmla="*/ 965050 w 2226"/>
              <a:gd name="T59" fmla="*/ 384308 h 2292"/>
              <a:gd name="T60" fmla="*/ 936819 w 2226"/>
              <a:gd name="T61" fmla="*/ 314482 h 2292"/>
              <a:gd name="T62" fmla="*/ 894256 w 2226"/>
              <a:gd name="T63" fmla="*/ 295581 h 2292"/>
              <a:gd name="T64" fmla="*/ 834321 w 2226"/>
              <a:gd name="T65" fmla="*/ 242555 h 2292"/>
              <a:gd name="T66" fmla="*/ 756578 w 2226"/>
              <a:gd name="T67" fmla="*/ 236255 h 2292"/>
              <a:gd name="T68" fmla="*/ 725307 w 2226"/>
              <a:gd name="T69" fmla="*/ 234680 h 2292"/>
              <a:gd name="T70" fmla="*/ 710541 w 2226"/>
              <a:gd name="T71" fmla="*/ 206854 h 2292"/>
              <a:gd name="T72" fmla="*/ 656686 w 2226"/>
              <a:gd name="T73" fmla="*/ 182704 h 2292"/>
              <a:gd name="T74" fmla="*/ 612820 w 2226"/>
              <a:gd name="T75" fmla="*/ 214729 h 2292"/>
              <a:gd name="T76" fmla="*/ 581115 w 2226"/>
              <a:gd name="T77" fmla="*/ 212629 h 2292"/>
              <a:gd name="T78" fmla="*/ 541592 w 2226"/>
              <a:gd name="T79" fmla="*/ 201604 h 2292"/>
              <a:gd name="T80" fmla="*/ 571994 w 2226"/>
              <a:gd name="T81" fmla="*/ 140703 h 2292"/>
              <a:gd name="T82" fmla="*/ 581115 w 2226"/>
              <a:gd name="T83" fmla="*/ 96602 h 2292"/>
              <a:gd name="T84" fmla="*/ 560702 w 2226"/>
              <a:gd name="T85" fmla="*/ 35701 h 2292"/>
              <a:gd name="T86" fmla="*/ 488171 w 2226"/>
              <a:gd name="T87" fmla="*/ 70876 h 2292"/>
              <a:gd name="T88" fmla="*/ 435619 w 2226"/>
              <a:gd name="T89" fmla="*/ 89252 h 2292"/>
              <a:gd name="T90" fmla="*/ 416943 w 2226"/>
              <a:gd name="T91" fmla="*/ 98177 h 2292"/>
              <a:gd name="T92" fmla="*/ 352664 w 2226"/>
              <a:gd name="T93" fmla="*/ 92402 h 2292"/>
              <a:gd name="T94" fmla="*/ 352230 w 2226"/>
              <a:gd name="T95" fmla="*/ 35176 h 2292"/>
              <a:gd name="T96" fmla="*/ 323565 w 2226"/>
              <a:gd name="T97" fmla="*/ 0 h 2292"/>
              <a:gd name="T98" fmla="*/ 304021 w 2226"/>
              <a:gd name="T99" fmla="*/ 16275 h 2292"/>
              <a:gd name="T100" fmla="*/ 255812 w 2226"/>
              <a:gd name="T101" fmla="*/ 36751 h 2292"/>
              <a:gd name="T102" fmla="*/ 243217 w 2226"/>
              <a:gd name="T103" fmla="*/ 103952 h 2292"/>
              <a:gd name="T104" fmla="*/ 196745 w 2226"/>
              <a:gd name="T105" fmla="*/ 135453 h 2292"/>
              <a:gd name="T106" fmla="*/ 124214 w 2226"/>
              <a:gd name="T107" fmla="*/ 103427 h 2292"/>
              <a:gd name="T108" fmla="*/ 109882 w 2226"/>
              <a:gd name="T109" fmla="*/ 126003 h 2292"/>
              <a:gd name="T110" fmla="*/ 85995 w 2226"/>
              <a:gd name="T111" fmla="*/ 163278 h 2292"/>
              <a:gd name="T112" fmla="*/ 106842 w 2226"/>
              <a:gd name="T113" fmla="*/ 203704 h 2292"/>
              <a:gd name="T114" fmla="*/ 84257 w 2226"/>
              <a:gd name="T115" fmla="*/ 294006 h 2292"/>
              <a:gd name="T116" fmla="*/ 43432 w 2226"/>
              <a:gd name="T117" fmla="*/ 297681 h 2292"/>
              <a:gd name="T118" fmla="*/ 6949 w 2226"/>
              <a:gd name="T119" fmla="*/ 360682 h 2292"/>
              <a:gd name="T120" fmla="*/ 9555 w 2226"/>
              <a:gd name="T121" fmla="*/ 432609 h 2292"/>
              <a:gd name="T122" fmla="*/ 52118 w 2226"/>
              <a:gd name="T123" fmla="*/ 475135 h 2292"/>
              <a:gd name="T124" fmla="*/ 82954 w 2226"/>
              <a:gd name="T125" fmla="*/ 498235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560" name="Freeform 10">
            <a:extLst>
              <a:ext uri="{FF2B5EF4-FFF2-40B4-BE49-F238E27FC236}">
                <a16:creationId xmlns:a16="http://schemas.microsoft.com/office/drawing/2014/main" id="{4824062C-E875-4F1A-BCD2-3CA1514B5EB9}"/>
              </a:ext>
            </a:extLst>
          </p:cNvPr>
          <p:cNvSpPr>
            <a:spLocks/>
          </p:cNvSpPr>
          <p:nvPr>
            <p:custDataLst>
              <p:tags r:id="rId7"/>
            </p:custDataLst>
          </p:nvPr>
        </p:nvSpPr>
        <p:spPr bwMode="auto">
          <a:xfrm>
            <a:off x="8243234" y="5028505"/>
            <a:ext cx="148209" cy="104421"/>
          </a:xfrm>
          <a:custGeom>
            <a:avLst/>
            <a:gdLst>
              <a:gd name="T0" fmla="*/ 40782 w 161"/>
              <a:gd name="T1" fmla="*/ 0 h 93"/>
              <a:gd name="T2" fmla="*/ 46422 w 161"/>
              <a:gd name="T3" fmla="*/ 9525 h 93"/>
              <a:gd name="T4" fmla="*/ 48591 w 161"/>
              <a:gd name="T5" fmla="*/ 6350 h 93"/>
              <a:gd name="T6" fmla="*/ 50761 w 161"/>
              <a:gd name="T7" fmla="*/ 4233 h 93"/>
              <a:gd name="T8" fmla="*/ 52930 w 161"/>
              <a:gd name="T9" fmla="*/ 2646 h 93"/>
              <a:gd name="T10" fmla="*/ 55099 w 161"/>
              <a:gd name="T11" fmla="*/ 1588 h 93"/>
              <a:gd name="T12" fmla="*/ 59438 w 161"/>
              <a:gd name="T13" fmla="*/ 529 h 93"/>
              <a:gd name="T14" fmla="*/ 64210 w 161"/>
              <a:gd name="T15" fmla="*/ 0 h 93"/>
              <a:gd name="T16" fmla="*/ 65511 w 161"/>
              <a:gd name="T17" fmla="*/ 0 h 93"/>
              <a:gd name="T18" fmla="*/ 69850 w 161"/>
              <a:gd name="T19" fmla="*/ 0 h 93"/>
              <a:gd name="T20" fmla="*/ 69850 w 161"/>
              <a:gd name="T21" fmla="*/ 48684 h 93"/>
              <a:gd name="T22" fmla="*/ 67247 w 161"/>
              <a:gd name="T23" fmla="*/ 49213 h 93"/>
              <a:gd name="T24" fmla="*/ 65078 w 161"/>
              <a:gd name="T25" fmla="*/ 49213 h 93"/>
              <a:gd name="T26" fmla="*/ 62908 w 161"/>
              <a:gd name="T27" fmla="*/ 48684 h 93"/>
              <a:gd name="T28" fmla="*/ 60739 w 161"/>
              <a:gd name="T29" fmla="*/ 48155 h 93"/>
              <a:gd name="T30" fmla="*/ 55967 w 161"/>
              <a:gd name="T31" fmla="*/ 46567 h 93"/>
              <a:gd name="T32" fmla="*/ 52062 w 161"/>
              <a:gd name="T33" fmla="*/ 43392 h 93"/>
              <a:gd name="T34" fmla="*/ 48157 w 161"/>
              <a:gd name="T35" fmla="*/ 39688 h 93"/>
              <a:gd name="T36" fmla="*/ 45120 w 161"/>
              <a:gd name="T37" fmla="*/ 35455 h 93"/>
              <a:gd name="T38" fmla="*/ 42084 w 161"/>
              <a:gd name="T39" fmla="*/ 31221 h 93"/>
              <a:gd name="T40" fmla="*/ 40782 w 161"/>
              <a:gd name="T41" fmla="*/ 25929 h 93"/>
              <a:gd name="T42" fmla="*/ 39914 w 161"/>
              <a:gd name="T43" fmla="*/ 26459 h 93"/>
              <a:gd name="T44" fmla="*/ 38613 w 161"/>
              <a:gd name="T45" fmla="*/ 26988 h 93"/>
              <a:gd name="T46" fmla="*/ 37311 w 161"/>
              <a:gd name="T47" fmla="*/ 26988 h 93"/>
              <a:gd name="T48" fmla="*/ 36443 w 161"/>
              <a:gd name="T49" fmla="*/ 26988 h 93"/>
              <a:gd name="T50" fmla="*/ 33840 w 161"/>
              <a:gd name="T51" fmla="*/ 26459 h 93"/>
              <a:gd name="T52" fmla="*/ 32105 w 161"/>
              <a:gd name="T53" fmla="*/ 25929 h 93"/>
              <a:gd name="T54" fmla="*/ 28200 w 161"/>
              <a:gd name="T55" fmla="*/ 25400 h 93"/>
              <a:gd name="T56" fmla="*/ 23862 w 161"/>
              <a:gd name="T57" fmla="*/ 23813 h 93"/>
              <a:gd name="T58" fmla="*/ 19089 w 161"/>
              <a:gd name="T59" fmla="*/ 21167 h 93"/>
              <a:gd name="T60" fmla="*/ 13883 w 161"/>
              <a:gd name="T61" fmla="*/ 17992 h 93"/>
              <a:gd name="T62" fmla="*/ 9111 w 161"/>
              <a:gd name="T63" fmla="*/ 13758 h 93"/>
              <a:gd name="T64" fmla="*/ 5206 w 161"/>
              <a:gd name="T65" fmla="*/ 9525 h 93"/>
              <a:gd name="T66" fmla="*/ 3471 w 161"/>
              <a:gd name="T67" fmla="*/ 7408 h 93"/>
              <a:gd name="T68" fmla="*/ 2169 w 161"/>
              <a:gd name="T69" fmla="*/ 4763 h 93"/>
              <a:gd name="T70" fmla="*/ 1302 w 161"/>
              <a:gd name="T71" fmla="*/ 2646 h 93"/>
              <a:gd name="T72" fmla="*/ 0 w 161"/>
              <a:gd name="T73" fmla="*/ 0 h 93"/>
              <a:gd name="T74" fmla="*/ 40782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561" name="Freeform 11">
            <a:extLst>
              <a:ext uri="{FF2B5EF4-FFF2-40B4-BE49-F238E27FC236}">
                <a16:creationId xmlns:a16="http://schemas.microsoft.com/office/drawing/2014/main" id="{202311E5-AD13-4211-9514-8A6084CA87D0}"/>
              </a:ext>
            </a:extLst>
          </p:cNvPr>
          <p:cNvSpPr>
            <a:spLocks/>
          </p:cNvSpPr>
          <p:nvPr>
            <p:custDataLst>
              <p:tags r:id="rId8"/>
            </p:custDataLst>
          </p:nvPr>
        </p:nvSpPr>
        <p:spPr bwMode="auto">
          <a:xfrm>
            <a:off x="7178827" y="4762405"/>
            <a:ext cx="175156" cy="340205"/>
          </a:xfrm>
          <a:custGeom>
            <a:avLst/>
            <a:gdLst>
              <a:gd name="T0" fmla="*/ 16338 w 192"/>
              <a:gd name="T1" fmla="*/ 1567 h 307"/>
              <a:gd name="T2" fmla="*/ 15908 w 192"/>
              <a:gd name="T3" fmla="*/ 0 h 307"/>
              <a:gd name="T4" fmla="*/ 24507 w 192"/>
              <a:gd name="T5" fmla="*/ 1567 h 307"/>
              <a:gd name="T6" fmla="*/ 47294 w 192"/>
              <a:gd name="T7" fmla="*/ 7312 h 307"/>
              <a:gd name="T8" fmla="*/ 66642 w 192"/>
              <a:gd name="T9" fmla="*/ 13057 h 307"/>
              <a:gd name="T10" fmla="*/ 77821 w 192"/>
              <a:gd name="T11" fmla="*/ 14624 h 307"/>
              <a:gd name="T12" fmla="*/ 82550 w 192"/>
              <a:gd name="T13" fmla="*/ 18279 h 307"/>
              <a:gd name="T14" fmla="*/ 80830 w 192"/>
              <a:gd name="T15" fmla="*/ 24547 h 307"/>
              <a:gd name="T16" fmla="*/ 75241 w 192"/>
              <a:gd name="T17" fmla="*/ 42826 h 307"/>
              <a:gd name="T18" fmla="*/ 67932 w 192"/>
              <a:gd name="T19" fmla="*/ 66328 h 307"/>
              <a:gd name="T20" fmla="*/ 63202 w 192"/>
              <a:gd name="T21" fmla="*/ 86175 h 307"/>
              <a:gd name="T22" fmla="*/ 62772 w 192"/>
              <a:gd name="T23" fmla="*/ 108110 h 307"/>
              <a:gd name="T24" fmla="*/ 61913 w 192"/>
              <a:gd name="T25" fmla="*/ 130045 h 307"/>
              <a:gd name="T26" fmla="*/ 57613 w 192"/>
              <a:gd name="T27" fmla="*/ 144669 h 307"/>
              <a:gd name="T28" fmla="*/ 45574 w 192"/>
              <a:gd name="T29" fmla="*/ 154592 h 307"/>
              <a:gd name="T30" fmla="*/ 35686 w 192"/>
              <a:gd name="T31" fmla="*/ 158248 h 307"/>
              <a:gd name="T32" fmla="*/ 30956 w 192"/>
              <a:gd name="T33" fmla="*/ 160337 h 307"/>
              <a:gd name="T34" fmla="*/ 22357 w 192"/>
              <a:gd name="T35" fmla="*/ 159292 h 307"/>
              <a:gd name="T36" fmla="*/ 13758 w 192"/>
              <a:gd name="T37" fmla="*/ 151981 h 307"/>
              <a:gd name="T38" fmla="*/ 12898 w 192"/>
              <a:gd name="T39" fmla="*/ 144669 h 307"/>
              <a:gd name="T40" fmla="*/ 9459 w 192"/>
              <a:gd name="T41" fmla="*/ 134223 h 307"/>
              <a:gd name="T42" fmla="*/ 4299 w 192"/>
              <a:gd name="T43" fmla="*/ 120644 h 307"/>
              <a:gd name="T44" fmla="*/ 860 w 192"/>
              <a:gd name="T45" fmla="*/ 110199 h 307"/>
              <a:gd name="T46" fmla="*/ 0 w 192"/>
              <a:gd name="T47" fmla="*/ 102887 h 307"/>
              <a:gd name="T48" fmla="*/ 0 w 192"/>
              <a:gd name="T49" fmla="*/ 94009 h 307"/>
              <a:gd name="T50" fmla="*/ 860 w 192"/>
              <a:gd name="T51" fmla="*/ 86175 h 307"/>
              <a:gd name="T52" fmla="*/ 4729 w 192"/>
              <a:gd name="T53" fmla="*/ 75729 h 307"/>
              <a:gd name="T54" fmla="*/ 14188 w 192"/>
              <a:gd name="T55" fmla="*/ 56927 h 307"/>
              <a:gd name="T56" fmla="*/ 20638 w 192"/>
              <a:gd name="T57" fmla="*/ 42304 h 307"/>
              <a:gd name="T58" fmla="*/ 22357 w 192"/>
              <a:gd name="T59" fmla="*/ 32381 h 307"/>
              <a:gd name="T60" fmla="*/ 22787 w 192"/>
              <a:gd name="T61" fmla="*/ 21413 h 307"/>
              <a:gd name="T62" fmla="*/ 23647 w 192"/>
              <a:gd name="T63" fmla="*/ 15668 h 307"/>
              <a:gd name="T64" fmla="*/ 24507 w 192"/>
              <a:gd name="T65" fmla="*/ 13579 h 307"/>
              <a:gd name="T66" fmla="*/ 25797 w 192"/>
              <a:gd name="T67" fmla="*/ 11490 h 307"/>
              <a:gd name="T68" fmla="*/ 18918 w 192"/>
              <a:gd name="T69" fmla="*/ 3656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562" name="Freeform 12">
            <a:extLst>
              <a:ext uri="{FF2B5EF4-FFF2-40B4-BE49-F238E27FC236}">
                <a16:creationId xmlns:a16="http://schemas.microsoft.com/office/drawing/2014/main" id="{03FA8661-D24A-42BE-BD2D-07F217CE3615}"/>
              </a:ext>
            </a:extLst>
          </p:cNvPr>
          <p:cNvSpPr>
            <a:spLocks/>
          </p:cNvSpPr>
          <p:nvPr>
            <p:custDataLst>
              <p:tags r:id="rId9"/>
            </p:custDataLst>
          </p:nvPr>
        </p:nvSpPr>
        <p:spPr bwMode="auto">
          <a:xfrm>
            <a:off x="7350615" y="3671051"/>
            <a:ext cx="363785" cy="572624"/>
          </a:xfrm>
          <a:custGeom>
            <a:avLst/>
            <a:gdLst>
              <a:gd name="T0" fmla="*/ 11200 w 398"/>
              <a:gd name="T1" fmla="*/ 1042 h 518"/>
              <a:gd name="T2" fmla="*/ 40924 w 398"/>
              <a:gd name="T3" fmla="*/ 6773 h 518"/>
              <a:gd name="T4" fmla="*/ 49970 w 398"/>
              <a:gd name="T5" fmla="*/ 11983 h 518"/>
              <a:gd name="T6" fmla="*/ 34462 w 398"/>
              <a:gd name="T7" fmla="*/ 24487 h 518"/>
              <a:gd name="T8" fmla="*/ 27570 w 398"/>
              <a:gd name="T9" fmla="*/ 32302 h 518"/>
              <a:gd name="T10" fmla="*/ 33170 w 398"/>
              <a:gd name="T11" fmla="*/ 35949 h 518"/>
              <a:gd name="T12" fmla="*/ 71940 w 398"/>
              <a:gd name="T13" fmla="*/ 41159 h 518"/>
              <a:gd name="T14" fmla="*/ 90464 w 398"/>
              <a:gd name="T15" fmla="*/ 56788 h 518"/>
              <a:gd name="T16" fmla="*/ 66340 w 398"/>
              <a:gd name="T17" fmla="*/ 66166 h 518"/>
              <a:gd name="T18" fmla="*/ 63324 w 398"/>
              <a:gd name="T19" fmla="*/ 71897 h 518"/>
              <a:gd name="T20" fmla="*/ 82279 w 398"/>
              <a:gd name="T21" fmla="*/ 74502 h 518"/>
              <a:gd name="T22" fmla="*/ 90894 w 398"/>
              <a:gd name="T23" fmla="*/ 81275 h 518"/>
              <a:gd name="T24" fmla="*/ 104679 w 398"/>
              <a:gd name="T25" fmla="*/ 99510 h 518"/>
              <a:gd name="T26" fmla="*/ 111141 w 398"/>
              <a:gd name="T27" fmla="*/ 110451 h 518"/>
              <a:gd name="T28" fmla="*/ 112003 w 398"/>
              <a:gd name="T29" fmla="*/ 123476 h 518"/>
              <a:gd name="T30" fmla="*/ 117172 w 398"/>
              <a:gd name="T31" fmla="*/ 132333 h 518"/>
              <a:gd name="T32" fmla="*/ 123203 w 398"/>
              <a:gd name="T33" fmla="*/ 145357 h 518"/>
              <a:gd name="T34" fmla="*/ 131818 w 398"/>
              <a:gd name="T35" fmla="*/ 154735 h 518"/>
              <a:gd name="T36" fmla="*/ 140865 w 398"/>
              <a:gd name="T37" fmla="*/ 166718 h 518"/>
              <a:gd name="T38" fmla="*/ 149049 w 398"/>
              <a:gd name="T39" fmla="*/ 175575 h 518"/>
              <a:gd name="T40" fmla="*/ 159388 w 398"/>
              <a:gd name="T41" fmla="*/ 177659 h 518"/>
              <a:gd name="T42" fmla="*/ 170588 w 398"/>
              <a:gd name="T43" fmla="*/ 190163 h 518"/>
              <a:gd name="T44" fmla="*/ 170158 w 398"/>
              <a:gd name="T45" fmla="*/ 205793 h 518"/>
              <a:gd name="T46" fmla="*/ 164558 w 398"/>
              <a:gd name="T47" fmla="*/ 210482 h 518"/>
              <a:gd name="T48" fmla="*/ 158096 w 398"/>
              <a:gd name="T49" fmla="*/ 216213 h 518"/>
              <a:gd name="T50" fmla="*/ 158527 w 398"/>
              <a:gd name="T51" fmla="*/ 221944 h 518"/>
              <a:gd name="T52" fmla="*/ 161973 w 398"/>
              <a:gd name="T53" fmla="*/ 230800 h 518"/>
              <a:gd name="T54" fmla="*/ 154650 w 398"/>
              <a:gd name="T55" fmla="*/ 241220 h 518"/>
              <a:gd name="T56" fmla="*/ 62894 w 398"/>
              <a:gd name="T57" fmla="*/ 260497 h 518"/>
              <a:gd name="T58" fmla="*/ 29293 w 398"/>
              <a:gd name="T59" fmla="*/ 264665 h 518"/>
              <a:gd name="T60" fmla="*/ 22831 w 398"/>
              <a:gd name="T61" fmla="*/ 269875 h 518"/>
              <a:gd name="T62" fmla="*/ 24985 w 398"/>
              <a:gd name="T63" fmla="*/ 256850 h 518"/>
              <a:gd name="T64" fmla="*/ 30585 w 398"/>
              <a:gd name="T65" fmla="*/ 247993 h 518"/>
              <a:gd name="T66" fmla="*/ 49109 w 398"/>
              <a:gd name="T67" fmla="*/ 238615 h 518"/>
              <a:gd name="T68" fmla="*/ 74094 w 398"/>
              <a:gd name="T69" fmla="*/ 228716 h 518"/>
              <a:gd name="T70" fmla="*/ 77109 w 398"/>
              <a:gd name="T71" fmla="*/ 221944 h 518"/>
              <a:gd name="T72" fmla="*/ 73663 w 398"/>
              <a:gd name="T73" fmla="*/ 226111 h 518"/>
              <a:gd name="T74" fmla="*/ 47816 w 398"/>
              <a:gd name="T75" fmla="*/ 225069 h 518"/>
              <a:gd name="T76" fmla="*/ 32739 w 398"/>
              <a:gd name="T77" fmla="*/ 218818 h 518"/>
              <a:gd name="T78" fmla="*/ 33170 w 398"/>
              <a:gd name="T79" fmla="*/ 209440 h 518"/>
              <a:gd name="T80" fmla="*/ 40924 w 398"/>
              <a:gd name="T81" fmla="*/ 203709 h 518"/>
              <a:gd name="T82" fmla="*/ 37478 w 398"/>
              <a:gd name="T83" fmla="*/ 183390 h 518"/>
              <a:gd name="T84" fmla="*/ 45232 w 398"/>
              <a:gd name="T85" fmla="*/ 171407 h 518"/>
              <a:gd name="T86" fmla="*/ 66340 w 398"/>
              <a:gd name="T87" fmla="*/ 160987 h 518"/>
              <a:gd name="T88" fmla="*/ 74094 w 398"/>
              <a:gd name="T89" fmla="*/ 151609 h 518"/>
              <a:gd name="T90" fmla="*/ 63755 w 398"/>
              <a:gd name="T91" fmla="*/ 141189 h 518"/>
              <a:gd name="T92" fmla="*/ 59878 w 398"/>
              <a:gd name="T93" fmla="*/ 128686 h 518"/>
              <a:gd name="T94" fmla="*/ 40493 w 398"/>
              <a:gd name="T95" fmla="*/ 124518 h 518"/>
              <a:gd name="T96" fmla="*/ 34462 w 398"/>
              <a:gd name="T97" fmla="*/ 112535 h 518"/>
              <a:gd name="T98" fmla="*/ 38770 w 398"/>
              <a:gd name="T99" fmla="*/ 100031 h 518"/>
              <a:gd name="T100" fmla="*/ 43078 w 398"/>
              <a:gd name="T101" fmla="*/ 87527 h 518"/>
              <a:gd name="T102" fmla="*/ 31447 w 398"/>
              <a:gd name="T103" fmla="*/ 96905 h 518"/>
              <a:gd name="T104" fmla="*/ 9477 w 398"/>
              <a:gd name="T105" fmla="*/ 84401 h 518"/>
              <a:gd name="T106" fmla="*/ 8616 w 398"/>
              <a:gd name="T107" fmla="*/ 73981 h 518"/>
              <a:gd name="T108" fmla="*/ 6031 w 398"/>
              <a:gd name="T109" fmla="*/ 68250 h 518"/>
              <a:gd name="T110" fmla="*/ 8616 w 398"/>
              <a:gd name="T111" fmla="*/ 32823 h 518"/>
              <a:gd name="T112" fmla="*/ 8185 w 398"/>
              <a:gd name="T113" fmla="*/ 25529 h 518"/>
              <a:gd name="T114" fmla="*/ 1723 w 398"/>
              <a:gd name="T115" fmla="*/ 20840 h 518"/>
              <a:gd name="T116" fmla="*/ 8616 w 398"/>
              <a:gd name="T117" fmla="*/ 9899 h 518"/>
              <a:gd name="T118" fmla="*/ 1292 w 398"/>
              <a:gd name="T119" fmla="*/ 4689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563" name="Freeform 13">
            <a:extLst>
              <a:ext uri="{FF2B5EF4-FFF2-40B4-BE49-F238E27FC236}">
                <a16:creationId xmlns:a16="http://schemas.microsoft.com/office/drawing/2014/main" id="{BA695C76-1480-49B4-BBEB-6742BD91B2C0}"/>
              </a:ext>
            </a:extLst>
          </p:cNvPr>
          <p:cNvSpPr>
            <a:spLocks/>
          </p:cNvSpPr>
          <p:nvPr>
            <p:custDataLst>
              <p:tags r:id="rId10"/>
            </p:custDataLst>
          </p:nvPr>
        </p:nvSpPr>
        <p:spPr bwMode="auto">
          <a:xfrm>
            <a:off x="8111868" y="4314410"/>
            <a:ext cx="360415" cy="161682"/>
          </a:xfrm>
          <a:custGeom>
            <a:avLst/>
            <a:gdLst>
              <a:gd name="T0" fmla="*/ 84486 w 382"/>
              <a:gd name="T1" fmla="*/ 10812 h 148"/>
              <a:gd name="T2" fmla="*/ 78706 w 382"/>
              <a:gd name="T3" fmla="*/ 15961 h 148"/>
              <a:gd name="T4" fmla="*/ 77372 w 382"/>
              <a:gd name="T5" fmla="*/ 23169 h 148"/>
              <a:gd name="T6" fmla="*/ 74704 w 382"/>
              <a:gd name="T7" fmla="*/ 27288 h 148"/>
              <a:gd name="T8" fmla="*/ 73814 w 382"/>
              <a:gd name="T9" fmla="*/ 31407 h 148"/>
              <a:gd name="T10" fmla="*/ 78706 w 382"/>
              <a:gd name="T11" fmla="*/ 38100 h 148"/>
              <a:gd name="T12" fmla="*/ 68923 w 382"/>
              <a:gd name="T13" fmla="*/ 44278 h 148"/>
              <a:gd name="T14" fmla="*/ 48024 w 382"/>
              <a:gd name="T15" fmla="*/ 49427 h 148"/>
              <a:gd name="T16" fmla="*/ 34239 w 382"/>
              <a:gd name="T17" fmla="*/ 49942 h 148"/>
              <a:gd name="T18" fmla="*/ 23123 w 382"/>
              <a:gd name="T19" fmla="*/ 48912 h 148"/>
              <a:gd name="T20" fmla="*/ 1779 w 382"/>
              <a:gd name="T21" fmla="*/ 57150 h 148"/>
              <a:gd name="T22" fmla="*/ 0 w 382"/>
              <a:gd name="T23" fmla="*/ 66418 h 148"/>
              <a:gd name="T24" fmla="*/ 1779 w 382"/>
              <a:gd name="T25" fmla="*/ 67447 h 148"/>
              <a:gd name="T26" fmla="*/ 5336 w 382"/>
              <a:gd name="T27" fmla="*/ 67447 h 148"/>
              <a:gd name="T28" fmla="*/ 22678 w 382"/>
              <a:gd name="T29" fmla="*/ 66418 h 148"/>
              <a:gd name="T30" fmla="*/ 50692 w 382"/>
              <a:gd name="T31" fmla="*/ 65388 h 148"/>
              <a:gd name="T32" fmla="*/ 54694 w 382"/>
              <a:gd name="T33" fmla="*/ 68992 h 148"/>
              <a:gd name="T34" fmla="*/ 60919 w 382"/>
              <a:gd name="T35" fmla="*/ 72596 h 148"/>
              <a:gd name="T36" fmla="*/ 70702 w 382"/>
              <a:gd name="T37" fmla="*/ 75685 h 148"/>
              <a:gd name="T38" fmla="*/ 82263 w 382"/>
              <a:gd name="T39" fmla="*/ 76200 h 148"/>
              <a:gd name="T40" fmla="*/ 93380 w 382"/>
              <a:gd name="T41" fmla="*/ 76200 h 148"/>
              <a:gd name="T42" fmla="*/ 103607 w 382"/>
              <a:gd name="T43" fmla="*/ 76200 h 148"/>
              <a:gd name="T44" fmla="*/ 113390 w 382"/>
              <a:gd name="T45" fmla="*/ 76200 h 148"/>
              <a:gd name="T46" fmla="*/ 122283 w 382"/>
              <a:gd name="T47" fmla="*/ 73626 h 148"/>
              <a:gd name="T48" fmla="*/ 133844 w 382"/>
              <a:gd name="T49" fmla="*/ 68992 h 148"/>
              <a:gd name="T50" fmla="*/ 148518 w 382"/>
              <a:gd name="T51" fmla="*/ 62299 h 148"/>
              <a:gd name="T52" fmla="*/ 156967 w 382"/>
              <a:gd name="T53" fmla="*/ 53031 h 148"/>
              <a:gd name="T54" fmla="*/ 165415 w 382"/>
              <a:gd name="T55" fmla="*/ 37070 h 148"/>
              <a:gd name="T56" fmla="*/ 167194 w 382"/>
              <a:gd name="T57" fmla="*/ 26773 h 148"/>
              <a:gd name="T58" fmla="*/ 161413 w 382"/>
              <a:gd name="T59" fmla="*/ 22654 h 148"/>
              <a:gd name="T60" fmla="*/ 158745 w 382"/>
              <a:gd name="T61" fmla="*/ 16476 h 148"/>
              <a:gd name="T62" fmla="*/ 154299 w 382"/>
              <a:gd name="T63" fmla="*/ 11327 h 148"/>
              <a:gd name="T64" fmla="*/ 148518 w 382"/>
              <a:gd name="T65" fmla="*/ 8753 h 148"/>
              <a:gd name="T66" fmla="*/ 141848 w 382"/>
              <a:gd name="T67" fmla="*/ 4119 h 148"/>
              <a:gd name="T68" fmla="*/ 90267 w 382"/>
              <a:gd name="T69" fmla="*/ 9268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564" name="Freeform 14">
            <a:extLst>
              <a:ext uri="{FF2B5EF4-FFF2-40B4-BE49-F238E27FC236}">
                <a16:creationId xmlns:a16="http://schemas.microsoft.com/office/drawing/2014/main" id="{447F68D9-EF78-4AA9-B786-ADC0220E1491}"/>
              </a:ext>
            </a:extLst>
          </p:cNvPr>
          <p:cNvSpPr>
            <a:spLocks/>
          </p:cNvSpPr>
          <p:nvPr>
            <p:custDataLst>
              <p:tags r:id="rId11"/>
            </p:custDataLst>
          </p:nvPr>
        </p:nvSpPr>
        <p:spPr bwMode="auto">
          <a:xfrm>
            <a:off x="11278141" y="3994415"/>
            <a:ext cx="2718278" cy="2202917"/>
          </a:xfrm>
          <a:custGeom>
            <a:avLst/>
            <a:gdLst>
              <a:gd name="T0" fmla="*/ 162757 w 2936"/>
              <a:gd name="T1" fmla="*/ 560736 h 1983"/>
              <a:gd name="T2" fmla="*/ 167993 w 2936"/>
              <a:gd name="T3" fmla="*/ 618851 h 1983"/>
              <a:gd name="T4" fmla="*/ 208573 w 2936"/>
              <a:gd name="T5" fmla="*/ 710998 h 1983"/>
              <a:gd name="T6" fmla="*/ 335114 w 2936"/>
              <a:gd name="T7" fmla="*/ 781156 h 1983"/>
              <a:gd name="T8" fmla="*/ 452055 w 2936"/>
              <a:gd name="T9" fmla="*/ 812569 h 1983"/>
              <a:gd name="T10" fmla="*/ 490453 w 2936"/>
              <a:gd name="T11" fmla="*/ 800527 h 1983"/>
              <a:gd name="T12" fmla="*/ 611321 w 2936"/>
              <a:gd name="T13" fmla="*/ 758119 h 1983"/>
              <a:gd name="T14" fmla="*/ 675027 w 2936"/>
              <a:gd name="T15" fmla="*/ 807334 h 1983"/>
              <a:gd name="T16" fmla="*/ 688118 w 2936"/>
              <a:gd name="T17" fmla="*/ 888486 h 1983"/>
              <a:gd name="T18" fmla="*/ 701208 w 2936"/>
              <a:gd name="T19" fmla="*/ 928277 h 1983"/>
              <a:gd name="T20" fmla="*/ 744406 w 2936"/>
              <a:gd name="T21" fmla="*/ 1001052 h 1983"/>
              <a:gd name="T22" fmla="*/ 803749 w 2936"/>
              <a:gd name="T23" fmla="*/ 973303 h 1983"/>
              <a:gd name="T24" fmla="*/ 904109 w 2936"/>
              <a:gd name="T25" fmla="*/ 970685 h 1983"/>
              <a:gd name="T26" fmla="*/ 988324 w 2936"/>
              <a:gd name="T27" fmla="*/ 1038225 h 1983"/>
              <a:gd name="T28" fmla="*/ 1028468 w 2936"/>
              <a:gd name="T29" fmla="*/ 1000005 h 1983"/>
              <a:gd name="T30" fmla="*/ 1072102 w 2936"/>
              <a:gd name="T31" fmla="*/ 976968 h 1983"/>
              <a:gd name="T32" fmla="*/ 1110937 w 2936"/>
              <a:gd name="T33" fmla="*/ 956026 h 1983"/>
              <a:gd name="T34" fmla="*/ 1170716 w 2936"/>
              <a:gd name="T35" fmla="*/ 906811 h 1983"/>
              <a:gd name="T36" fmla="*/ 1186425 w 2936"/>
              <a:gd name="T37" fmla="*/ 846077 h 1983"/>
              <a:gd name="T38" fmla="*/ 1219151 w 2936"/>
              <a:gd name="T39" fmla="*/ 743459 h 1983"/>
              <a:gd name="T40" fmla="*/ 1180316 w 2936"/>
              <a:gd name="T41" fmla="*/ 719899 h 1983"/>
              <a:gd name="T42" fmla="*/ 1151954 w 2936"/>
              <a:gd name="T43" fmla="*/ 666495 h 1983"/>
              <a:gd name="T44" fmla="*/ 1164608 w 2936"/>
              <a:gd name="T45" fmla="*/ 642412 h 1983"/>
              <a:gd name="T46" fmla="*/ 1104828 w 2936"/>
              <a:gd name="T47" fmla="*/ 555500 h 1983"/>
              <a:gd name="T48" fmla="*/ 1127082 w 2936"/>
              <a:gd name="T49" fmla="*/ 519898 h 1983"/>
              <a:gd name="T50" fmla="*/ 1070357 w 2936"/>
              <a:gd name="T51" fmla="*/ 503667 h 1983"/>
              <a:gd name="T52" fmla="*/ 1017995 w 2936"/>
              <a:gd name="T53" fmla="*/ 464400 h 1983"/>
              <a:gd name="T54" fmla="*/ 1033267 w 2936"/>
              <a:gd name="T55" fmla="*/ 437698 h 1983"/>
              <a:gd name="T56" fmla="*/ 1065993 w 2936"/>
              <a:gd name="T57" fmla="*/ 395813 h 1983"/>
              <a:gd name="T58" fmla="*/ 1089120 w 2936"/>
              <a:gd name="T59" fmla="*/ 408379 h 1983"/>
              <a:gd name="T60" fmla="*/ 1104828 w 2936"/>
              <a:gd name="T61" fmla="*/ 446599 h 1983"/>
              <a:gd name="T62" fmla="*/ 1173335 w 2936"/>
              <a:gd name="T63" fmla="*/ 399478 h 1983"/>
              <a:gd name="T64" fmla="*/ 1233987 w 2936"/>
              <a:gd name="T65" fmla="*/ 352358 h 1983"/>
              <a:gd name="T66" fmla="*/ 1259295 w 2936"/>
              <a:gd name="T67" fmla="*/ 295289 h 1983"/>
              <a:gd name="T68" fmla="*/ 1277621 w 2936"/>
              <a:gd name="T69" fmla="*/ 258640 h 1983"/>
              <a:gd name="T70" fmla="*/ 1262349 w 2936"/>
              <a:gd name="T71" fmla="*/ 160734 h 1983"/>
              <a:gd name="T72" fmla="*/ 1187734 w 2936"/>
              <a:gd name="T73" fmla="*/ 178535 h 1983"/>
              <a:gd name="T74" fmla="*/ 1073848 w 2936"/>
              <a:gd name="T75" fmla="*/ 107330 h 1983"/>
              <a:gd name="T76" fmla="*/ 1003596 w 2936"/>
              <a:gd name="T77" fmla="*/ 46597 h 1983"/>
              <a:gd name="T78" fmla="*/ 863965 w 2936"/>
              <a:gd name="T79" fmla="*/ 27749 h 1983"/>
              <a:gd name="T80" fmla="*/ 875747 w 2936"/>
              <a:gd name="T81" fmla="*/ 81152 h 1983"/>
              <a:gd name="T82" fmla="*/ 851747 w 2936"/>
              <a:gd name="T83" fmla="*/ 118849 h 1983"/>
              <a:gd name="T84" fmla="*/ 883601 w 2936"/>
              <a:gd name="T85" fmla="*/ 183247 h 1983"/>
              <a:gd name="T86" fmla="*/ 936399 w 2936"/>
              <a:gd name="T87" fmla="*/ 193718 h 1983"/>
              <a:gd name="T88" fmla="*/ 890582 w 2936"/>
              <a:gd name="T89" fmla="*/ 238221 h 1983"/>
              <a:gd name="T90" fmla="*/ 825130 w 2936"/>
              <a:gd name="T91" fmla="*/ 298431 h 1983"/>
              <a:gd name="T92" fmla="*/ 711244 w 2936"/>
              <a:gd name="T93" fmla="*/ 373300 h 1983"/>
              <a:gd name="T94" fmla="*/ 535833 w 2936"/>
              <a:gd name="T95" fmla="*/ 345028 h 1983"/>
              <a:gd name="T96" fmla="*/ 452055 w 2936"/>
              <a:gd name="T97" fmla="*/ 293195 h 1983"/>
              <a:gd name="T98" fmla="*/ 328132 w 2936"/>
              <a:gd name="T99" fmla="*/ 259164 h 1983"/>
              <a:gd name="T100" fmla="*/ 299333 w 2936"/>
              <a:gd name="T101" fmla="*/ 198430 h 1983"/>
              <a:gd name="T102" fmla="*/ 223409 w 2936"/>
              <a:gd name="T103" fmla="*/ 156545 h 1983"/>
              <a:gd name="T104" fmla="*/ 187629 w 2936"/>
              <a:gd name="T105" fmla="*/ 162828 h 1983"/>
              <a:gd name="T106" fmla="*/ 184574 w 2936"/>
              <a:gd name="T107" fmla="*/ 203142 h 1983"/>
              <a:gd name="T108" fmla="*/ 133086 w 2936"/>
              <a:gd name="T109" fmla="*/ 200001 h 1983"/>
              <a:gd name="T110" fmla="*/ 99051 w 2936"/>
              <a:gd name="T111" fmla="*/ 265446 h 1983"/>
              <a:gd name="T112" fmla="*/ 113450 w 2936"/>
              <a:gd name="T113" fmla="*/ 311520 h 1983"/>
              <a:gd name="T114" fmla="*/ 109959 w 2936"/>
              <a:gd name="T115" fmla="*/ 374871 h 1983"/>
              <a:gd name="T116" fmla="*/ 51489 w 2936"/>
              <a:gd name="T117" fmla="*/ 408903 h 1983"/>
              <a:gd name="T118" fmla="*/ 17454 w 2936"/>
              <a:gd name="T119" fmla="*/ 468065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565" name="Freeform 15">
            <a:extLst>
              <a:ext uri="{FF2B5EF4-FFF2-40B4-BE49-F238E27FC236}">
                <a16:creationId xmlns:a16="http://schemas.microsoft.com/office/drawing/2014/main" id="{6B0CD326-FB98-4B81-B27F-9985C7503072}"/>
              </a:ext>
            </a:extLst>
          </p:cNvPr>
          <p:cNvSpPr>
            <a:spLocks/>
          </p:cNvSpPr>
          <p:nvPr>
            <p:custDataLst>
              <p:tags r:id="rId12"/>
            </p:custDataLst>
          </p:nvPr>
        </p:nvSpPr>
        <p:spPr bwMode="auto">
          <a:xfrm>
            <a:off x="8502600" y="3020954"/>
            <a:ext cx="468203" cy="579361"/>
          </a:xfrm>
          <a:custGeom>
            <a:avLst/>
            <a:gdLst>
              <a:gd name="T0" fmla="*/ 151048 w 504"/>
              <a:gd name="T1" fmla="*/ 256896 h 524"/>
              <a:gd name="T2" fmla="*/ 112082 w 504"/>
              <a:gd name="T3" fmla="*/ 263149 h 524"/>
              <a:gd name="T4" fmla="*/ 102888 w 504"/>
              <a:gd name="T5" fmla="*/ 269402 h 524"/>
              <a:gd name="T6" fmla="*/ 91943 w 504"/>
              <a:gd name="T7" fmla="*/ 272008 h 524"/>
              <a:gd name="T8" fmla="*/ 67862 w 504"/>
              <a:gd name="T9" fmla="*/ 273050 h 524"/>
              <a:gd name="T10" fmla="*/ 46409 w 504"/>
              <a:gd name="T11" fmla="*/ 272008 h 524"/>
              <a:gd name="T12" fmla="*/ 41155 w 504"/>
              <a:gd name="T13" fmla="*/ 268881 h 524"/>
              <a:gd name="T14" fmla="*/ 31085 w 504"/>
              <a:gd name="T15" fmla="*/ 265234 h 524"/>
              <a:gd name="T16" fmla="*/ 15762 w 504"/>
              <a:gd name="T17" fmla="*/ 258460 h 524"/>
              <a:gd name="T18" fmla="*/ 9632 w 504"/>
              <a:gd name="T19" fmla="*/ 253249 h 524"/>
              <a:gd name="T20" fmla="*/ 8756 w 504"/>
              <a:gd name="T21" fmla="*/ 248559 h 524"/>
              <a:gd name="T22" fmla="*/ 11821 w 504"/>
              <a:gd name="T23" fmla="*/ 241264 h 524"/>
              <a:gd name="T24" fmla="*/ 14010 w 504"/>
              <a:gd name="T25" fmla="*/ 231884 h 524"/>
              <a:gd name="T26" fmla="*/ 12259 w 504"/>
              <a:gd name="T27" fmla="*/ 225110 h 524"/>
              <a:gd name="T28" fmla="*/ 4378 w 504"/>
              <a:gd name="T29" fmla="*/ 217294 h 524"/>
              <a:gd name="T30" fmla="*/ 438 w 504"/>
              <a:gd name="T31" fmla="*/ 212083 h 524"/>
              <a:gd name="T32" fmla="*/ 438 w 504"/>
              <a:gd name="T33" fmla="*/ 203745 h 524"/>
              <a:gd name="T34" fmla="*/ 7443 w 504"/>
              <a:gd name="T35" fmla="*/ 187592 h 524"/>
              <a:gd name="T36" fmla="*/ 21015 w 504"/>
              <a:gd name="T37" fmla="*/ 170917 h 524"/>
              <a:gd name="T38" fmla="*/ 37653 w 504"/>
              <a:gd name="T39" fmla="*/ 155805 h 524"/>
              <a:gd name="T40" fmla="*/ 54290 w 504"/>
              <a:gd name="T41" fmla="*/ 145383 h 524"/>
              <a:gd name="T42" fmla="*/ 70051 w 504"/>
              <a:gd name="T43" fmla="*/ 141736 h 524"/>
              <a:gd name="T44" fmla="*/ 67862 w 504"/>
              <a:gd name="T45" fmla="*/ 137567 h 524"/>
              <a:gd name="T46" fmla="*/ 62171 w 504"/>
              <a:gd name="T47" fmla="*/ 134962 h 524"/>
              <a:gd name="T48" fmla="*/ 58230 w 504"/>
              <a:gd name="T49" fmla="*/ 130793 h 524"/>
              <a:gd name="T50" fmla="*/ 55603 w 504"/>
              <a:gd name="T51" fmla="*/ 119329 h 524"/>
              <a:gd name="T52" fmla="*/ 54290 w 504"/>
              <a:gd name="T53" fmla="*/ 101612 h 524"/>
              <a:gd name="T54" fmla="*/ 50349 w 504"/>
              <a:gd name="T55" fmla="*/ 83895 h 524"/>
              <a:gd name="T56" fmla="*/ 43782 w 504"/>
              <a:gd name="T57" fmla="*/ 69826 h 524"/>
              <a:gd name="T58" fmla="*/ 29772 w 504"/>
              <a:gd name="T59" fmla="*/ 46898 h 524"/>
              <a:gd name="T60" fmla="*/ 37653 w 504"/>
              <a:gd name="T61" fmla="*/ 31265 h 524"/>
              <a:gd name="T62" fmla="*/ 46409 w 504"/>
              <a:gd name="T63" fmla="*/ 29181 h 524"/>
              <a:gd name="T64" fmla="*/ 56917 w 504"/>
              <a:gd name="T65" fmla="*/ 30223 h 524"/>
              <a:gd name="T66" fmla="*/ 60857 w 504"/>
              <a:gd name="T67" fmla="*/ 31786 h 524"/>
              <a:gd name="T68" fmla="*/ 70051 w 504"/>
              <a:gd name="T69" fmla="*/ 29181 h 524"/>
              <a:gd name="T70" fmla="*/ 71803 w 504"/>
              <a:gd name="T71" fmla="*/ 17196 h 524"/>
              <a:gd name="T72" fmla="*/ 74867 w 504"/>
              <a:gd name="T73" fmla="*/ 6774 h 524"/>
              <a:gd name="T74" fmla="*/ 81873 w 504"/>
              <a:gd name="T75" fmla="*/ 0 h 524"/>
              <a:gd name="T76" fmla="*/ 98510 w 504"/>
              <a:gd name="T77" fmla="*/ 0 h 524"/>
              <a:gd name="T78" fmla="*/ 111207 w 504"/>
              <a:gd name="T79" fmla="*/ 4169 h 524"/>
              <a:gd name="T80" fmla="*/ 122590 w 504"/>
              <a:gd name="T81" fmla="*/ 10943 h 524"/>
              <a:gd name="T82" fmla="*/ 122152 w 504"/>
              <a:gd name="T83" fmla="*/ 32307 h 524"/>
              <a:gd name="T84" fmla="*/ 127844 w 504"/>
              <a:gd name="T85" fmla="*/ 40124 h 524"/>
              <a:gd name="T86" fmla="*/ 139665 w 504"/>
              <a:gd name="T87" fmla="*/ 48982 h 524"/>
              <a:gd name="T88" fmla="*/ 155864 w 504"/>
              <a:gd name="T89" fmla="*/ 62009 h 524"/>
              <a:gd name="T90" fmla="*/ 151486 w 504"/>
              <a:gd name="T91" fmla="*/ 70347 h 524"/>
              <a:gd name="T92" fmla="*/ 148859 w 504"/>
              <a:gd name="T93" fmla="*/ 79726 h 524"/>
              <a:gd name="T94" fmla="*/ 150611 w 504"/>
              <a:gd name="T95" fmla="*/ 91711 h 524"/>
              <a:gd name="T96" fmla="*/ 158929 w 504"/>
              <a:gd name="T97" fmla="*/ 104218 h 524"/>
              <a:gd name="T98" fmla="*/ 165497 w 504"/>
              <a:gd name="T99" fmla="*/ 109428 h 524"/>
              <a:gd name="T100" fmla="*/ 168999 w 504"/>
              <a:gd name="T101" fmla="*/ 133398 h 524"/>
              <a:gd name="T102" fmla="*/ 176880 w 504"/>
              <a:gd name="T103" fmla="*/ 150594 h 524"/>
              <a:gd name="T104" fmla="*/ 189139 w 504"/>
              <a:gd name="T105" fmla="*/ 164143 h 524"/>
              <a:gd name="T106" fmla="*/ 202711 w 504"/>
              <a:gd name="T107" fmla="*/ 174564 h 524"/>
              <a:gd name="T108" fmla="*/ 204025 w 504"/>
              <a:gd name="T109" fmla="*/ 203224 h 524"/>
              <a:gd name="T110" fmla="*/ 173815 w 504"/>
              <a:gd name="T111" fmla="*/ 23813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566" name="Freeform 16">
            <a:extLst>
              <a:ext uri="{FF2B5EF4-FFF2-40B4-BE49-F238E27FC236}">
                <a16:creationId xmlns:a16="http://schemas.microsoft.com/office/drawing/2014/main" id="{C913CE5C-1797-4B4C-9319-9216FFFD995F}"/>
              </a:ext>
            </a:extLst>
          </p:cNvPr>
          <p:cNvSpPr>
            <a:spLocks/>
          </p:cNvSpPr>
          <p:nvPr>
            <p:custDataLst>
              <p:tags r:id="rId13"/>
            </p:custDataLst>
          </p:nvPr>
        </p:nvSpPr>
        <p:spPr bwMode="auto">
          <a:xfrm>
            <a:off x="7943449" y="3906837"/>
            <a:ext cx="387362" cy="505256"/>
          </a:xfrm>
          <a:custGeom>
            <a:avLst/>
            <a:gdLst>
              <a:gd name="T0" fmla="*/ 177560 w 438"/>
              <a:gd name="T1" fmla="*/ 100319 h 451"/>
              <a:gd name="T2" fmla="*/ 170058 w 438"/>
              <a:gd name="T3" fmla="*/ 67583 h 451"/>
              <a:gd name="T4" fmla="*/ 161305 w 438"/>
              <a:gd name="T5" fmla="*/ 44879 h 451"/>
              <a:gd name="T6" fmla="*/ 152969 w 438"/>
              <a:gd name="T7" fmla="*/ 32736 h 451"/>
              <a:gd name="T8" fmla="*/ 148384 w 438"/>
              <a:gd name="T9" fmla="*/ 30624 h 451"/>
              <a:gd name="T10" fmla="*/ 139631 w 438"/>
              <a:gd name="T11" fmla="*/ 23760 h 451"/>
              <a:gd name="T12" fmla="*/ 130878 w 438"/>
              <a:gd name="T13" fmla="*/ 20064 h 451"/>
              <a:gd name="T14" fmla="*/ 122125 w 438"/>
              <a:gd name="T15" fmla="*/ 20064 h 451"/>
              <a:gd name="T16" fmla="*/ 115039 w 438"/>
              <a:gd name="T17" fmla="*/ 22176 h 451"/>
              <a:gd name="T18" fmla="*/ 104619 w 438"/>
              <a:gd name="T19" fmla="*/ 30624 h 451"/>
              <a:gd name="T20" fmla="*/ 97950 w 438"/>
              <a:gd name="T21" fmla="*/ 35376 h 451"/>
              <a:gd name="T22" fmla="*/ 90447 w 438"/>
              <a:gd name="T23" fmla="*/ 34848 h 451"/>
              <a:gd name="T24" fmla="*/ 72525 w 438"/>
              <a:gd name="T25" fmla="*/ 19536 h 451"/>
              <a:gd name="T26" fmla="*/ 47099 w 438"/>
              <a:gd name="T27" fmla="*/ 0 h 451"/>
              <a:gd name="T28" fmla="*/ 39597 w 438"/>
              <a:gd name="T29" fmla="*/ 12144 h 451"/>
              <a:gd name="T30" fmla="*/ 38763 w 438"/>
              <a:gd name="T31" fmla="*/ 22704 h 451"/>
              <a:gd name="T32" fmla="*/ 40847 w 438"/>
              <a:gd name="T33" fmla="*/ 27456 h 451"/>
              <a:gd name="T34" fmla="*/ 49600 w 438"/>
              <a:gd name="T35" fmla="*/ 36432 h 451"/>
              <a:gd name="T36" fmla="*/ 41264 w 438"/>
              <a:gd name="T37" fmla="*/ 38544 h 451"/>
              <a:gd name="T38" fmla="*/ 27509 w 438"/>
              <a:gd name="T39" fmla="*/ 49103 h 451"/>
              <a:gd name="T40" fmla="*/ 24175 w 438"/>
              <a:gd name="T41" fmla="*/ 62831 h 451"/>
              <a:gd name="T42" fmla="*/ 18756 w 438"/>
              <a:gd name="T43" fmla="*/ 72863 h 451"/>
              <a:gd name="T44" fmla="*/ 14588 w 438"/>
              <a:gd name="T45" fmla="*/ 82367 h 451"/>
              <a:gd name="T46" fmla="*/ 13755 w 438"/>
              <a:gd name="T47" fmla="*/ 94511 h 451"/>
              <a:gd name="T48" fmla="*/ 2918 w 438"/>
              <a:gd name="T49" fmla="*/ 125662 h 451"/>
              <a:gd name="T50" fmla="*/ 6252 w 438"/>
              <a:gd name="T51" fmla="*/ 129886 h 451"/>
              <a:gd name="T52" fmla="*/ 10837 w 438"/>
              <a:gd name="T53" fmla="*/ 130414 h 451"/>
              <a:gd name="T54" fmla="*/ 13755 w 438"/>
              <a:gd name="T55" fmla="*/ 182686 h 451"/>
              <a:gd name="T56" fmla="*/ 38763 w 438"/>
              <a:gd name="T57" fmla="*/ 186382 h 451"/>
              <a:gd name="T58" fmla="*/ 43348 w 438"/>
              <a:gd name="T59" fmla="*/ 198525 h 451"/>
              <a:gd name="T60" fmla="*/ 37096 w 438"/>
              <a:gd name="T61" fmla="*/ 224397 h 451"/>
              <a:gd name="T62" fmla="*/ 45432 w 438"/>
              <a:gd name="T63" fmla="*/ 236013 h 451"/>
              <a:gd name="T64" fmla="*/ 63355 w 438"/>
              <a:gd name="T65" fmla="*/ 236013 h 451"/>
              <a:gd name="T66" fmla="*/ 85446 w 438"/>
              <a:gd name="T67" fmla="*/ 234429 h 451"/>
              <a:gd name="T68" fmla="*/ 115039 w 438"/>
              <a:gd name="T69" fmla="*/ 235485 h 451"/>
              <a:gd name="T70" fmla="*/ 142965 w 438"/>
              <a:gd name="T71" fmla="*/ 233373 h 451"/>
              <a:gd name="T72" fmla="*/ 155053 w 438"/>
              <a:gd name="T73" fmla="*/ 228093 h 451"/>
              <a:gd name="T74" fmla="*/ 149634 w 438"/>
              <a:gd name="T75" fmla="*/ 218061 h 451"/>
              <a:gd name="T76" fmla="*/ 153802 w 438"/>
              <a:gd name="T77" fmla="*/ 212781 h 451"/>
              <a:gd name="T78" fmla="*/ 155053 w 438"/>
              <a:gd name="T79" fmla="*/ 201693 h 451"/>
              <a:gd name="T80" fmla="*/ 158387 w 438"/>
              <a:gd name="T81" fmla="*/ 193774 h 451"/>
              <a:gd name="T82" fmla="*/ 142965 w 438"/>
              <a:gd name="T83" fmla="*/ 181630 h 451"/>
              <a:gd name="T84" fmla="*/ 135463 w 438"/>
              <a:gd name="T85" fmla="*/ 170542 h 451"/>
              <a:gd name="T86" fmla="*/ 129627 w 438"/>
              <a:gd name="T87" fmla="*/ 155230 h 451"/>
              <a:gd name="T88" fmla="*/ 122542 w 438"/>
              <a:gd name="T89" fmla="*/ 146254 h 451"/>
              <a:gd name="T90" fmla="*/ 130878 w 438"/>
              <a:gd name="T91" fmla="*/ 145198 h 451"/>
              <a:gd name="T92" fmla="*/ 144216 w 438"/>
              <a:gd name="T93" fmla="*/ 143086 h 451"/>
              <a:gd name="T94" fmla="*/ 153802 w 438"/>
              <a:gd name="T95" fmla="*/ 137278 h 451"/>
              <a:gd name="T96" fmla="*/ 169641 w 438"/>
              <a:gd name="T97" fmla="*/ 126718 h 451"/>
              <a:gd name="T98" fmla="*/ 182562 w 438"/>
              <a:gd name="T99" fmla="*/ 124078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567" name="Freeform 17">
            <a:extLst>
              <a:ext uri="{FF2B5EF4-FFF2-40B4-BE49-F238E27FC236}">
                <a16:creationId xmlns:a16="http://schemas.microsoft.com/office/drawing/2014/main" id="{B7955DF9-3B0C-4AB1-B087-F141EA84184B}"/>
              </a:ext>
            </a:extLst>
          </p:cNvPr>
          <p:cNvSpPr>
            <a:spLocks/>
          </p:cNvSpPr>
          <p:nvPr>
            <p:custDataLst>
              <p:tags r:id="rId14"/>
            </p:custDataLst>
          </p:nvPr>
        </p:nvSpPr>
        <p:spPr bwMode="auto">
          <a:xfrm>
            <a:off x="7997343" y="4452514"/>
            <a:ext cx="532203" cy="582728"/>
          </a:xfrm>
          <a:custGeom>
            <a:avLst/>
            <a:gdLst>
              <a:gd name="T0" fmla="*/ 141903 w 578"/>
              <a:gd name="T1" fmla="*/ 46122 h 524"/>
              <a:gd name="T2" fmla="*/ 135393 w 578"/>
              <a:gd name="T3" fmla="*/ 44550 h 524"/>
              <a:gd name="T4" fmla="*/ 130620 w 578"/>
              <a:gd name="T5" fmla="*/ 41405 h 524"/>
              <a:gd name="T6" fmla="*/ 119337 w 578"/>
              <a:gd name="T7" fmla="*/ 34592 h 524"/>
              <a:gd name="T8" fmla="*/ 108922 w 578"/>
              <a:gd name="T9" fmla="*/ 40881 h 524"/>
              <a:gd name="T10" fmla="*/ 106753 w 578"/>
              <a:gd name="T11" fmla="*/ 55032 h 524"/>
              <a:gd name="T12" fmla="*/ 109790 w 578"/>
              <a:gd name="T13" fmla="*/ 80190 h 524"/>
              <a:gd name="T14" fmla="*/ 117167 w 578"/>
              <a:gd name="T15" fmla="*/ 90148 h 524"/>
              <a:gd name="T16" fmla="*/ 124545 w 578"/>
              <a:gd name="T17" fmla="*/ 93293 h 524"/>
              <a:gd name="T18" fmla="*/ 129318 w 578"/>
              <a:gd name="T19" fmla="*/ 100106 h 524"/>
              <a:gd name="T20" fmla="*/ 152318 w 578"/>
              <a:gd name="T21" fmla="*/ 117926 h 524"/>
              <a:gd name="T22" fmla="*/ 194845 w 578"/>
              <a:gd name="T23" fmla="*/ 161952 h 524"/>
              <a:gd name="T24" fmla="*/ 206996 w 578"/>
              <a:gd name="T25" fmla="*/ 168765 h 524"/>
              <a:gd name="T26" fmla="*/ 218712 w 578"/>
              <a:gd name="T27" fmla="*/ 171910 h 524"/>
              <a:gd name="T28" fmla="*/ 232599 w 578"/>
              <a:gd name="T29" fmla="*/ 186585 h 524"/>
              <a:gd name="T30" fmla="*/ 250825 w 578"/>
              <a:gd name="T31" fmla="*/ 197068 h 524"/>
              <a:gd name="T32" fmla="*/ 245184 w 578"/>
              <a:gd name="T33" fmla="*/ 213315 h 524"/>
              <a:gd name="T34" fmla="*/ 228259 w 578"/>
              <a:gd name="T35" fmla="*/ 200737 h 524"/>
              <a:gd name="T36" fmla="*/ 220448 w 578"/>
              <a:gd name="T37" fmla="*/ 197068 h 524"/>
              <a:gd name="T38" fmla="*/ 216109 w 578"/>
              <a:gd name="T39" fmla="*/ 208074 h 524"/>
              <a:gd name="T40" fmla="*/ 219580 w 578"/>
              <a:gd name="T41" fmla="*/ 223274 h 524"/>
              <a:gd name="T42" fmla="*/ 223052 w 578"/>
              <a:gd name="T43" fmla="*/ 231659 h 524"/>
              <a:gd name="T44" fmla="*/ 216977 w 578"/>
              <a:gd name="T45" fmla="*/ 245286 h 524"/>
              <a:gd name="T46" fmla="*/ 209599 w 578"/>
              <a:gd name="T47" fmla="*/ 264679 h 524"/>
              <a:gd name="T48" fmla="*/ 201788 w 578"/>
              <a:gd name="T49" fmla="*/ 273589 h 524"/>
              <a:gd name="T50" fmla="*/ 189204 w 578"/>
              <a:gd name="T51" fmla="*/ 264679 h 524"/>
              <a:gd name="T52" fmla="*/ 197883 w 578"/>
              <a:gd name="T53" fmla="*/ 253672 h 524"/>
              <a:gd name="T54" fmla="*/ 201788 w 578"/>
              <a:gd name="T55" fmla="*/ 244762 h 524"/>
              <a:gd name="T56" fmla="*/ 200052 w 578"/>
              <a:gd name="T57" fmla="*/ 231135 h 524"/>
              <a:gd name="T58" fmla="*/ 185298 w 578"/>
              <a:gd name="T59" fmla="*/ 207026 h 524"/>
              <a:gd name="T60" fmla="*/ 167072 w 578"/>
              <a:gd name="T61" fmla="*/ 193399 h 524"/>
              <a:gd name="T62" fmla="*/ 154053 w 578"/>
              <a:gd name="T63" fmla="*/ 186585 h 524"/>
              <a:gd name="T64" fmla="*/ 137997 w 578"/>
              <a:gd name="T65" fmla="*/ 172958 h 524"/>
              <a:gd name="T66" fmla="*/ 116299 w 578"/>
              <a:gd name="T67" fmla="*/ 165097 h 524"/>
              <a:gd name="T68" fmla="*/ 94602 w 578"/>
              <a:gd name="T69" fmla="*/ 149373 h 524"/>
              <a:gd name="T70" fmla="*/ 70300 w 578"/>
              <a:gd name="T71" fmla="*/ 120023 h 524"/>
              <a:gd name="T72" fmla="*/ 54678 w 578"/>
              <a:gd name="T73" fmla="*/ 88052 h 524"/>
              <a:gd name="T74" fmla="*/ 33414 w 578"/>
              <a:gd name="T75" fmla="*/ 80714 h 524"/>
              <a:gd name="T76" fmla="*/ 22132 w 578"/>
              <a:gd name="T77" fmla="*/ 82286 h 524"/>
              <a:gd name="T78" fmla="*/ 6509 w 578"/>
              <a:gd name="T79" fmla="*/ 86479 h 524"/>
              <a:gd name="T80" fmla="*/ 1302 w 578"/>
              <a:gd name="T81" fmla="*/ 69707 h 524"/>
              <a:gd name="T82" fmla="*/ 434 w 578"/>
              <a:gd name="T83" fmla="*/ 48743 h 524"/>
              <a:gd name="T84" fmla="*/ 2604 w 578"/>
              <a:gd name="T85" fmla="*/ 25682 h 524"/>
              <a:gd name="T86" fmla="*/ 19528 w 578"/>
              <a:gd name="T87" fmla="*/ 21489 h 524"/>
              <a:gd name="T88" fmla="*/ 29509 w 578"/>
              <a:gd name="T89" fmla="*/ 17296 h 524"/>
              <a:gd name="T90" fmla="*/ 36018 w 578"/>
              <a:gd name="T91" fmla="*/ 25158 h 524"/>
              <a:gd name="T92" fmla="*/ 45131 w 578"/>
              <a:gd name="T93" fmla="*/ 23061 h 524"/>
              <a:gd name="T94" fmla="*/ 64659 w 578"/>
              <a:gd name="T95" fmla="*/ 8386 h 524"/>
              <a:gd name="T96" fmla="*/ 103715 w 578"/>
              <a:gd name="T97" fmla="*/ 0 h 524"/>
              <a:gd name="T98" fmla="*/ 111526 w 578"/>
              <a:gd name="T99" fmla="*/ 6814 h 524"/>
              <a:gd name="T100" fmla="*/ 144072 w 578"/>
              <a:gd name="T101" fmla="*/ 9958 h 524"/>
              <a:gd name="T102" fmla="*/ 139733 w 578"/>
              <a:gd name="T103" fmla="*/ 34068 h 524"/>
              <a:gd name="T104" fmla="*/ 141035 w 578"/>
              <a:gd name="T105" fmla="*/ 4717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568" name="Freeform 18">
            <a:extLst>
              <a:ext uri="{FF2B5EF4-FFF2-40B4-BE49-F238E27FC236}">
                <a16:creationId xmlns:a16="http://schemas.microsoft.com/office/drawing/2014/main" id="{0DDB0C49-EFE5-40F6-991C-3B83155A28CF}"/>
              </a:ext>
            </a:extLst>
          </p:cNvPr>
          <p:cNvSpPr>
            <a:spLocks/>
          </p:cNvSpPr>
          <p:nvPr>
            <p:custDataLst>
              <p:tags r:id="rId15"/>
            </p:custDataLst>
          </p:nvPr>
        </p:nvSpPr>
        <p:spPr bwMode="auto">
          <a:xfrm>
            <a:off x="8034394" y="4809562"/>
            <a:ext cx="70737" cy="175156"/>
          </a:xfrm>
          <a:custGeom>
            <a:avLst/>
            <a:gdLst>
              <a:gd name="T0" fmla="*/ 0 w 79"/>
              <a:gd name="T1" fmla="*/ 19090 h 160"/>
              <a:gd name="T2" fmla="*/ 2532 w 79"/>
              <a:gd name="T3" fmla="*/ 19090 h 160"/>
              <a:gd name="T4" fmla="*/ 4642 w 79"/>
              <a:gd name="T5" fmla="*/ 18574 h 160"/>
              <a:gd name="T6" fmla="*/ 6752 w 79"/>
              <a:gd name="T7" fmla="*/ 18058 h 160"/>
              <a:gd name="T8" fmla="*/ 8018 w 79"/>
              <a:gd name="T9" fmla="*/ 17026 h 160"/>
              <a:gd name="T10" fmla="*/ 10972 w 79"/>
              <a:gd name="T11" fmla="*/ 14446 h 160"/>
              <a:gd name="T12" fmla="*/ 13082 w 79"/>
              <a:gd name="T13" fmla="*/ 11351 h 160"/>
              <a:gd name="T14" fmla="*/ 15614 w 79"/>
              <a:gd name="T15" fmla="*/ 8255 h 160"/>
              <a:gd name="T16" fmla="*/ 17302 w 79"/>
              <a:gd name="T17" fmla="*/ 5159 h 160"/>
              <a:gd name="T18" fmla="*/ 19412 w 79"/>
              <a:gd name="T19" fmla="*/ 2580 h 160"/>
              <a:gd name="T20" fmla="*/ 22366 w 79"/>
              <a:gd name="T21" fmla="*/ 0 h 160"/>
              <a:gd name="T22" fmla="*/ 24054 w 79"/>
              <a:gd name="T23" fmla="*/ 1548 h 160"/>
              <a:gd name="T24" fmla="*/ 26164 w 79"/>
              <a:gd name="T25" fmla="*/ 3612 h 160"/>
              <a:gd name="T26" fmla="*/ 27008 w 79"/>
              <a:gd name="T27" fmla="*/ 5159 h 160"/>
              <a:gd name="T28" fmla="*/ 27852 w 79"/>
              <a:gd name="T29" fmla="*/ 7223 h 160"/>
              <a:gd name="T30" fmla="*/ 29118 w 79"/>
              <a:gd name="T31" fmla="*/ 11351 h 160"/>
              <a:gd name="T32" fmla="*/ 30384 w 79"/>
              <a:gd name="T33" fmla="*/ 16510 h 160"/>
              <a:gd name="T34" fmla="*/ 30806 w 79"/>
              <a:gd name="T35" fmla="*/ 20638 h 160"/>
              <a:gd name="T36" fmla="*/ 31228 w 79"/>
              <a:gd name="T37" fmla="*/ 25281 h 160"/>
              <a:gd name="T38" fmla="*/ 32072 w 79"/>
              <a:gd name="T39" fmla="*/ 29924 h 160"/>
              <a:gd name="T40" fmla="*/ 33338 w 79"/>
              <a:gd name="T41" fmla="*/ 34568 h 160"/>
              <a:gd name="T42" fmla="*/ 33338 w 79"/>
              <a:gd name="T43" fmla="*/ 50562 h 160"/>
              <a:gd name="T44" fmla="*/ 28696 w 79"/>
              <a:gd name="T45" fmla="*/ 59333 h 160"/>
              <a:gd name="T46" fmla="*/ 24898 w 79"/>
              <a:gd name="T47" fmla="*/ 66556 h 160"/>
              <a:gd name="T48" fmla="*/ 22366 w 79"/>
              <a:gd name="T49" fmla="*/ 70168 h 160"/>
              <a:gd name="T50" fmla="*/ 21100 w 79"/>
              <a:gd name="T51" fmla="*/ 74295 h 160"/>
              <a:gd name="T52" fmla="*/ 20256 w 79"/>
              <a:gd name="T53" fmla="*/ 77907 h 160"/>
              <a:gd name="T54" fmla="*/ 19412 w 79"/>
              <a:gd name="T55" fmla="*/ 82550 h 160"/>
              <a:gd name="T56" fmla="*/ 16880 w 79"/>
              <a:gd name="T57" fmla="*/ 79970 h 160"/>
              <a:gd name="T58" fmla="*/ 13926 w 79"/>
              <a:gd name="T59" fmla="*/ 77391 h 160"/>
              <a:gd name="T60" fmla="*/ 11816 w 79"/>
              <a:gd name="T61" fmla="*/ 74295 h 160"/>
              <a:gd name="T62" fmla="*/ 9284 w 79"/>
              <a:gd name="T63" fmla="*/ 70683 h 160"/>
              <a:gd name="T64" fmla="*/ 7596 w 79"/>
              <a:gd name="T65" fmla="*/ 67072 h 160"/>
              <a:gd name="T66" fmla="*/ 6330 w 79"/>
              <a:gd name="T67" fmla="*/ 63460 h 160"/>
              <a:gd name="T68" fmla="*/ 4642 w 79"/>
              <a:gd name="T69" fmla="*/ 59333 h 160"/>
              <a:gd name="T70" fmla="*/ 3376 w 79"/>
              <a:gd name="T71" fmla="*/ 55721 h 160"/>
              <a:gd name="T72" fmla="*/ 1688 w 79"/>
              <a:gd name="T73" fmla="*/ 46950 h 160"/>
              <a:gd name="T74" fmla="*/ 422 w 79"/>
              <a:gd name="T75" fmla="*/ 37663 h 160"/>
              <a:gd name="T76" fmla="*/ 0 w 79"/>
              <a:gd name="T77" fmla="*/ 28377 h 160"/>
              <a:gd name="T78" fmla="*/ 0 w 79"/>
              <a:gd name="T79" fmla="*/ 1909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grpSp>
        <p:nvGrpSpPr>
          <p:cNvPr id="569" name="Group 19">
            <a:extLst>
              <a:ext uri="{FF2B5EF4-FFF2-40B4-BE49-F238E27FC236}">
                <a16:creationId xmlns:a16="http://schemas.microsoft.com/office/drawing/2014/main" id="{DB7A3B41-C016-4B1D-BC13-0B778A70B862}"/>
              </a:ext>
            </a:extLst>
          </p:cNvPr>
          <p:cNvGrpSpPr>
            <a:grpSpLocks/>
          </p:cNvGrpSpPr>
          <p:nvPr>
            <p:custDataLst>
              <p:tags r:id="rId16"/>
            </p:custDataLst>
          </p:nvPr>
        </p:nvGrpSpPr>
        <p:grpSpPr bwMode="auto">
          <a:xfrm>
            <a:off x="12955592" y="7059636"/>
            <a:ext cx="1003776" cy="451362"/>
            <a:chOff x="4488" y="2394"/>
            <a:chExt cx="358" cy="124"/>
          </a:xfrm>
          <a:solidFill>
            <a:schemeClr val="bg2">
              <a:lumMod val="50000"/>
              <a:alpha val="18000"/>
            </a:schemeClr>
          </a:solidFill>
        </p:grpSpPr>
        <p:sp>
          <p:nvSpPr>
            <p:cNvPr id="570" name="Freeform 20">
              <a:extLst>
                <a:ext uri="{FF2B5EF4-FFF2-40B4-BE49-F238E27FC236}">
                  <a16:creationId xmlns:a16="http://schemas.microsoft.com/office/drawing/2014/main" id="{D3BF10F6-8235-4AC1-9B03-7844E1F38DC5}"/>
                </a:ext>
              </a:extLst>
            </p:cNvPr>
            <p:cNvSpPr>
              <a:spLocks/>
            </p:cNvSpPr>
            <p:nvPr/>
          </p:nvSpPr>
          <p:spPr bwMode="auto">
            <a:xfrm>
              <a:off x="4675" y="2394"/>
              <a:ext cx="171" cy="124"/>
            </a:xfrm>
            <a:custGeom>
              <a:avLst/>
              <a:gdLst>
                <a:gd name="T0" fmla="*/ 142 w 512"/>
                <a:gd name="T1" fmla="*/ 60 h 408"/>
                <a:gd name="T2" fmla="*/ 129 w 512"/>
                <a:gd name="T3" fmla="*/ 59 h 408"/>
                <a:gd name="T4" fmla="*/ 123 w 512"/>
                <a:gd name="T5" fmla="*/ 62 h 408"/>
                <a:gd name="T6" fmla="*/ 118 w 512"/>
                <a:gd name="T7" fmla="*/ 66 h 408"/>
                <a:gd name="T8" fmla="*/ 116 w 512"/>
                <a:gd name="T9" fmla="*/ 77 h 408"/>
                <a:gd name="T10" fmla="*/ 109 w 512"/>
                <a:gd name="T11" fmla="*/ 93 h 408"/>
                <a:gd name="T12" fmla="*/ 102 w 512"/>
                <a:gd name="T13" fmla="*/ 102 h 408"/>
                <a:gd name="T14" fmla="*/ 97 w 512"/>
                <a:gd name="T15" fmla="*/ 106 h 408"/>
                <a:gd name="T16" fmla="*/ 91 w 512"/>
                <a:gd name="T17" fmla="*/ 109 h 408"/>
                <a:gd name="T18" fmla="*/ 86 w 512"/>
                <a:gd name="T19" fmla="*/ 112 h 408"/>
                <a:gd name="T20" fmla="*/ 84 w 512"/>
                <a:gd name="T21" fmla="*/ 114 h 408"/>
                <a:gd name="T22" fmla="*/ 72 w 512"/>
                <a:gd name="T23" fmla="*/ 112 h 408"/>
                <a:gd name="T24" fmla="*/ 61 w 512"/>
                <a:gd name="T25" fmla="*/ 112 h 408"/>
                <a:gd name="T26" fmla="*/ 52 w 512"/>
                <a:gd name="T27" fmla="*/ 113 h 408"/>
                <a:gd name="T28" fmla="*/ 46 w 512"/>
                <a:gd name="T29" fmla="*/ 118 h 408"/>
                <a:gd name="T30" fmla="*/ 32 w 512"/>
                <a:gd name="T31" fmla="*/ 123 h 408"/>
                <a:gd name="T32" fmla="*/ 21 w 512"/>
                <a:gd name="T33" fmla="*/ 124 h 408"/>
                <a:gd name="T34" fmla="*/ 15 w 512"/>
                <a:gd name="T35" fmla="*/ 122 h 408"/>
                <a:gd name="T36" fmla="*/ 5 w 512"/>
                <a:gd name="T37" fmla="*/ 112 h 408"/>
                <a:gd name="T38" fmla="*/ 1 w 512"/>
                <a:gd name="T39" fmla="*/ 105 h 408"/>
                <a:gd name="T40" fmla="*/ 3 w 512"/>
                <a:gd name="T41" fmla="*/ 102 h 408"/>
                <a:gd name="T42" fmla="*/ 11 w 512"/>
                <a:gd name="T43" fmla="*/ 105 h 408"/>
                <a:gd name="T44" fmla="*/ 18 w 512"/>
                <a:gd name="T45" fmla="*/ 102 h 408"/>
                <a:gd name="T46" fmla="*/ 19 w 512"/>
                <a:gd name="T47" fmla="*/ 95 h 408"/>
                <a:gd name="T48" fmla="*/ 24 w 512"/>
                <a:gd name="T49" fmla="*/ 91 h 408"/>
                <a:gd name="T50" fmla="*/ 27 w 512"/>
                <a:gd name="T51" fmla="*/ 87 h 408"/>
                <a:gd name="T52" fmla="*/ 30 w 512"/>
                <a:gd name="T53" fmla="*/ 83 h 408"/>
                <a:gd name="T54" fmla="*/ 34 w 512"/>
                <a:gd name="T55" fmla="*/ 80 h 408"/>
                <a:gd name="T56" fmla="*/ 46 w 512"/>
                <a:gd name="T57" fmla="*/ 75 h 408"/>
                <a:gd name="T58" fmla="*/ 58 w 512"/>
                <a:gd name="T59" fmla="*/ 71 h 408"/>
                <a:gd name="T60" fmla="*/ 67 w 512"/>
                <a:gd name="T61" fmla="*/ 66 h 408"/>
                <a:gd name="T62" fmla="*/ 71 w 512"/>
                <a:gd name="T63" fmla="*/ 62 h 408"/>
                <a:gd name="T64" fmla="*/ 73 w 512"/>
                <a:gd name="T65" fmla="*/ 58 h 408"/>
                <a:gd name="T66" fmla="*/ 76 w 512"/>
                <a:gd name="T67" fmla="*/ 49 h 408"/>
                <a:gd name="T68" fmla="*/ 76 w 512"/>
                <a:gd name="T69" fmla="*/ 45 h 408"/>
                <a:gd name="T70" fmla="*/ 77 w 512"/>
                <a:gd name="T71" fmla="*/ 46 h 408"/>
                <a:gd name="T72" fmla="*/ 80 w 512"/>
                <a:gd name="T73" fmla="*/ 43 h 408"/>
                <a:gd name="T74" fmla="*/ 79 w 512"/>
                <a:gd name="T75" fmla="*/ 47 h 408"/>
                <a:gd name="T76" fmla="*/ 80 w 512"/>
                <a:gd name="T77" fmla="*/ 53 h 408"/>
                <a:gd name="T78" fmla="*/ 84 w 512"/>
                <a:gd name="T79" fmla="*/ 59 h 408"/>
                <a:gd name="T80" fmla="*/ 91 w 512"/>
                <a:gd name="T81" fmla="*/ 62 h 408"/>
                <a:gd name="T82" fmla="*/ 102 w 512"/>
                <a:gd name="T83" fmla="*/ 62 h 408"/>
                <a:gd name="T84" fmla="*/ 107 w 512"/>
                <a:gd name="T85" fmla="*/ 62 h 408"/>
                <a:gd name="T86" fmla="*/ 109 w 512"/>
                <a:gd name="T87" fmla="*/ 60 h 408"/>
                <a:gd name="T88" fmla="*/ 108 w 512"/>
                <a:gd name="T89" fmla="*/ 53 h 408"/>
                <a:gd name="T90" fmla="*/ 100 w 512"/>
                <a:gd name="T91" fmla="*/ 40 h 408"/>
                <a:gd name="T92" fmla="*/ 107 w 512"/>
                <a:gd name="T93" fmla="*/ 33 h 408"/>
                <a:gd name="T94" fmla="*/ 115 w 512"/>
                <a:gd name="T95" fmla="*/ 20 h 408"/>
                <a:gd name="T96" fmla="*/ 125 w 512"/>
                <a:gd name="T97" fmla="*/ 7 h 408"/>
                <a:gd name="T98" fmla="*/ 133 w 512"/>
                <a:gd name="T99" fmla="*/ 0 h 408"/>
                <a:gd name="T100" fmla="*/ 134 w 512"/>
                <a:gd name="T101" fmla="*/ 7 h 408"/>
                <a:gd name="T102" fmla="*/ 138 w 512"/>
                <a:gd name="T103" fmla="*/ 15 h 408"/>
                <a:gd name="T104" fmla="*/ 147 w 512"/>
                <a:gd name="T105" fmla="*/ 23 h 408"/>
                <a:gd name="T106" fmla="*/ 162 w 512"/>
                <a:gd name="T107" fmla="*/ 32 h 408"/>
                <a:gd name="T108" fmla="*/ 170 w 512"/>
                <a:gd name="T109" fmla="*/ 40 h 408"/>
                <a:gd name="T110" fmla="*/ 167 w 512"/>
                <a:gd name="T111" fmla="*/ 45 h 408"/>
                <a:gd name="T112" fmla="*/ 160 w 512"/>
                <a:gd name="T113" fmla="*/ 46 h 408"/>
                <a:gd name="T114" fmla="*/ 153 w 512"/>
                <a:gd name="T115" fmla="*/ 55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571" name="Freeform 21">
              <a:extLst>
                <a:ext uri="{FF2B5EF4-FFF2-40B4-BE49-F238E27FC236}">
                  <a16:creationId xmlns:a16="http://schemas.microsoft.com/office/drawing/2014/main" id="{59FF7BDF-14B1-4A4F-917F-C4A5BDFC0D9C}"/>
                </a:ext>
              </a:extLst>
            </p:cNvPr>
            <p:cNvSpPr>
              <a:spLocks/>
            </p:cNvSpPr>
            <p:nvPr/>
          </p:nvSpPr>
          <p:spPr bwMode="auto">
            <a:xfrm>
              <a:off x="4488" y="2420"/>
              <a:ext cx="77" cy="89"/>
            </a:xfrm>
            <a:custGeom>
              <a:avLst/>
              <a:gdLst>
                <a:gd name="T0" fmla="*/ 50 w 232"/>
                <a:gd name="T1" fmla="*/ 7 h 289"/>
                <a:gd name="T2" fmla="*/ 55 w 232"/>
                <a:gd name="T3" fmla="*/ 15 h 289"/>
                <a:gd name="T4" fmla="*/ 58 w 232"/>
                <a:gd name="T5" fmla="*/ 17 h 289"/>
                <a:gd name="T6" fmla="*/ 60 w 232"/>
                <a:gd name="T7" fmla="*/ 18 h 289"/>
                <a:gd name="T8" fmla="*/ 62 w 232"/>
                <a:gd name="T9" fmla="*/ 51 h 289"/>
                <a:gd name="T10" fmla="*/ 63 w 232"/>
                <a:gd name="T11" fmla="*/ 60 h 289"/>
                <a:gd name="T12" fmla="*/ 64 w 232"/>
                <a:gd name="T13" fmla="*/ 64 h 289"/>
                <a:gd name="T14" fmla="*/ 66 w 232"/>
                <a:gd name="T15" fmla="*/ 67 h 289"/>
                <a:gd name="T16" fmla="*/ 77 w 232"/>
                <a:gd name="T17" fmla="*/ 76 h 289"/>
                <a:gd name="T18" fmla="*/ 73 w 232"/>
                <a:gd name="T19" fmla="*/ 89 h 289"/>
                <a:gd name="T20" fmla="*/ 62 w 232"/>
                <a:gd name="T21" fmla="*/ 87 h 289"/>
                <a:gd name="T22" fmla="*/ 50 w 232"/>
                <a:gd name="T23" fmla="*/ 81 h 289"/>
                <a:gd name="T24" fmla="*/ 38 w 232"/>
                <a:gd name="T25" fmla="*/ 72 h 289"/>
                <a:gd name="T26" fmla="*/ 27 w 232"/>
                <a:gd name="T27" fmla="*/ 64 h 289"/>
                <a:gd name="T28" fmla="*/ 19 w 232"/>
                <a:gd name="T29" fmla="*/ 54 h 289"/>
                <a:gd name="T30" fmla="*/ 10 w 232"/>
                <a:gd name="T31" fmla="*/ 45 h 289"/>
                <a:gd name="T32" fmla="*/ 3 w 232"/>
                <a:gd name="T33" fmla="*/ 39 h 289"/>
                <a:gd name="T34" fmla="*/ 1 w 232"/>
                <a:gd name="T35" fmla="*/ 36 h 289"/>
                <a:gd name="T36" fmla="*/ 0 w 232"/>
                <a:gd name="T37" fmla="*/ 34 h 289"/>
                <a:gd name="T38" fmla="*/ 0 w 232"/>
                <a:gd name="T39" fmla="*/ 31 h 289"/>
                <a:gd name="T40" fmla="*/ 1 w 232"/>
                <a:gd name="T41" fmla="*/ 28 h 289"/>
                <a:gd name="T42" fmla="*/ 4 w 232"/>
                <a:gd name="T43" fmla="*/ 24 h 289"/>
                <a:gd name="T44" fmla="*/ 4 w 232"/>
                <a:gd name="T45" fmla="*/ 16 h 289"/>
                <a:gd name="T46" fmla="*/ 2 w 232"/>
                <a:gd name="T47" fmla="*/ 5 h 289"/>
                <a:gd name="T48" fmla="*/ 4 w 232"/>
                <a:gd name="T49" fmla="*/ 0 h 289"/>
                <a:gd name="T50" fmla="*/ 9 w 232"/>
                <a:gd name="T51" fmla="*/ 1 h 289"/>
                <a:gd name="T52" fmla="*/ 14 w 232"/>
                <a:gd name="T53" fmla="*/ 3 h 289"/>
                <a:gd name="T54" fmla="*/ 20 w 232"/>
                <a:gd name="T55" fmla="*/ 6 h 289"/>
                <a:gd name="T56" fmla="*/ 24 w 232"/>
                <a:gd name="T57" fmla="*/ 9 h 289"/>
                <a:gd name="T58" fmla="*/ 27 w 232"/>
                <a:gd name="T59" fmla="*/ 10 h 289"/>
                <a:gd name="T60" fmla="*/ 30 w 232"/>
                <a:gd name="T61" fmla="*/ 10 h 289"/>
                <a:gd name="T62" fmla="*/ 35 w 232"/>
                <a:gd name="T63" fmla="*/ 8 h 289"/>
                <a:gd name="T64" fmla="*/ 40 w 232"/>
                <a:gd name="T65" fmla="*/ 6 h 289"/>
                <a:gd name="T66" fmla="*/ 44 w 232"/>
                <a:gd name="T67" fmla="*/ 3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grpSp>
      <p:sp>
        <p:nvSpPr>
          <p:cNvPr id="572" name="Freeform 22">
            <a:extLst>
              <a:ext uri="{FF2B5EF4-FFF2-40B4-BE49-F238E27FC236}">
                <a16:creationId xmlns:a16="http://schemas.microsoft.com/office/drawing/2014/main" id="{267F9F47-1BB0-47C1-868B-5B985A003C6A}"/>
              </a:ext>
            </a:extLst>
          </p:cNvPr>
          <p:cNvSpPr>
            <a:spLocks/>
          </p:cNvSpPr>
          <p:nvPr>
            <p:custDataLst>
              <p:tags r:id="rId17"/>
            </p:custDataLst>
          </p:nvPr>
        </p:nvSpPr>
        <p:spPr bwMode="auto">
          <a:xfrm>
            <a:off x="8758596" y="2552750"/>
            <a:ext cx="6504332" cy="2280389"/>
          </a:xfrm>
          <a:custGeom>
            <a:avLst/>
            <a:gdLst>
              <a:gd name="T0" fmla="*/ 315287 w 7049"/>
              <a:gd name="T1" fmla="*/ 909433 h 2048"/>
              <a:gd name="T2" fmla="*/ 465321 w 7049"/>
              <a:gd name="T3" fmla="*/ 1016487 h 2048"/>
              <a:gd name="T4" fmla="*/ 527073 w 7049"/>
              <a:gd name="T5" fmla="*/ 951940 h 2048"/>
              <a:gd name="T6" fmla="*/ 727987 w 7049"/>
              <a:gd name="T7" fmla="*/ 770893 h 2048"/>
              <a:gd name="T8" fmla="*/ 1138513 w 7049"/>
              <a:gd name="T9" fmla="*/ 690078 h 2048"/>
              <a:gd name="T10" fmla="*/ 1456845 w 7049"/>
              <a:gd name="T11" fmla="*/ 784012 h 2048"/>
              <a:gd name="T12" fmla="*/ 1598615 w 7049"/>
              <a:gd name="T13" fmla="*/ 754625 h 2048"/>
              <a:gd name="T14" fmla="*/ 1798660 w 7049"/>
              <a:gd name="T15" fmla="*/ 782963 h 2048"/>
              <a:gd name="T16" fmla="*/ 1990441 w 7049"/>
              <a:gd name="T17" fmla="*/ 791884 h 2048"/>
              <a:gd name="T18" fmla="*/ 2069589 w 7049"/>
              <a:gd name="T19" fmla="*/ 719990 h 2048"/>
              <a:gd name="T20" fmla="*/ 2242236 w 7049"/>
              <a:gd name="T21" fmla="*/ 774566 h 2048"/>
              <a:gd name="T22" fmla="*/ 2441411 w 7049"/>
              <a:gd name="T23" fmla="*/ 838589 h 2048"/>
              <a:gd name="T24" fmla="*/ 2437062 w 7049"/>
              <a:gd name="T25" fmla="*/ 967683 h 2048"/>
              <a:gd name="T26" fmla="*/ 2545347 w 7049"/>
              <a:gd name="T27" fmla="*/ 845936 h 2048"/>
              <a:gd name="T28" fmla="*/ 2422276 w 7049"/>
              <a:gd name="T29" fmla="*/ 659116 h 2048"/>
              <a:gd name="T30" fmla="*/ 2318340 w 7049"/>
              <a:gd name="T31" fmla="*/ 601916 h 2048"/>
              <a:gd name="T32" fmla="*/ 2547086 w 7049"/>
              <a:gd name="T33" fmla="*/ 515328 h 2048"/>
              <a:gd name="T34" fmla="*/ 2597967 w 7049"/>
              <a:gd name="T35" fmla="*/ 431364 h 2048"/>
              <a:gd name="T36" fmla="*/ 2666678 w 7049"/>
              <a:gd name="T37" fmla="*/ 399353 h 2048"/>
              <a:gd name="T38" fmla="*/ 2694075 w 7049"/>
              <a:gd name="T39" fmla="*/ 511130 h 2048"/>
              <a:gd name="T40" fmla="*/ 2762351 w 7049"/>
              <a:gd name="T41" fmla="*/ 656492 h 2048"/>
              <a:gd name="T42" fmla="*/ 2859329 w 7049"/>
              <a:gd name="T43" fmla="*/ 739931 h 2048"/>
              <a:gd name="T44" fmla="*/ 2855415 w 7049"/>
              <a:gd name="T45" fmla="*/ 637076 h 2048"/>
              <a:gd name="T46" fmla="*/ 2771484 w 7049"/>
              <a:gd name="T47" fmla="*/ 544191 h 2048"/>
              <a:gd name="T48" fmla="*/ 2847153 w 7049"/>
              <a:gd name="T49" fmla="*/ 464425 h 2048"/>
              <a:gd name="T50" fmla="*/ 2957612 w 7049"/>
              <a:gd name="T51" fmla="*/ 411423 h 2048"/>
              <a:gd name="T52" fmla="*/ 2882378 w 7049"/>
              <a:gd name="T53" fmla="*/ 324310 h 2048"/>
              <a:gd name="T54" fmla="*/ 2956742 w 7049"/>
              <a:gd name="T55" fmla="*/ 333756 h 2048"/>
              <a:gd name="T56" fmla="*/ 2983705 w 7049"/>
              <a:gd name="T57" fmla="*/ 284952 h 2048"/>
              <a:gd name="T58" fmla="*/ 2826713 w 7049"/>
              <a:gd name="T59" fmla="*/ 242446 h 2048"/>
              <a:gd name="T60" fmla="*/ 2540998 w 7049"/>
              <a:gd name="T61" fmla="*/ 215157 h 2048"/>
              <a:gd name="T62" fmla="*/ 2475766 w 7049"/>
              <a:gd name="T63" fmla="*/ 217781 h 2048"/>
              <a:gd name="T64" fmla="*/ 2170481 w 7049"/>
              <a:gd name="T65" fmla="*/ 184196 h 2048"/>
              <a:gd name="T66" fmla="*/ 2056108 w 7049"/>
              <a:gd name="T67" fmla="*/ 152184 h 2048"/>
              <a:gd name="T68" fmla="*/ 1918686 w 7049"/>
              <a:gd name="T69" fmla="*/ 152184 h 2048"/>
              <a:gd name="T70" fmla="*/ 1743430 w 7049"/>
              <a:gd name="T71" fmla="*/ 166878 h 2048"/>
              <a:gd name="T72" fmla="*/ 1554258 w 7049"/>
              <a:gd name="T73" fmla="*/ 136966 h 2048"/>
              <a:gd name="T74" fmla="*/ 1430752 w 7049"/>
              <a:gd name="T75" fmla="*/ 128045 h 2048"/>
              <a:gd name="T76" fmla="*/ 1308116 w 7049"/>
              <a:gd name="T77" fmla="*/ 123322 h 2048"/>
              <a:gd name="T78" fmla="*/ 1184610 w 7049"/>
              <a:gd name="T79" fmla="*/ 30437 h 2048"/>
              <a:gd name="T80" fmla="*/ 1138078 w 7049"/>
              <a:gd name="T81" fmla="*/ 73468 h 2048"/>
              <a:gd name="T82" fmla="*/ 928032 w 7049"/>
              <a:gd name="T83" fmla="*/ 87637 h 2048"/>
              <a:gd name="T84" fmla="*/ 938904 w 7049"/>
              <a:gd name="T85" fmla="*/ 104955 h 2048"/>
              <a:gd name="T86" fmla="*/ 955864 w 7049"/>
              <a:gd name="T87" fmla="*/ 179473 h 2048"/>
              <a:gd name="T88" fmla="*/ 840621 w 7049"/>
              <a:gd name="T89" fmla="*/ 134342 h 2048"/>
              <a:gd name="T90" fmla="*/ 777129 w 7049"/>
              <a:gd name="T91" fmla="*/ 143263 h 2048"/>
              <a:gd name="T92" fmla="*/ 833663 w 7049"/>
              <a:gd name="T93" fmla="*/ 234049 h 2048"/>
              <a:gd name="T94" fmla="*/ 902809 w 7049"/>
              <a:gd name="T95" fmla="*/ 277605 h 2048"/>
              <a:gd name="T96" fmla="*/ 818877 w 7049"/>
              <a:gd name="T97" fmla="*/ 311191 h 2048"/>
              <a:gd name="T98" fmla="*/ 796698 w 7049"/>
              <a:gd name="T99" fmla="*/ 243495 h 2048"/>
              <a:gd name="T100" fmla="*/ 704939 w 7049"/>
              <a:gd name="T101" fmla="*/ 121223 h 2048"/>
              <a:gd name="T102" fmla="*/ 705809 w 7049"/>
              <a:gd name="T103" fmla="*/ 236673 h 2048"/>
              <a:gd name="T104" fmla="*/ 538380 w 7049"/>
              <a:gd name="T105" fmla="*/ 208335 h 2048"/>
              <a:gd name="T106" fmla="*/ 520985 w 7049"/>
              <a:gd name="T107" fmla="*/ 250317 h 2048"/>
              <a:gd name="T108" fmla="*/ 394870 w 7049"/>
              <a:gd name="T109" fmla="*/ 262387 h 2048"/>
              <a:gd name="T110" fmla="*/ 300936 w 7049"/>
              <a:gd name="T111" fmla="*/ 253466 h 2048"/>
              <a:gd name="T112" fmla="*/ 261797 w 7049"/>
              <a:gd name="T113" fmla="*/ 306993 h 2048"/>
              <a:gd name="T114" fmla="*/ 176996 w 7049"/>
              <a:gd name="T115" fmla="*/ 387808 h 2048"/>
              <a:gd name="T116" fmla="*/ 169603 w 7049"/>
              <a:gd name="T117" fmla="*/ 321162 h 2048"/>
              <a:gd name="T118" fmla="*/ 65232 w 7049"/>
              <a:gd name="T119" fmla="*/ 230901 h 2048"/>
              <a:gd name="T120" fmla="*/ 30876 w 7049"/>
              <a:gd name="T121" fmla="*/ 317488 h 2048"/>
              <a:gd name="T122" fmla="*/ 48706 w 7049"/>
              <a:gd name="T123" fmla="*/ 502733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573" name="Freeform 23">
            <a:extLst>
              <a:ext uri="{FF2B5EF4-FFF2-40B4-BE49-F238E27FC236}">
                <a16:creationId xmlns:a16="http://schemas.microsoft.com/office/drawing/2014/main" id="{6122600F-69FB-4063-A413-84BEC28C5272}"/>
              </a:ext>
            </a:extLst>
          </p:cNvPr>
          <p:cNvSpPr>
            <a:spLocks/>
          </p:cNvSpPr>
          <p:nvPr>
            <p:custDataLst>
              <p:tags r:id="rId18"/>
            </p:custDataLst>
          </p:nvPr>
        </p:nvSpPr>
        <p:spPr bwMode="auto">
          <a:xfrm>
            <a:off x="7195670" y="4647880"/>
            <a:ext cx="596201" cy="525467"/>
          </a:xfrm>
          <a:custGeom>
            <a:avLst/>
            <a:gdLst>
              <a:gd name="T0" fmla="*/ 176323 w 647"/>
              <a:gd name="T1" fmla="*/ 14227 h 470"/>
              <a:gd name="T2" fmla="*/ 185877 w 647"/>
              <a:gd name="T3" fmla="*/ 23711 h 470"/>
              <a:gd name="T4" fmla="*/ 198906 w 647"/>
              <a:gd name="T5" fmla="*/ 31615 h 470"/>
              <a:gd name="T6" fmla="*/ 222358 w 647"/>
              <a:gd name="T7" fmla="*/ 41099 h 470"/>
              <a:gd name="T8" fmla="*/ 233649 w 647"/>
              <a:gd name="T9" fmla="*/ 42680 h 470"/>
              <a:gd name="T10" fmla="*/ 244072 w 647"/>
              <a:gd name="T11" fmla="*/ 52165 h 470"/>
              <a:gd name="T12" fmla="*/ 246244 w 647"/>
              <a:gd name="T13" fmla="*/ 51111 h 470"/>
              <a:gd name="T14" fmla="*/ 249718 w 647"/>
              <a:gd name="T15" fmla="*/ 44788 h 470"/>
              <a:gd name="T16" fmla="*/ 253192 w 647"/>
              <a:gd name="T17" fmla="*/ 41099 h 470"/>
              <a:gd name="T18" fmla="*/ 261878 w 647"/>
              <a:gd name="T19" fmla="*/ 42153 h 470"/>
              <a:gd name="T20" fmla="*/ 270998 w 647"/>
              <a:gd name="T21" fmla="*/ 41626 h 470"/>
              <a:gd name="T22" fmla="*/ 277947 w 647"/>
              <a:gd name="T23" fmla="*/ 44261 h 470"/>
              <a:gd name="T24" fmla="*/ 280553 w 647"/>
              <a:gd name="T25" fmla="*/ 54272 h 470"/>
              <a:gd name="T26" fmla="*/ 280553 w 647"/>
              <a:gd name="T27" fmla="*/ 64811 h 470"/>
              <a:gd name="T28" fmla="*/ 268393 w 647"/>
              <a:gd name="T29" fmla="*/ 69026 h 470"/>
              <a:gd name="T30" fmla="*/ 254495 w 647"/>
              <a:gd name="T31" fmla="*/ 76930 h 470"/>
              <a:gd name="T32" fmla="*/ 243204 w 647"/>
              <a:gd name="T33" fmla="*/ 86941 h 470"/>
              <a:gd name="T34" fmla="*/ 218883 w 647"/>
              <a:gd name="T35" fmla="*/ 112760 h 470"/>
              <a:gd name="T36" fmla="*/ 212369 w 647"/>
              <a:gd name="T37" fmla="*/ 119610 h 470"/>
              <a:gd name="T38" fmla="*/ 205854 w 647"/>
              <a:gd name="T39" fmla="*/ 133836 h 470"/>
              <a:gd name="T40" fmla="*/ 205420 w 647"/>
              <a:gd name="T41" fmla="*/ 148590 h 470"/>
              <a:gd name="T42" fmla="*/ 205420 w 647"/>
              <a:gd name="T43" fmla="*/ 163871 h 470"/>
              <a:gd name="T44" fmla="*/ 201077 w 647"/>
              <a:gd name="T45" fmla="*/ 179151 h 470"/>
              <a:gd name="T46" fmla="*/ 195431 w 647"/>
              <a:gd name="T47" fmla="*/ 186528 h 470"/>
              <a:gd name="T48" fmla="*/ 178494 w 647"/>
              <a:gd name="T49" fmla="*/ 202335 h 470"/>
              <a:gd name="T50" fmla="*/ 166334 w 647"/>
              <a:gd name="T51" fmla="*/ 216562 h 470"/>
              <a:gd name="T52" fmla="*/ 162425 w 647"/>
              <a:gd name="T53" fmla="*/ 223939 h 470"/>
              <a:gd name="T54" fmla="*/ 160254 w 647"/>
              <a:gd name="T55" fmla="*/ 227627 h 470"/>
              <a:gd name="T56" fmla="*/ 134631 w 647"/>
              <a:gd name="T57" fmla="*/ 226046 h 470"/>
              <a:gd name="T58" fmla="*/ 111613 w 647"/>
              <a:gd name="T59" fmla="*/ 228681 h 470"/>
              <a:gd name="T60" fmla="*/ 97281 w 647"/>
              <a:gd name="T61" fmla="*/ 235004 h 470"/>
              <a:gd name="T62" fmla="*/ 83818 w 647"/>
              <a:gd name="T63" fmla="*/ 246069 h 470"/>
              <a:gd name="T64" fmla="*/ 77738 w 647"/>
              <a:gd name="T65" fmla="*/ 247123 h 470"/>
              <a:gd name="T66" fmla="*/ 73395 w 647"/>
              <a:gd name="T67" fmla="*/ 242908 h 470"/>
              <a:gd name="T68" fmla="*/ 66447 w 647"/>
              <a:gd name="T69" fmla="*/ 227627 h 470"/>
              <a:gd name="T70" fmla="*/ 60801 w 647"/>
              <a:gd name="T71" fmla="*/ 218143 h 470"/>
              <a:gd name="T72" fmla="*/ 52984 w 647"/>
              <a:gd name="T73" fmla="*/ 210766 h 470"/>
              <a:gd name="T74" fmla="*/ 49509 w 647"/>
              <a:gd name="T75" fmla="*/ 199701 h 470"/>
              <a:gd name="T76" fmla="*/ 54721 w 647"/>
              <a:gd name="T77" fmla="*/ 177043 h 470"/>
              <a:gd name="T78" fmla="*/ 55155 w 647"/>
              <a:gd name="T79" fmla="*/ 140686 h 470"/>
              <a:gd name="T80" fmla="*/ 63841 w 647"/>
              <a:gd name="T81" fmla="*/ 108544 h 470"/>
              <a:gd name="T82" fmla="*/ 72961 w 647"/>
              <a:gd name="T83" fmla="*/ 78510 h 470"/>
              <a:gd name="T84" fmla="*/ 74698 w 647"/>
              <a:gd name="T85" fmla="*/ 69026 h 470"/>
              <a:gd name="T86" fmla="*/ 50378 w 647"/>
              <a:gd name="T87" fmla="*/ 64811 h 470"/>
              <a:gd name="T88" fmla="*/ 26926 w 647"/>
              <a:gd name="T89" fmla="*/ 57434 h 470"/>
              <a:gd name="T90" fmla="*/ 7383 w 647"/>
              <a:gd name="T91" fmla="*/ 49003 h 470"/>
              <a:gd name="T92" fmla="*/ 0 w 647"/>
              <a:gd name="T93" fmla="*/ 20023 h 470"/>
              <a:gd name="T94" fmla="*/ 9989 w 647"/>
              <a:gd name="T95" fmla="*/ 17915 h 470"/>
              <a:gd name="T96" fmla="*/ 22149 w 647"/>
              <a:gd name="T97" fmla="*/ 10538 h 470"/>
              <a:gd name="T98" fmla="*/ 31703 w 647"/>
              <a:gd name="T99" fmla="*/ 2108 h 470"/>
              <a:gd name="T100" fmla="*/ 37349 w 647"/>
              <a:gd name="T101" fmla="*/ 0 h 470"/>
              <a:gd name="T102" fmla="*/ 57327 w 647"/>
              <a:gd name="T103" fmla="*/ 3688 h 470"/>
              <a:gd name="T104" fmla="*/ 74264 w 647"/>
              <a:gd name="T105" fmla="*/ 8958 h 470"/>
              <a:gd name="T106" fmla="*/ 90767 w 647"/>
              <a:gd name="T107" fmla="*/ 10538 h 470"/>
              <a:gd name="T108" fmla="*/ 102059 w 647"/>
              <a:gd name="T109" fmla="*/ 15281 h 470"/>
              <a:gd name="T110" fmla="*/ 112047 w 647"/>
              <a:gd name="T111" fmla="*/ 19496 h 470"/>
              <a:gd name="T112" fmla="*/ 167202 w 647"/>
              <a:gd name="T113" fmla="*/ 1370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C00000"/>
          </a:solidFill>
          <a:ln w="9525" cap="flat" cmpd="sng">
            <a:solidFill>
              <a:srgbClr val="FFFFFF"/>
            </a:solidFill>
            <a:prstDash val="solid"/>
            <a:round/>
            <a:headEnd type="none" w="med" len="med"/>
            <a:tailEnd type="none" w="med" len="med"/>
          </a:ln>
          <a:effectLst/>
        </p:spPr>
        <p:txBody>
          <a:bodyPr/>
          <a:lstStyle/>
          <a:p>
            <a:endParaRPr lang="es-ES" dirty="0"/>
          </a:p>
        </p:txBody>
      </p:sp>
      <p:sp>
        <p:nvSpPr>
          <p:cNvPr id="574" name="Freeform 24">
            <a:extLst>
              <a:ext uri="{FF2B5EF4-FFF2-40B4-BE49-F238E27FC236}">
                <a16:creationId xmlns:a16="http://schemas.microsoft.com/office/drawing/2014/main" id="{60CBF586-95E1-4D2D-B199-41E84D444168}"/>
              </a:ext>
            </a:extLst>
          </p:cNvPr>
          <p:cNvSpPr>
            <a:spLocks/>
          </p:cNvSpPr>
          <p:nvPr>
            <p:custDataLst>
              <p:tags r:id="rId19"/>
            </p:custDataLst>
          </p:nvPr>
        </p:nvSpPr>
        <p:spPr bwMode="auto">
          <a:xfrm>
            <a:off x="12780436" y="6214173"/>
            <a:ext cx="441256" cy="966725"/>
          </a:xfrm>
          <a:custGeom>
            <a:avLst/>
            <a:gdLst>
              <a:gd name="T0" fmla="*/ 164546 w 479"/>
              <a:gd name="T1" fmla="*/ 187389 h 868"/>
              <a:gd name="T2" fmla="*/ 144575 w 479"/>
              <a:gd name="T3" fmla="*/ 194213 h 868"/>
              <a:gd name="T4" fmla="*/ 136326 w 479"/>
              <a:gd name="T5" fmla="*/ 204711 h 868"/>
              <a:gd name="T6" fmla="*/ 137194 w 479"/>
              <a:gd name="T7" fmla="*/ 224657 h 868"/>
              <a:gd name="T8" fmla="*/ 152824 w 479"/>
              <a:gd name="T9" fmla="*/ 258251 h 868"/>
              <a:gd name="T10" fmla="*/ 155863 w 479"/>
              <a:gd name="T11" fmla="*/ 278197 h 868"/>
              <a:gd name="T12" fmla="*/ 158902 w 479"/>
              <a:gd name="T13" fmla="*/ 291319 h 868"/>
              <a:gd name="T14" fmla="*/ 140233 w 479"/>
              <a:gd name="T15" fmla="*/ 276097 h 868"/>
              <a:gd name="T16" fmla="*/ 134155 w 479"/>
              <a:gd name="T17" fmla="*/ 258251 h 868"/>
              <a:gd name="T18" fmla="*/ 116789 w 479"/>
              <a:gd name="T19" fmla="*/ 245128 h 868"/>
              <a:gd name="T20" fmla="*/ 91173 w 479"/>
              <a:gd name="T21" fmla="*/ 230431 h 868"/>
              <a:gd name="T22" fmla="*/ 83793 w 479"/>
              <a:gd name="T23" fmla="*/ 213109 h 868"/>
              <a:gd name="T24" fmla="*/ 67729 w 479"/>
              <a:gd name="T25" fmla="*/ 250377 h 868"/>
              <a:gd name="T26" fmla="*/ 67729 w 479"/>
              <a:gd name="T27" fmla="*/ 275047 h 868"/>
              <a:gd name="T28" fmla="*/ 57309 w 479"/>
              <a:gd name="T29" fmla="*/ 301817 h 868"/>
              <a:gd name="T30" fmla="*/ 55572 w 479"/>
              <a:gd name="T31" fmla="*/ 325963 h 868"/>
              <a:gd name="T32" fmla="*/ 66860 w 479"/>
              <a:gd name="T33" fmla="*/ 341185 h 868"/>
              <a:gd name="T34" fmla="*/ 75978 w 479"/>
              <a:gd name="T35" fmla="*/ 359556 h 868"/>
              <a:gd name="T36" fmla="*/ 80319 w 479"/>
              <a:gd name="T37" fmla="*/ 383177 h 868"/>
              <a:gd name="T38" fmla="*/ 98120 w 479"/>
              <a:gd name="T39" fmla="*/ 409422 h 868"/>
              <a:gd name="T40" fmla="*/ 121999 w 479"/>
              <a:gd name="T41" fmla="*/ 433042 h 868"/>
              <a:gd name="T42" fmla="*/ 147614 w 479"/>
              <a:gd name="T43" fmla="*/ 446165 h 868"/>
              <a:gd name="T44" fmla="*/ 129379 w 479"/>
              <a:gd name="T45" fmla="*/ 455088 h 868"/>
              <a:gd name="T46" fmla="*/ 116789 w 479"/>
              <a:gd name="T47" fmla="*/ 453513 h 868"/>
              <a:gd name="T48" fmla="*/ 99422 w 479"/>
              <a:gd name="T49" fmla="*/ 441441 h 868"/>
              <a:gd name="T50" fmla="*/ 86832 w 479"/>
              <a:gd name="T51" fmla="*/ 431993 h 868"/>
              <a:gd name="T52" fmla="*/ 59480 w 479"/>
              <a:gd name="T53" fmla="*/ 398399 h 868"/>
              <a:gd name="T54" fmla="*/ 36035 w 479"/>
              <a:gd name="T55" fmla="*/ 383177 h 868"/>
              <a:gd name="T56" fmla="*/ 32128 w 479"/>
              <a:gd name="T57" fmla="*/ 361131 h 868"/>
              <a:gd name="T58" fmla="*/ 34733 w 479"/>
              <a:gd name="T59" fmla="*/ 342760 h 868"/>
              <a:gd name="T60" fmla="*/ 38206 w 479"/>
              <a:gd name="T61" fmla="*/ 323863 h 868"/>
              <a:gd name="T62" fmla="*/ 52099 w 479"/>
              <a:gd name="T63" fmla="*/ 261400 h 868"/>
              <a:gd name="T64" fmla="*/ 46889 w 479"/>
              <a:gd name="T65" fmla="*/ 212060 h 868"/>
              <a:gd name="T66" fmla="*/ 26918 w 479"/>
              <a:gd name="T67" fmla="*/ 167443 h 868"/>
              <a:gd name="T68" fmla="*/ 27786 w 479"/>
              <a:gd name="T69" fmla="*/ 149596 h 868"/>
              <a:gd name="T70" fmla="*/ 32128 w 479"/>
              <a:gd name="T71" fmla="*/ 139098 h 868"/>
              <a:gd name="T72" fmla="*/ 24313 w 479"/>
              <a:gd name="T73" fmla="*/ 106030 h 868"/>
              <a:gd name="T74" fmla="*/ 9986 w 479"/>
              <a:gd name="T75" fmla="*/ 82934 h 868"/>
              <a:gd name="T76" fmla="*/ 434 w 479"/>
              <a:gd name="T77" fmla="*/ 53540 h 868"/>
              <a:gd name="T78" fmla="*/ 4776 w 479"/>
              <a:gd name="T79" fmla="*/ 23096 h 868"/>
              <a:gd name="T80" fmla="*/ 21274 w 479"/>
              <a:gd name="T81" fmla="*/ 8398 h 868"/>
              <a:gd name="T82" fmla="*/ 52099 w 479"/>
              <a:gd name="T83" fmla="*/ 0 h 868"/>
              <a:gd name="T84" fmla="*/ 67729 w 479"/>
              <a:gd name="T85" fmla="*/ 14697 h 868"/>
              <a:gd name="T86" fmla="*/ 77714 w 479"/>
              <a:gd name="T87" fmla="*/ 18896 h 868"/>
              <a:gd name="T88" fmla="*/ 85529 w 479"/>
              <a:gd name="T89" fmla="*/ 71386 h 868"/>
              <a:gd name="T90" fmla="*/ 92476 w 479"/>
              <a:gd name="T91" fmla="*/ 87133 h 868"/>
              <a:gd name="T92" fmla="*/ 100291 w 479"/>
              <a:gd name="T93" fmla="*/ 81359 h 868"/>
              <a:gd name="T94" fmla="*/ 112013 w 479"/>
              <a:gd name="T95" fmla="*/ 66137 h 868"/>
              <a:gd name="T96" fmla="*/ 121999 w 479"/>
              <a:gd name="T97" fmla="*/ 74011 h 868"/>
              <a:gd name="T98" fmla="*/ 129379 w 479"/>
              <a:gd name="T99" fmla="*/ 71386 h 868"/>
              <a:gd name="T100" fmla="*/ 137194 w 479"/>
              <a:gd name="T101" fmla="*/ 56689 h 868"/>
              <a:gd name="T102" fmla="*/ 150219 w 479"/>
              <a:gd name="T103" fmla="*/ 56689 h 868"/>
              <a:gd name="T104" fmla="*/ 168019 w 479"/>
              <a:gd name="T105" fmla="*/ 82409 h 868"/>
              <a:gd name="T106" fmla="*/ 197108 w 479"/>
              <a:gd name="T107" fmla="*/ 129125 h 868"/>
              <a:gd name="T108" fmla="*/ 207528 w 479"/>
              <a:gd name="T109" fmla="*/ 161144 h 868"/>
              <a:gd name="T110" fmla="*/ 203186 w 479"/>
              <a:gd name="T111" fmla="*/ 177416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575" name="Freeform 25">
            <a:extLst>
              <a:ext uri="{FF2B5EF4-FFF2-40B4-BE49-F238E27FC236}">
                <a16:creationId xmlns:a16="http://schemas.microsoft.com/office/drawing/2014/main" id="{347EE3D3-7A78-439A-BD60-887227F5ED30}"/>
              </a:ext>
            </a:extLst>
          </p:cNvPr>
          <p:cNvSpPr>
            <a:spLocks/>
          </p:cNvSpPr>
          <p:nvPr>
            <p:custDataLst>
              <p:tags r:id="rId20"/>
            </p:custDataLst>
          </p:nvPr>
        </p:nvSpPr>
        <p:spPr bwMode="auto">
          <a:xfrm>
            <a:off x="4524547" y="11280209"/>
            <a:ext cx="50527" cy="121262"/>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576" name="Line 26" descr="Horizontal dunkel">
            <a:extLst>
              <a:ext uri="{FF2B5EF4-FFF2-40B4-BE49-F238E27FC236}">
                <a16:creationId xmlns:a16="http://schemas.microsoft.com/office/drawing/2014/main" id="{A304CDD4-C6F7-47B3-A696-28CD36C25019}"/>
              </a:ext>
            </a:extLst>
          </p:cNvPr>
          <p:cNvSpPr>
            <a:spLocks noChangeShapeType="1"/>
          </p:cNvSpPr>
          <p:nvPr>
            <p:custDataLst>
              <p:tags r:id="rId21"/>
            </p:custDataLst>
          </p:nvPr>
        </p:nvSpPr>
        <p:spPr bwMode="auto">
          <a:xfrm>
            <a:off x="1260593" y="4748931"/>
            <a:ext cx="6737" cy="2021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s-ES" dirty="0"/>
          </a:p>
        </p:txBody>
      </p:sp>
      <p:sp>
        <p:nvSpPr>
          <p:cNvPr id="577" name="Freeform 27">
            <a:extLst>
              <a:ext uri="{FF2B5EF4-FFF2-40B4-BE49-F238E27FC236}">
                <a16:creationId xmlns:a16="http://schemas.microsoft.com/office/drawing/2014/main" id="{636E39BD-139B-4A41-8B21-55BE9ED71E21}"/>
              </a:ext>
            </a:extLst>
          </p:cNvPr>
          <p:cNvSpPr>
            <a:spLocks/>
          </p:cNvSpPr>
          <p:nvPr>
            <p:custDataLst>
              <p:tags r:id="rId22"/>
            </p:custDataLst>
          </p:nvPr>
        </p:nvSpPr>
        <p:spPr bwMode="auto">
          <a:xfrm>
            <a:off x="1267330" y="4742194"/>
            <a:ext cx="6737" cy="117892"/>
          </a:xfrm>
          <a:custGeom>
            <a:avLst/>
            <a:gdLst>
              <a:gd name="T0" fmla="*/ 0 w 6"/>
              <a:gd name="T1" fmla="*/ 55562 h 24"/>
              <a:gd name="T2" fmla="*/ 0 w 6"/>
              <a:gd name="T3" fmla="*/ 43987 h 24"/>
              <a:gd name="T4" fmla="*/ 529 w 6"/>
              <a:gd name="T5" fmla="*/ 32411 h 24"/>
              <a:gd name="T6" fmla="*/ 1588 w 6"/>
              <a:gd name="T7" fmla="*/ 18521 h 24"/>
              <a:gd name="T8" fmla="*/ 3175 w 6"/>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4">
                <a:moveTo>
                  <a:pt x="0" y="24"/>
                </a:moveTo>
                <a:lnTo>
                  <a:pt x="0" y="19"/>
                </a:lnTo>
                <a:lnTo>
                  <a:pt x="1" y="14"/>
                </a:lnTo>
                <a:lnTo>
                  <a:pt x="3" y="8"/>
                </a:lnTo>
                <a:lnTo>
                  <a:pt x="6"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578" name="Freeform 28">
            <a:extLst>
              <a:ext uri="{FF2B5EF4-FFF2-40B4-BE49-F238E27FC236}">
                <a16:creationId xmlns:a16="http://schemas.microsoft.com/office/drawing/2014/main" id="{51A816F2-EF37-45E5-BF5C-0BB14D15C980}"/>
              </a:ext>
            </a:extLst>
          </p:cNvPr>
          <p:cNvSpPr>
            <a:spLocks/>
          </p:cNvSpPr>
          <p:nvPr>
            <p:custDataLst>
              <p:tags r:id="rId23"/>
            </p:custDataLst>
          </p:nvPr>
        </p:nvSpPr>
        <p:spPr bwMode="auto">
          <a:xfrm>
            <a:off x="1216803" y="4856719"/>
            <a:ext cx="50527" cy="121262"/>
          </a:xfrm>
          <a:custGeom>
            <a:avLst/>
            <a:gdLst>
              <a:gd name="T0" fmla="*/ 0 w 47"/>
              <a:gd name="T1" fmla="*/ 20472 h 67"/>
              <a:gd name="T2" fmla="*/ 0 w 47"/>
              <a:gd name="T3" fmla="*/ 25590 h 67"/>
              <a:gd name="T4" fmla="*/ 1013 w 47"/>
              <a:gd name="T5" fmla="*/ 30707 h 67"/>
              <a:gd name="T6" fmla="*/ 1520 w 47"/>
              <a:gd name="T7" fmla="*/ 35825 h 67"/>
              <a:gd name="T8" fmla="*/ 2533 w 47"/>
              <a:gd name="T9" fmla="*/ 40090 h 67"/>
              <a:gd name="T10" fmla="*/ 4560 w 47"/>
              <a:gd name="T11" fmla="*/ 49473 h 67"/>
              <a:gd name="T12" fmla="*/ 7093 w 47"/>
              <a:gd name="T13" fmla="*/ 57150 h 67"/>
              <a:gd name="T14" fmla="*/ 23813 w 47"/>
              <a:gd name="T15" fmla="*/ 57150 h 67"/>
              <a:gd name="T16" fmla="*/ 23813 w 47"/>
              <a:gd name="T17" fmla="*/ 0 h 67"/>
              <a:gd name="T18" fmla="*/ 18240 w 47"/>
              <a:gd name="T19" fmla="*/ 1706 h 67"/>
              <a:gd name="T20" fmla="*/ 13173 w 47"/>
              <a:gd name="T21" fmla="*/ 3412 h 67"/>
              <a:gd name="T22" fmla="*/ 9120 w 47"/>
              <a:gd name="T23" fmla="*/ 5971 h 67"/>
              <a:gd name="T24" fmla="*/ 5573 w 47"/>
              <a:gd name="T25" fmla="*/ 7677 h 67"/>
              <a:gd name="T26" fmla="*/ 3040 w 47"/>
              <a:gd name="T27" fmla="*/ 10236 h 67"/>
              <a:gd name="T28" fmla="*/ 1520 w 47"/>
              <a:gd name="T29" fmla="*/ 13648 h 67"/>
              <a:gd name="T30" fmla="*/ 0 w 47"/>
              <a:gd name="T31" fmla="*/ 17060 h 67"/>
              <a:gd name="T32" fmla="*/ 0 w 47"/>
              <a:gd name="T33" fmla="*/ 20472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579" name="Freeform 29">
            <a:extLst>
              <a:ext uri="{FF2B5EF4-FFF2-40B4-BE49-F238E27FC236}">
                <a16:creationId xmlns:a16="http://schemas.microsoft.com/office/drawing/2014/main" id="{F5D6D633-3BF0-41B9-9075-5325D267FE66}"/>
              </a:ext>
            </a:extLst>
          </p:cNvPr>
          <p:cNvSpPr>
            <a:spLocks/>
          </p:cNvSpPr>
          <p:nvPr>
            <p:custDataLst>
              <p:tags r:id="rId24"/>
            </p:custDataLst>
          </p:nvPr>
        </p:nvSpPr>
        <p:spPr bwMode="auto">
          <a:xfrm>
            <a:off x="4029397" y="4846613"/>
            <a:ext cx="104419" cy="121262"/>
          </a:xfrm>
          <a:custGeom>
            <a:avLst/>
            <a:gdLst>
              <a:gd name="T0" fmla="*/ 0 w 112"/>
              <a:gd name="T1" fmla="*/ 57150 h 36"/>
              <a:gd name="T2" fmla="*/ 25924 w 112"/>
              <a:gd name="T3" fmla="*/ 57150 h 36"/>
              <a:gd name="T4" fmla="*/ 29439 w 112"/>
              <a:gd name="T5" fmla="*/ 47625 h 36"/>
              <a:gd name="T6" fmla="*/ 32954 w 112"/>
              <a:gd name="T7" fmla="*/ 41275 h 36"/>
              <a:gd name="T8" fmla="*/ 36909 w 112"/>
              <a:gd name="T9" fmla="*/ 36513 h 36"/>
              <a:gd name="T10" fmla="*/ 39985 w 112"/>
              <a:gd name="T11" fmla="*/ 31750 h 36"/>
              <a:gd name="T12" fmla="*/ 43061 w 112"/>
              <a:gd name="T13" fmla="*/ 26988 h 36"/>
              <a:gd name="T14" fmla="*/ 45697 w 112"/>
              <a:gd name="T15" fmla="*/ 20638 h 36"/>
              <a:gd name="T16" fmla="*/ 47015 w 112"/>
              <a:gd name="T17" fmla="*/ 17463 h 36"/>
              <a:gd name="T18" fmla="*/ 47894 w 112"/>
              <a:gd name="T19" fmla="*/ 12700 h 36"/>
              <a:gd name="T20" fmla="*/ 48773 w 112"/>
              <a:gd name="T21" fmla="*/ 6350 h 36"/>
              <a:gd name="T22" fmla="*/ 49212 w 112"/>
              <a:gd name="T23" fmla="*/ 0 h 36"/>
              <a:gd name="T24" fmla="*/ 43939 w 112"/>
              <a:gd name="T25" fmla="*/ 0 h 36"/>
              <a:gd name="T26" fmla="*/ 37348 w 112"/>
              <a:gd name="T27" fmla="*/ 1588 h 36"/>
              <a:gd name="T28" fmla="*/ 29439 w 112"/>
              <a:gd name="T29" fmla="*/ 4763 h 36"/>
              <a:gd name="T30" fmla="*/ 21091 w 112"/>
              <a:gd name="T31" fmla="*/ 11113 h 36"/>
              <a:gd name="T32" fmla="*/ 17576 w 112"/>
              <a:gd name="T33" fmla="*/ 14288 h 36"/>
              <a:gd name="T34" fmla="*/ 13621 w 112"/>
              <a:gd name="T35" fmla="*/ 17463 h 36"/>
              <a:gd name="T36" fmla="*/ 10106 w 112"/>
              <a:gd name="T37" fmla="*/ 22225 h 36"/>
              <a:gd name="T38" fmla="*/ 7470 w 112"/>
              <a:gd name="T39" fmla="*/ 28575 h 36"/>
              <a:gd name="T40" fmla="*/ 4394 w 112"/>
              <a:gd name="T41" fmla="*/ 34925 h 36"/>
              <a:gd name="T42" fmla="*/ 2636 w 112"/>
              <a:gd name="T43" fmla="*/ 41275 h 36"/>
              <a:gd name="T44" fmla="*/ 439 w 112"/>
              <a:gd name="T45" fmla="*/ 49213 h 36"/>
              <a:gd name="T46" fmla="*/ 0 w 112"/>
              <a:gd name="T47" fmla="*/ 57150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580" name="Freeform 30">
            <a:extLst>
              <a:ext uri="{FF2B5EF4-FFF2-40B4-BE49-F238E27FC236}">
                <a16:creationId xmlns:a16="http://schemas.microsoft.com/office/drawing/2014/main" id="{C884EC44-70BF-475E-8148-3ADF5D2605AF}"/>
              </a:ext>
            </a:extLst>
          </p:cNvPr>
          <p:cNvSpPr>
            <a:spLocks/>
          </p:cNvSpPr>
          <p:nvPr>
            <p:custDataLst>
              <p:tags r:id="rId25"/>
            </p:custDataLst>
          </p:nvPr>
        </p:nvSpPr>
        <p:spPr bwMode="auto">
          <a:xfrm>
            <a:off x="9839844" y="3906837"/>
            <a:ext cx="1855976" cy="959986"/>
          </a:xfrm>
          <a:custGeom>
            <a:avLst/>
            <a:gdLst>
              <a:gd name="T0" fmla="*/ 188809 w 2006"/>
              <a:gd name="T1" fmla="*/ 401059 h 863"/>
              <a:gd name="T2" fmla="*/ 179652 w 2006"/>
              <a:gd name="T3" fmla="*/ 400535 h 863"/>
              <a:gd name="T4" fmla="*/ 170059 w 2006"/>
              <a:gd name="T5" fmla="*/ 416263 h 863"/>
              <a:gd name="T6" fmla="*/ 163518 w 2006"/>
              <a:gd name="T7" fmla="*/ 415214 h 863"/>
              <a:gd name="T8" fmla="*/ 161338 w 2006"/>
              <a:gd name="T9" fmla="*/ 393720 h 863"/>
              <a:gd name="T10" fmla="*/ 141280 w 2006"/>
              <a:gd name="T11" fmla="*/ 379565 h 863"/>
              <a:gd name="T12" fmla="*/ 136047 w 2006"/>
              <a:gd name="T13" fmla="*/ 371177 h 863"/>
              <a:gd name="T14" fmla="*/ 125582 w 2006"/>
              <a:gd name="T15" fmla="*/ 362788 h 863"/>
              <a:gd name="T16" fmla="*/ 109448 w 2006"/>
              <a:gd name="T17" fmla="*/ 336051 h 863"/>
              <a:gd name="T18" fmla="*/ 101163 w 2006"/>
              <a:gd name="T19" fmla="*/ 319799 h 863"/>
              <a:gd name="T20" fmla="*/ 110320 w 2006"/>
              <a:gd name="T21" fmla="*/ 311411 h 863"/>
              <a:gd name="T22" fmla="*/ 121657 w 2006"/>
              <a:gd name="T23" fmla="*/ 300401 h 863"/>
              <a:gd name="T24" fmla="*/ 147384 w 2006"/>
              <a:gd name="T25" fmla="*/ 285198 h 863"/>
              <a:gd name="T26" fmla="*/ 139099 w 2006"/>
              <a:gd name="T27" fmla="*/ 255315 h 863"/>
              <a:gd name="T28" fmla="*/ 112500 w 2006"/>
              <a:gd name="T29" fmla="*/ 249024 h 863"/>
              <a:gd name="T30" fmla="*/ 91134 w 2006"/>
              <a:gd name="T31" fmla="*/ 246403 h 863"/>
              <a:gd name="T32" fmla="*/ 68460 w 2006"/>
              <a:gd name="T33" fmla="*/ 259509 h 863"/>
              <a:gd name="T34" fmla="*/ 46221 w 2006"/>
              <a:gd name="T35" fmla="*/ 264752 h 863"/>
              <a:gd name="T36" fmla="*/ 11773 w 2006"/>
              <a:gd name="T37" fmla="*/ 216520 h 863"/>
              <a:gd name="T38" fmla="*/ 8721 w 2006"/>
              <a:gd name="T39" fmla="*/ 148366 h 863"/>
              <a:gd name="T40" fmla="*/ 49273 w 2006"/>
              <a:gd name="T41" fmla="*/ 135784 h 863"/>
              <a:gd name="T42" fmla="*/ 127326 w 2006"/>
              <a:gd name="T43" fmla="*/ 116386 h 863"/>
              <a:gd name="T44" fmla="*/ 217152 w 2006"/>
              <a:gd name="T45" fmla="*/ 132638 h 863"/>
              <a:gd name="T46" fmla="*/ 312647 w 2006"/>
              <a:gd name="T47" fmla="*/ 132638 h 863"/>
              <a:gd name="T48" fmla="*/ 286920 w 2006"/>
              <a:gd name="T49" fmla="*/ 96988 h 863"/>
              <a:gd name="T50" fmla="*/ 361920 w 2006"/>
              <a:gd name="T51" fmla="*/ 35650 h 863"/>
              <a:gd name="T52" fmla="*/ 457851 w 2006"/>
              <a:gd name="T53" fmla="*/ 6815 h 863"/>
              <a:gd name="T54" fmla="*/ 512793 w 2006"/>
              <a:gd name="T55" fmla="*/ 31980 h 863"/>
              <a:gd name="T56" fmla="*/ 565119 w 2006"/>
              <a:gd name="T57" fmla="*/ 58193 h 863"/>
              <a:gd name="T58" fmla="*/ 628782 w 2006"/>
              <a:gd name="T59" fmla="*/ 51902 h 863"/>
              <a:gd name="T60" fmla="*/ 718172 w 2006"/>
              <a:gd name="T61" fmla="*/ 142075 h 863"/>
              <a:gd name="T62" fmla="*/ 781835 w 2006"/>
              <a:gd name="T63" fmla="*/ 138929 h 863"/>
              <a:gd name="T64" fmla="*/ 872097 w 2006"/>
              <a:gd name="T65" fmla="*/ 177724 h 863"/>
              <a:gd name="T66" fmla="*/ 872969 w 2006"/>
              <a:gd name="T67" fmla="*/ 199743 h 863"/>
              <a:gd name="T68" fmla="*/ 863812 w 2006"/>
              <a:gd name="T69" fmla="*/ 209180 h 863"/>
              <a:gd name="T70" fmla="*/ 854655 w 2006"/>
              <a:gd name="T71" fmla="*/ 211801 h 863"/>
              <a:gd name="T72" fmla="*/ 855963 w 2006"/>
              <a:gd name="T73" fmla="*/ 222811 h 863"/>
              <a:gd name="T74" fmla="*/ 865556 w 2006"/>
              <a:gd name="T75" fmla="*/ 244305 h 863"/>
              <a:gd name="T76" fmla="*/ 862940 w 2006"/>
              <a:gd name="T77" fmla="*/ 250597 h 863"/>
              <a:gd name="T78" fmla="*/ 845498 w 2006"/>
              <a:gd name="T79" fmla="*/ 252169 h 863"/>
              <a:gd name="T80" fmla="*/ 825440 w 2006"/>
              <a:gd name="T81" fmla="*/ 248500 h 863"/>
              <a:gd name="T82" fmla="*/ 812794 w 2006"/>
              <a:gd name="T83" fmla="*/ 248500 h 863"/>
              <a:gd name="T84" fmla="*/ 818899 w 2006"/>
              <a:gd name="T85" fmla="*/ 287295 h 863"/>
              <a:gd name="T86" fmla="*/ 819771 w 2006"/>
              <a:gd name="T87" fmla="*/ 307217 h 863"/>
              <a:gd name="T88" fmla="*/ 780091 w 2006"/>
              <a:gd name="T89" fmla="*/ 308265 h 863"/>
              <a:gd name="T90" fmla="*/ 770933 w 2006"/>
              <a:gd name="T91" fmla="*/ 316653 h 863"/>
              <a:gd name="T92" fmla="*/ 782707 w 2006"/>
              <a:gd name="T93" fmla="*/ 324517 h 863"/>
              <a:gd name="T94" fmla="*/ 790992 w 2006"/>
              <a:gd name="T95" fmla="*/ 340769 h 863"/>
              <a:gd name="T96" fmla="*/ 799713 w 2006"/>
              <a:gd name="T97" fmla="*/ 361216 h 863"/>
              <a:gd name="T98" fmla="*/ 801021 w 2006"/>
              <a:gd name="T99" fmla="*/ 370128 h 863"/>
              <a:gd name="T100" fmla="*/ 801021 w 2006"/>
              <a:gd name="T101" fmla="*/ 395293 h 863"/>
              <a:gd name="T102" fmla="*/ 759160 w 2006"/>
              <a:gd name="T103" fmla="*/ 387953 h 863"/>
              <a:gd name="T104" fmla="*/ 643171 w 2006"/>
              <a:gd name="T105" fmla="*/ 400535 h 863"/>
              <a:gd name="T106" fmla="*/ 573840 w 2006"/>
              <a:gd name="T107" fmla="*/ 416787 h 863"/>
              <a:gd name="T108" fmla="*/ 497967 w 2006"/>
              <a:gd name="T109" fmla="*/ 439330 h 863"/>
              <a:gd name="T110" fmla="*/ 419915 w 2006"/>
              <a:gd name="T111" fmla="*/ 365410 h 863"/>
              <a:gd name="T112" fmla="*/ 298257 w 2006"/>
              <a:gd name="T113" fmla="*/ 307217 h 863"/>
              <a:gd name="T114" fmla="*/ 254652 w 2006"/>
              <a:gd name="T115" fmla="*/ 436185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581" name="Freeform 31">
            <a:extLst>
              <a:ext uri="{FF2B5EF4-FFF2-40B4-BE49-F238E27FC236}">
                <a16:creationId xmlns:a16="http://schemas.microsoft.com/office/drawing/2014/main" id="{BA95DB29-6EA8-4DAF-A525-6B13AD6699F4}"/>
              </a:ext>
            </a:extLst>
          </p:cNvPr>
          <p:cNvSpPr>
            <a:spLocks/>
          </p:cNvSpPr>
          <p:nvPr>
            <p:custDataLst>
              <p:tags r:id="rId26"/>
            </p:custDataLst>
          </p:nvPr>
        </p:nvSpPr>
        <p:spPr bwMode="auto">
          <a:xfrm>
            <a:off x="10328259" y="4550196"/>
            <a:ext cx="869041" cy="528836"/>
          </a:xfrm>
          <a:custGeom>
            <a:avLst/>
            <a:gdLst>
              <a:gd name="T0" fmla="*/ 275062 w 950"/>
              <a:gd name="T1" fmla="*/ 235924 h 468"/>
              <a:gd name="T2" fmla="*/ 240571 w 950"/>
              <a:gd name="T3" fmla="*/ 222610 h 468"/>
              <a:gd name="T4" fmla="*/ 203063 w 950"/>
              <a:gd name="T5" fmla="*/ 200242 h 468"/>
              <a:gd name="T6" fmla="*/ 169004 w 950"/>
              <a:gd name="T7" fmla="*/ 163496 h 468"/>
              <a:gd name="T8" fmla="*/ 131495 w 950"/>
              <a:gd name="T9" fmla="*/ 137400 h 468"/>
              <a:gd name="T10" fmla="*/ 109076 w 950"/>
              <a:gd name="T11" fmla="*/ 111305 h 468"/>
              <a:gd name="T12" fmla="*/ 80190 w 950"/>
              <a:gd name="T13" fmla="*/ 91600 h 468"/>
              <a:gd name="T14" fmla="*/ 57341 w 950"/>
              <a:gd name="T15" fmla="*/ 101186 h 468"/>
              <a:gd name="T16" fmla="*/ 42682 w 950"/>
              <a:gd name="T17" fmla="*/ 127814 h 468"/>
              <a:gd name="T18" fmla="*/ 17245 w 950"/>
              <a:gd name="T19" fmla="*/ 131010 h 468"/>
              <a:gd name="T20" fmla="*/ 0 w 950"/>
              <a:gd name="T21" fmla="*/ 12781 h 468"/>
              <a:gd name="T22" fmla="*/ 34059 w 950"/>
              <a:gd name="T23" fmla="*/ 3195 h 468"/>
              <a:gd name="T24" fmla="*/ 57341 w 950"/>
              <a:gd name="T25" fmla="*/ 29291 h 468"/>
              <a:gd name="T26" fmla="*/ 67688 w 950"/>
              <a:gd name="T27" fmla="*/ 7988 h 468"/>
              <a:gd name="T28" fmla="*/ 143136 w 950"/>
              <a:gd name="T29" fmla="*/ 62310 h 468"/>
              <a:gd name="T30" fmla="*/ 188836 w 950"/>
              <a:gd name="T31" fmla="*/ 62310 h 468"/>
              <a:gd name="T32" fmla="*/ 226344 w 950"/>
              <a:gd name="T33" fmla="*/ 71896 h 468"/>
              <a:gd name="T34" fmla="*/ 257386 w 950"/>
              <a:gd name="T35" fmla="*/ 121424 h 468"/>
              <a:gd name="T36" fmla="*/ 289289 w 950"/>
              <a:gd name="T37" fmla="*/ 134205 h 468"/>
              <a:gd name="T38" fmla="*/ 314726 w 950"/>
              <a:gd name="T39" fmla="*/ 137400 h 468"/>
              <a:gd name="T40" fmla="*/ 341025 w 950"/>
              <a:gd name="T41" fmla="*/ 114500 h 468"/>
              <a:gd name="T42" fmla="*/ 363444 w 950"/>
              <a:gd name="T43" fmla="*/ 104382 h 468"/>
              <a:gd name="T44" fmla="*/ 355252 w 950"/>
              <a:gd name="T45" fmla="*/ 134205 h 468"/>
              <a:gd name="T46" fmla="*/ 375084 w 950"/>
              <a:gd name="T47" fmla="*/ 127814 h 468"/>
              <a:gd name="T48" fmla="*/ 409575 w 950"/>
              <a:gd name="T49" fmla="*/ 150714 h 468"/>
              <a:gd name="T50" fmla="*/ 380689 w 950"/>
              <a:gd name="T51" fmla="*/ 170419 h 468"/>
              <a:gd name="T52" fmla="*/ 355252 w 950"/>
              <a:gd name="T53" fmla="*/ 150714 h 468"/>
              <a:gd name="T54" fmla="*/ 329385 w 950"/>
              <a:gd name="T55" fmla="*/ 147519 h 468"/>
              <a:gd name="T56" fmla="*/ 317744 w 950"/>
              <a:gd name="T57" fmla="*/ 170419 h 468"/>
              <a:gd name="T58" fmla="*/ 294894 w 950"/>
              <a:gd name="T59" fmla="*/ 190124 h 468"/>
              <a:gd name="T60" fmla="*/ 306103 w 950"/>
              <a:gd name="T61" fmla="*/ 206633 h 468"/>
              <a:gd name="T62" fmla="*/ 320331 w 950"/>
              <a:gd name="T63" fmla="*/ 232729 h 468"/>
              <a:gd name="T64" fmla="*/ 309121 w 950"/>
              <a:gd name="T65" fmla="*/ 249238 h 468"/>
              <a:gd name="T66" fmla="*/ 303086 w 950"/>
              <a:gd name="T67" fmla="*/ 247640 h 468"/>
              <a:gd name="T68" fmla="*/ 294894 w 950"/>
              <a:gd name="T69" fmla="*/ 245510 h 468"/>
              <a:gd name="T70" fmla="*/ 283685 w 950"/>
              <a:gd name="T71" fmla="*/ 24551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582" name="Freeform 32">
            <a:extLst>
              <a:ext uri="{FF2B5EF4-FFF2-40B4-BE49-F238E27FC236}">
                <a16:creationId xmlns:a16="http://schemas.microsoft.com/office/drawing/2014/main" id="{032E8AC5-CA9C-4AA1-8B7B-507A4D9A9F02}"/>
              </a:ext>
            </a:extLst>
          </p:cNvPr>
          <p:cNvSpPr>
            <a:spLocks/>
          </p:cNvSpPr>
          <p:nvPr>
            <p:custDataLst>
              <p:tags r:id="rId27"/>
            </p:custDataLst>
          </p:nvPr>
        </p:nvSpPr>
        <p:spPr bwMode="auto">
          <a:xfrm>
            <a:off x="7798608" y="6679009"/>
            <a:ext cx="629887" cy="613044"/>
          </a:xfrm>
          <a:custGeom>
            <a:avLst/>
            <a:gdLst>
              <a:gd name="T0" fmla="*/ 2655 w 671"/>
              <a:gd name="T1" fmla="*/ 201563 h 549"/>
              <a:gd name="T2" fmla="*/ 3539 w 671"/>
              <a:gd name="T3" fmla="*/ 166303 h 549"/>
              <a:gd name="T4" fmla="*/ 7521 w 671"/>
              <a:gd name="T5" fmla="*/ 151041 h 549"/>
              <a:gd name="T6" fmla="*/ 23006 w 671"/>
              <a:gd name="T7" fmla="*/ 125253 h 549"/>
              <a:gd name="T8" fmla="*/ 31412 w 671"/>
              <a:gd name="T9" fmla="*/ 107886 h 549"/>
              <a:gd name="T10" fmla="*/ 32297 w 671"/>
              <a:gd name="T11" fmla="*/ 87888 h 549"/>
              <a:gd name="T12" fmla="*/ 32297 w 671"/>
              <a:gd name="T13" fmla="*/ 72100 h 549"/>
              <a:gd name="T14" fmla="*/ 23891 w 671"/>
              <a:gd name="T15" fmla="*/ 56838 h 549"/>
              <a:gd name="T16" fmla="*/ 26988 w 671"/>
              <a:gd name="T17" fmla="*/ 41576 h 549"/>
              <a:gd name="T18" fmla="*/ 33624 w 671"/>
              <a:gd name="T19" fmla="*/ 26314 h 549"/>
              <a:gd name="T20" fmla="*/ 42472 w 671"/>
              <a:gd name="T21" fmla="*/ 13157 h 549"/>
              <a:gd name="T22" fmla="*/ 53090 w 671"/>
              <a:gd name="T23" fmla="*/ 3684 h 549"/>
              <a:gd name="T24" fmla="*/ 64593 w 671"/>
              <a:gd name="T25" fmla="*/ 0 h 549"/>
              <a:gd name="T26" fmla="*/ 76538 w 671"/>
              <a:gd name="T27" fmla="*/ 2631 h 549"/>
              <a:gd name="T28" fmla="*/ 91138 w 671"/>
              <a:gd name="T29" fmla="*/ 13683 h 549"/>
              <a:gd name="T30" fmla="*/ 104411 w 671"/>
              <a:gd name="T31" fmla="*/ 23682 h 549"/>
              <a:gd name="T32" fmla="*/ 114586 w 671"/>
              <a:gd name="T33" fmla="*/ 26314 h 549"/>
              <a:gd name="T34" fmla="*/ 120338 w 671"/>
              <a:gd name="T35" fmla="*/ 23156 h 549"/>
              <a:gd name="T36" fmla="*/ 125647 w 671"/>
              <a:gd name="T37" fmla="*/ 18420 h 549"/>
              <a:gd name="T38" fmla="*/ 132726 w 671"/>
              <a:gd name="T39" fmla="*/ 16841 h 549"/>
              <a:gd name="T40" fmla="*/ 140689 w 671"/>
              <a:gd name="T41" fmla="*/ 20525 h 549"/>
              <a:gd name="T42" fmla="*/ 149095 w 671"/>
              <a:gd name="T43" fmla="*/ 34208 h 549"/>
              <a:gd name="T44" fmla="*/ 156174 w 671"/>
              <a:gd name="T45" fmla="*/ 41576 h 549"/>
              <a:gd name="T46" fmla="*/ 163695 w 671"/>
              <a:gd name="T47" fmla="*/ 42628 h 549"/>
              <a:gd name="T48" fmla="*/ 168562 w 671"/>
              <a:gd name="T49" fmla="*/ 39471 h 549"/>
              <a:gd name="T50" fmla="*/ 175640 w 671"/>
              <a:gd name="T51" fmla="*/ 29471 h 549"/>
              <a:gd name="T52" fmla="*/ 185373 w 671"/>
              <a:gd name="T53" fmla="*/ 19998 h 549"/>
              <a:gd name="T54" fmla="*/ 202628 w 671"/>
              <a:gd name="T55" fmla="*/ 11578 h 549"/>
              <a:gd name="T56" fmla="*/ 215458 w 671"/>
              <a:gd name="T57" fmla="*/ 13157 h 549"/>
              <a:gd name="T58" fmla="*/ 226076 w 671"/>
              <a:gd name="T59" fmla="*/ 18420 h 549"/>
              <a:gd name="T60" fmla="*/ 237579 w 671"/>
              <a:gd name="T61" fmla="*/ 22630 h 549"/>
              <a:gd name="T62" fmla="*/ 252621 w 671"/>
              <a:gd name="T63" fmla="*/ 20525 h 549"/>
              <a:gd name="T64" fmla="*/ 285803 w 671"/>
              <a:gd name="T65" fmla="*/ 35260 h 549"/>
              <a:gd name="T66" fmla="*/ 294208 w 671"/>
              <a:gd name="T67" fmla="*/ 55259 h 549"/>
              <a:gd name="T68" fmla="*/ 275627 w 671"/>
              <a:gd name="T69" fmla="*/ 96308 h 549"/>
              <a:gd name="T70" fmla="*/ 262354 w 671"/>
              <a:gd name="T71" fmla="*/ 122622 h 549"/>
              <a:gd name="T72" fmla="*/ 252179 w 671"/>
              <a:gd name="T73" fmla="*/ 153146 h 549"/>
              <a:gd name="T74" fmla="*/ 243330 w 671"/>
              <a:gd name="T75" fmla="*/ 180512 h 549"/>
              <a:gd name="T76" fmla="*/ 232270 w 671"/>
              <a:gd name="T77" fmla="*/ 214194 h 549"/>
              <a:gd name="T78" fmla="*/ 228288 w 671"/>
              <a:gd name="T79" fmla="*/ 222088 h 549"/>
              <a:gd name="T80" fmla="*/ 221209 w 671"/>
              <a:gd name="T81" fmla="*/ 231035 h 549"/>
              <a:gd name="T82" fmla="*/ 213246 w 671"/>
              <a:gd name="T83" fmla="*/ 233140 h 549"/>
              <a:gd name="T84" fmla="*/ 203070 w 671"/>
              <a:gd name="T85" fmla="*/ 227351 h 549"/>
              <a:gd name="T86" fmla="*/ 194664 w 671"/>
              <a:gd name="T87" fmla="*/ 221562 h 549"/>
              <a:gd name="T88" fmla="*/ 180507 w 671"/>
              <a:gd name="T89" fmla="*/ 223141 h 549"/>
              <a:gd name="T90" fmla="*/ 168562 w 671"/>
              <a:gd name="T91" fmla="*/ 232087 h 549"/>
              <a:gd name="T92" fmla="*/ 161040 w 671"/>
              <a:gd name="T93" fmla="*/ 246823 h 549"/>
              <a:gd name="T94" fmla="*/ 151307 w 671"/>
              <a:gd name="T95" fmla="*/ 274189 h 549"/>
              <a:gd name="T96" fmla="*/ 143786 w 671"/>
              <a:gd name="T97" fmla="*/ 288925 h 549"/>
              <a:gd name="T98" fmla="*/ 101314 w 671"/>
              <a:gd name="T99" fmla="*/ 287346 h 549"/>
              <a:gd name="T100" fmla="*/ 96005 w 671"/>
              <a:gd name="T101" fmla="*/ 288399 h 549"/>
              <a:gd name="T102" fmla="*/ 79193 w 671"/>
              <a:gd name="T103" fmla="*/ 285767 h 549"/>
              <a:gd name="T104" fmla="*/ 71229 w 671"/>
              <a:gd name="T105" fmla="*/ 284189 h 549"/>
              <a:gd name="T106" fmla="*/ 63708 w 671"/>
              <a:gd name="T107" fmla="*/ 279452 h 549"/>
              <a:gd name="T108" fmla="*/ 57072 w 671"/>
              <a:gd name="T109" fmla="*/ 271032 h 549"/>
              <a:gd name="T110" fmla="*/ 52648 w 671"/>
              <a:gd name="T111" fmla="*/ 261032 h 549"/>
              <a:gd name="T112" fmla="*/ 49993 w 671"/>
              <a:gd name="T113" fmla="*/ 248402 h 549"/>
              <a:gd name="T114" fmla="*/ 44242 w 671"/>
              <a:gd name="T115" fmla="*/ 242087 h 549"/>
              <a:gd name="T116" fmla="*/ 36721 w 671"/>
              <a:gd name="T117" fmla="*/ 235245 h 549"/>
              <a:gd name="T118" fmla="*/ 27872 w 671"/>
              <a:gd name="T119" fmla="*/ 227351 h 549"/>
              <a:gd name="T120" fmla="*/ 17254 w 671"/>
              <a:gd name="T121" fmla="*/ 225772 h 549"/>
              <a:gd name="T122" fmla="*/ 0 w 671"/>
              <a:gd name="T123" fmla="*/ 230508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583" name="Freeform 33">
            <a:extLst>
              <a:ext uri="{FF2B5EF4-FFF2-40B4-BE49-F238E27FC236}">
                <a16:creationId xmlns:a16="http://schemas.microsoft.com/office/drawing/2014/main" id="{5AEB76C6-4832-427A-8883-2FAC78866FF3}"/>
              </a:ext>
            </a:extLst>
          </p:cNvPr>
          <p:cNvSpPr>
            <a:spLocks/>
          </p:cNvSpPr>
          <p:nvPr>
            <p:custDataLst>
              <p:tags r:id="rId28"/>
            </p:custDataLst>
          </p:nvPr>
        </p:nvSpPr>
        <p:spPr bwMode="auto">
          <a:xfrm>
            <a:off x="9587216" y="6392698"/>
            <a:ext cx="323364" cy="360415"/>
          </a:xfrm>
          <a:custGeom>
            <a:avLst/>
            <a:gdLst>
              <a:gd name="T0" fmla="*/ 138778 w 358"/>
              <a:gd name="T1" fmla="*/ 168304 h 327"/>
              <a:gd name="T2" fmla="*/ 140906 w 358"/>
              <a:gd name="T3" fmla="*/ 166745 h 327"/>
              <a:gd name="T4" fmla="*/ 143460 w 358"/>
              <a:gd name="T5" fmla="*/ 165187 h 327"/>
              <a:gd name="T6" fmla="*/ 147292 w 358"/>
              <a:gd name="T7" fmla="*/ 165187 h 327"/>
              <a:gd name="T8" fmla="*/ 151549 w 358"/>
              <a:gd name="T9" fmla="*/ 168304 h 327"/>
              <a:gd name="T10" fmla="*/ 135798 w 358"/>
              <a:gd name="T11" fmla="*/ 148045 h 327"/>
              <a:gd name="T12" fmla="*/ 118344 w 358"/>
              <a:gd name="T13" fmla="*/ 122072 h 327"/>
              <a:gd name="T14" fmla="*/ 107702 w 358"/>
              <a:gd name="T15" fmla="*/ 105969 h 327"/>
              <a:gd name="T16" fmla="*/ 98762 w 358"/>
              <a:gd name="T17" fmla="*/ 96619 h 327"/>
              <a:gd name="T18" fmla="*/ 93228 w 358"/>
              <a:gd name="T19" fmla="*/ 94021 h 327"/>
              <a:gd name="T20" fmla="*/ 88545 w 358"/>
              <a:gd name="T21" fmla="*/ 93502 h 327"/>
              <a:gd name="T22" fmla="*/ 85565 w 358"/>
              <a:gd name="T23" fmla="*/ 92983 h 327"/>
              <a:gd name="T24" fmla="*/ 84714 w 358"/>
              <a:gd name="T25" fmla="*/ 90385 h 327"/>
              <a:gd name="T26" fmla="*/ 84288 w 358"/>
              <a:gd name="T27" fmla="*/ 88307 h 327"/>
              <a:gd name="T28" fmla="*/ 83011 w 358"/>
              <a:gd name="T29" fmla="*/ 87788 h 327"/>
              <a:gd name="T30" fmla="*/ 78328 w 358"/>
              <a:gd name="T31" fmla="*/ 89346 h 327"/>
              <a:gd name="T32" fmla="*/ 72794 w 358"/>
              <a:gd name="T33" fmla="*/ 89346 h 327"/>
              <a:gd name="T34" fmla="*/ 70240 w 358"/>
              <a:gd name="T35" fmla="*/ 87269 h 327"/>
              <a:gd name="T36" fmla="*/ 68112 w 358"/>
              <a:gd name="T37" fmla="*/ 83632 h 327"/>
              <a:gd name="T38" fmla="*/ 64706 w 358"/>
              <a:gd name="T39" fmla="*/ 74802 h 327"/>
              <a:gd name="T40" fmla="*/ 60875 w 358"/>
              <a:gd name="T41" fmla="*/ 68049 h 327"/>
              <a:gd name="T42" fmla="*/ 56618 w 358"/>
              <a:gd name="T43" fmla="*/ 61815 h 327"/>
              <a:gd name="T44" fmla="*/ 54064 w 358"/>
              <a:gd name="T45" fmla="*/ 54543 h 327"/>
              <a:gd name="T46" fmla="*/ 51935 w 358"/>
              <a:gd name="T47" fmla="*/ 43634 h 327"/>
              <a:gd name="T48" fmla="*/ 50658 w 358"/>
              <a:gd name="T49" fmla="*/ 27531 h 327"/>
              <a:gd name="T50" fmla="*/ 49807 w 358"/>
              <a:gd name="T51" fmla="*/ 11947 h 327"/>
              <a:gd name="T52" fmla="*/ 47678 w 358"/>
              <a:gd name="T53" fmla="*/ 0 h 327"/>
              <a:gd name="T54" fmla="*/ 31076 w 358"/>
              <a:gd name="T55" fmla="*/ 13506 h 327"/>
              <a:gd name="T56" fmla="*/ 25968 w 358"/>
              <a:gd name="T57" fmla="*/ 17142 h 327"/>
              <a:gd name="T58" fmla="*/ 14048 w 358"/>
              <a:gd name="T59" fmla="*/ 25973 h 327"/>
              <a:gd name="T60" fmla="*/ 8940 w 358"/>
              <a:gd name="T61" fmla="*/ 31687 h 327"/>
              <a:gd name="T62" fmla="*/ 7237 w 358"/>
              <a:gd name="T63" fmla="*/ 37401 h 327"/>
              <a:gd name="T64" fmla="*/ 6811 w 358"/>
              <a:gd name="T65" fmla="*/ 43115 h 327"/>
              <a:gd name="T66" fmla="*/ 8514 w 358"/>
              <a:gd name="T67" fmla="*/ 48309 h 327"/>
              <a:gd name="T68" fmla="*/ 9365 w 358"/>
              <a:gd name="T69" fmla="*/ 51946 h 327"/>
              <a:gd name="T70" fmla="*/ 8514 w 358"/>
              <a:gd name="T71" fmla="*/ 57140 h 327"/>
              <a:gd name="T72" fmla="*/ 6385 w 358"/>
              <a:gd name="T73" fmla="*/ 63893 h 327"/>
              <a:gd name="T74" fmla="*/ 2980 w 358"/>
              <a:gd name="T75" fmla="*/ 70646 h 327"/>
              <a:gd name="T76" fmla="*/ 0 w 358"/>
              <a:gd name="T77" fmla="*/ 80516 h 327"/>
              <a:gd name="T78" fmla="*/ 0 w 358"/>
              <a:gd name="T79" fmla="*/ 90385 h 327"/>
              <a:gd name="T80" fmla="*/ 2128 w 358"/>
              <a:gd name="T81" fmla="*/ 94541 h 327"/>
              <a:gd name="T82" fmla="*/ 4683 w 358"/>
              <a:gd name="T83" fmla="*/ 97138 h 327"/>
              <a:gd name="T84" fmla="*/ 8514 w 358"/>
              <a:gd name="T85" fmla="*/ 96619 h 327"/>
              <a:gd name="T86" fmla="*/ 18731 w 358"/>
              <a:gd name="T87" fmla="*/ 87269 h 327"/>
              <a:gd name="T88" fmla="*/ 25542 w 358"/>
              <a:gd name="T89" fmla="*/ 83632 h 327"/>
              <a:gd name="T90" fmla="*/ 32353 w 358"/>
              <a:gd name="T91" fmla="*/ 77918 h 327"/>
              <a:gd name="T92" fmla="*/ 39590 w 358"/>
              <a:gd name="T93" fmla="*/ 82593 h 327"/>
              <a:gd name="T94" fmla="*/ 46827 w 358"/>
              <a:gd name="T95" fmla="*/ 85191 h 327"/>
              <a:gd name="T96" fmla="*/ 60449 w 358"/>
              <a:gd name="T97" fmla="*/ 93502 h 327"/>
              <a:gd name="T98" fmla="*/ 69389 w 358"/>
              <a:gd name="T99" fmla="*/ 98697 h 327"/>
              <a:gd name="T100" fmla="*/ 83437 w 358"/>
              <a:gd name="T101" fmla="*/ 108566 h 327"/>
              <a:gd name="T102" fmla="*/ 93228 w 358"/>
              <a:gd name="T103" fmla="*/ 116878 h 327"/>
              <a:gd name="T104" fmla="*/ 104296 w 358"/>
              <a:gd name="T105" fmla="*/ 126747 h 327"/>
              <a:gd name="T106" fmla="*/ 108979 w 358"/>
              <a:gd name="T107" fmla="*/ 131942 h 327"/>
              <a:gd name="T108" fmla="*/ 113661 w 358"/>
              <a:gd name="T109" fmla="*/ 140253 h 327"/>
              <a:gd name="T110" fmla="*/ 114513 w 358"/>
              <a:gd name="T111" fmla="*/ 144928 h 327"/>
              <a:gd name="T112" fmla="*/ 114513 w 358"/>
              <a:gd name="T113" fmla="*/ 148564 h 327"/>
              <a:gd name="T114" fmla="*/ 114939 w 358"/>
              <a:gd name="T115" fmla="*/ 150642 h 327"/>
              <a:gd name="T116" fmla="*/ 117493 w 358"/>
              <a:gd name="T117" fmla="*/ 151681 h 327"/>
              <a:gd name="T118" fmla="*/ 124304 w 358"/>
              <a:gd name="T119" fmla="*/ 156876 h 327"/>
              <a:gd name="T120" fmla="*/ 135372 w 358"/>
              <a:gd name="T121" fmla="*/ 166745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584" name="Freeform 34">
            <a:extLst>
              <a:ext uri="{FF2B5EF4-FFF2-40B4-BE49-F238E27FC236}">
                <a16:creationId xmlns:a16="http://schemas.microsoft.com/office/drawing/2014/main" id="{E4ECAEFD-A5B9-4CB9-88C9-6BDC5AAF1435}"/>
              </a:ext>
            </a:extLst>
          </p:cNvPr>
          <p:cNvSpPr>
            <a:spLocks/>
          </p:cNvSpPr>
          <p:nvPr>
            <p:custDataLst>
              <p:tags r:id="rId29"/>
            </p:custDataLst>
          </p:nvPr>
        </p:nvSpPr>
        <p:spPr bwMode="auto">
          <a:xfrm>
            <a:off x="8445336" y="4280726"/>
            <a:ext cx="266103" cy="121262"/>
          </a:xfrm>
          <a:custGeom>
            <a:avLst/>
            <a:gdLst>
              <a:gd name="T0" fmla="*/ 54117 w 292"/>
              <a:gd name="T1" fmla="*/ 0 h 99"/>
              <a:gd name="T2" fmla="*/ 65713 w 292"/>
              <a:gd name="T3" fmla="*/ 0 h 99"/>
              <a:gd name="T4" fmla="*/ 85040 w 292"/>
              <a:gd name="T5" fmla="*/ 577 h 99"/>
              <a:gd name="T6" fmla="*/ 107374 w 292"/>
              <a:gd name="T7" fmla="*/ 3464 h 99"/>
              <a:gd name="T8" fmla="*/ 125413 w 292"/>
              <a:gd name="T9" fmla="*/ 4041 h 99"/>
              <a:gd name="T10" fmla="*/ 124554 w 292"/>
              <a:gd name="T11" fmla="*/ 11545 h 99"/>
              <a:gd name="T12" fmla="*/ 122407 w 292"/>
              <a:gd name="T13" fmla="*/ 19050 h 99"/>
              <a:gd name="T14" fmla="*/ 119830 w 292"/>
              <a:gd name="T15" fmla="*/ 31750 h 99"/>
              <a:gd name="T16" fmla="*/ 57982 w 292"/>
              <a:gd name="T17" fmla="*/ 40409 h 99"/>
              <a:gd name="T18" fmla="*/ 42520 w 292"/>
              <a:gd name="T19" fmla="*/ 51377 h 99"/>
              <a:gd name="T20" fmla="*/ 33930 w 292"/>
              <a:gd name="T21" fmla="*/ 55418 h 99"/>
              <a:gd name="T22" fmla="*/ 28347 w 292"/>
              <a:gd name="T23" fmla="*/ 56573 h 99"/>
              <a:gd name="T24" fmla="*/ 23622 w 292"/>
              <a:gd name="T25" fmla="*/ 56573 h 99"/>
              <a:gd name="T26" fmla="*/ 19327 w 292"/>
              <a:gd name="T27" fmla="*/ 54264 h 99"/>
              <a:gd name="T28" fmla="*/ 14173 w 292"/>
              <a:gd name="T29" fmla="*/ 49645 h 99"/>
              <a:gd name="T30" fmla="*/ 8590 w 292"/>
              <a:gd name="T31" fmla="*/ 44450 h 99"/>
              <a:gd name="T32" fmla="*/ 3006 w 292"/>
              <a:gd name="T33" fmla="*/ 39832 h 99"/>
              <a:gd name="T34" fmla="*/ 429 w 292"/>
              <a:gd name="T35" fmla="*/ 32905 h 99"/>
              <a:gd name="T36" fmla="*/ 0 w 292"/>
              <a:gd name="T37" fmla="*/ 24245 h 99"/>
              <a:gd name="T38" fmla="*/ 429 w 292"/>
              <a:gd name="T39" fmla="*/ 14432 h 99"/>
              <a:gd name="T40" fmla="*/ 1288 w 292"/>
              <a:gd name="T41" fmla="*/ 11545 h 99"/>
              <a:gd name="T42" fmla="*/ 3865 w 292"/>
              <a:gd name="T43" fmla="*/ 10391 h 99"/>
              <a:gd name="T44" fmla="*/ 6442 w 292"/>
              <a:gd name="T45" fmla="*/ 12123 h 99"/>
              <a:gd name="T46" fmla="*/ 10737 w 292"/>
              <a:gd name="T47" fmla="*/ 16164 h 99"/>
              <a:gd name="T48" fmla="*/ 15032 w 292"/>
              <a:gd name="T49" fmla="*/ 18473 h 99"/>
              <a:gd name="T50" fmla="*/ 19327 w 292"/>
              <a:gd name="T51" fmla="*/ 19627 h 99"/>
              <a:gd name="T52" fmla="*/ 23193 w 292"/>
              <a:gd name="T53" fmla="*/ 19050 h 99"/>
              <a:gd name="T54" fmla="*/ 28776 w 292"/>
              <a:gd name="T55" fmla="*/ 16741 h 99"/>
              <a:gd name="T56" fmla="*/ 34789 w 292"/>
              <a:gd name="T57" fmla="*/ 10968 h 99"/>
              <a:gd name="T58" fmla="*/ 37796 w 292"/>
              <a:gd name="T59" fmla="*/ 6350 h 99"/>
              <a:gd name="T60" fmla="*/ 40373 w 292"/>
              <a:gd name="T61" fmla="*/ 3464 h 99"/>
              <a:gd name="T62" fmla="*/ 46815 w 292"/>
              <a:gd name="T63" fmla="*/ 57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585" name="Freeform 35">
            <a:extLst>
              <a:ext uri="{FF2B5EF4-FFF2-40B4-BE49-F238E27FC236}">
                <a16:creationId xmlns:a16="http://schemas.microsoft.com/office/drawing/2014/main" id="{20BD1603-AE6C-46F7-A60A-8AE525693C92}"/>
              </a:ext>
            </a:extLst>
          </p:cNvPr>
          <p:cNvSpPr>
            <a:spLocks/>
          </p:cNvSpPr>
          <p:nvPr>
            <p:custDataLst>
              <p:tags r:id="rId30"/>
            </p:custDataLst>
          </p:nvPr>
        </p:nvSpPr>
        <p:spPr bwMode="auto">
          <a:xfrm>
            <a:off x="10277732" y="5809968"/>
            <a:ext cx="40421" cy="121262"/>
          </a:xfrm>
          <a:custGeom>
            <a:avLst/>
            <a:gdLst>
              <a:gd name="T0" fmla="*/ 17278 w 43"/>
              <a:gd name="T1" fmla="*/ 57150 h 93"/>
              <a:gd name="T2" fmla="*/ 13734 w 43"/>
              <a:gd name="T3" fmla="*/ 55921 h 93"/>
              <a:gd name="T4" fmla="*/ 11519 w 43"/>
              <a:gd name="T5" fmla="*/ 54692 h 93"/>
              <a:gd name="T6" fmla="*/ 9303 w 43"/>
              <a:gd name="T7" fmla="*/ 53463 h 93"/>
              <a:gd name="T8" fmla="*/ 7974 w 43"/>
              <a:gd name="T9" fmla="*/ 51619 h 93"/>
              <a:gd name="T10" fmla="*/ 6645 w 43"/>
              <a:gd name="T11" fmla="*/ 48547 h 93"/>
              <a:gd name="T12" fmla="*/ 6202 w 43"/>
              <a:gd name="T13" fmla="*/ 44860 h 93"/>
              <a:gd name="T14" fmla="*/ 5759 w 43"/>
              <a:gd name="T15" fmla="*/ 39944 h 93"/>
              <a:gd name="T16" fmla="*/ 4873 w 43"/>
              <a:gd name="T17" fmla="*/ 33798 h 93"/>
              <a:gd name="T18" fmla="*/ 4873 w 43"/>
              <a:gd name="T19" fmla="*/ 29497 h 93"/>
              <a:gd name="T20" fmla="*/ 3987 w 43"/>
              <a:gd name="T21" fmla="*/ 25810 h 93"/>
              <a:gd name="T22" fmla="*/ 2658 w 43"/>
              <a:gd name="T23" fmla="*/ 23352 h 93"/>
              <a:gd name="T24" fmla="*/ 1772 w 43"/>
              <a:gd name="T25" fmla="*/ 22123 h 93"/>
              <a:gd name="T26" fmla="*/ 886 w 43"/>
              <a:gd name="T27" fmla="*/ 20894 h 93"/>
              <a:gd name="T28" fmla="*/ 0 w 43"/>
              <a:gd name="T29" fmla="*/ 19665 h 93"/>
              <a:gd name="T30" fmla="*/ 886 w 43"/>
              <a:gd name="T31" fmla="*/ 17821 h 93"/>
              <a:gd name="T32" fmla="*/ 2215 w 43"/>
              <a:gd name="T33" fmla="*/ 14748 h 93"/>
              <a:gd name="T34" fmla="*/ 2658 w 43"/>
              <a:gd name="T35" fmla="*/ 17206 h 93"/>
              <a:gd name="T36" fmla="*/ 3101 w 43"/>
              <a:gd name="T37" fmla="*/ 17821 h 93"/>
              <a:gd name="T38" fmla="*/ 3544 w 43"/>
              <a:gd name="T39" fmla="*/ 18435 h 93"/>
              <a:gd name="T40" fmla="*/ 3987 w 43"/>
              <a:gd name="T41" fmla="*/ 17821 h 93"/>
              <a:gd name="T42" fmla="*/ 4873 w 43"/>
              <a:gd name="T43" fmla="*/ 15363 h 93"/>
              <a:gd name="T44" fmla="*/ 6202 w 43"/>
              <a:gd name="T45" fmla="*/ 11676 h 93"/>
              <a:gd name="T46" fmla="*/ 7088 w 43"/>
              <a:gd name="T47" fmla="*/ 7374 h 93"/>
              <a:gd name="T48" fmla="*/ 8860 w 43"/>
              <a:gd name="T49" fmla="*/ 3687 h 93"/>
              <a:gd name="T50" fmla="*/ 9747 w 43"/>
              <a:gd name="T51" fmla="*/ 2458 h 93"/>
              <a:gd name="T52" fmla="*/ 11076 w 43"/>
              <a:gd name="T53" fmla="*/ 1229 h 93"/>
              <a:gd name="T54" fmla="*/ 12405 w 43"/>
              <a:gd name="T55" fmla="*/ 0 h 93"/>
              <a:gd name="T56" fmla="*/ 14177 w 43"/>
              <a:gd name="T57" fmla="*/ 0 h 93"/>
              <a:gd name="T58" fmla="*/ 14620 w 43"/>
              <a:gd name="T59" fmla="*/ 6145 h 93"/>
              <a:gd name="T60" fmla="*/ 14620 w 43"/>
              <a:gd name="T61" fmla="*/ 9832 h 93"/>
              <a:gd name="T62" fmla="*/ 14620 w 43"/>
              <a:gd name="T63" fmla="*/ 12290 h 93"/>
              <a:gd name="T64" fmla="*/ 14177 w 43"/>
              <a:gd name="T65" fmla="*/ 14134 h 93"/>
              <a:gd name="T66" fmla="*/ 14177 w 43"/>
              <a:gd name="T67" fmla="*/ 16592 h 93"/>
              <a:gd name="T68" fmla="*/ 14177 w 43"/>
              <a:gd name="T69" fmla="*/ 19050 h 93"/>
              <a:gd name="T70" fmla="*/ 15506 w 43"/>
              <a:gd name="T71" fmla="*/ 22123 h 93"/>
              <a:gd name="T72" fmla="*/ 17278 w 43"/>
              <a:gd name="T73" fmla="*/ 26424 h 93"/>
              <a:gd name="T74" fmla="*/ 16835 w 43"/>
              <a:gd name="T75" fmla="*/ 27039 h 93"/>
              <a:gd name="T76" fmla="*/ 16392 w 43"/>
              <a:gd name="T77" fmla="*/ 27653 h 93"/>
              <a:gd name="T78" fmla="*/ 16392 w 43"/>
              <a:gd name="T79" fmla="*/ 29497 h 93"/>
              <a:gd name="T80" fmla="*/ 16835 w 43"/>
              <a:gd name="T81" fmla="*/ 31340 h 93"/>
              <a:gd name="T82" fmla="*/ 17278 w 43"/>
              <a:gd name="T83" fmla="*/ 36256 h 93"/>
              <a:gd name="T84" fmla="*/ 18164 w 43"/>
              <a:gd name="T85" fmla="*/ 41787 h 93"/>
              <a:gd name="T86" fmla="*/ 18607 w 43"/>
              <a:gd name="T87" fmla="*/ 46703 h 93"/>
              <a:gd name="T88" fmla="*/ 19050 w 43"/>
              <a:gd name="T89" fmla="*/ 52234 h 93"/>
              <a:gd name="T90" fmla="*/ 19050 w 43"/>
              <a:gd name="T91" fmla="*/ 54077 h 93"/>
              <a:gd name="T92" fmla="*/ 18607 w 43"/>
              <a:gd name="T93" fmla="*/ 55921 h 93"/>
              <a:gd name="T94" fmla="*/ 17721 w 43"/>
              <a:gd name="T95" fmla="*/ 56535 h 93"/>
              <a:gd name="T96" fmla="*/ 17278 w 43"/>
              <a:gd name="T97" fmla="*/ 5715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586" name="Freeform 36">
            <a:extLst>
              <a:ext uri="{FF2B5EF4-FFF2-40B4-BE49-F238E27FC236}">
                <a16:creationId xmlns:a16="http://schemas.microsoft.com/office/drawing/2014/main" id="{2B01293B-D05B-48F9-8282-20C76D1DA722}"/>
              </a:ext>
            </a:extLst>
          </p:cNvPr>
          <p:cNvSpPr>
            <a:spLocks/>
          </p:cNvSpPr>
          <p:nvPr>
            <p:custDataLst>
              <p:tags r:id="rId31"/>
            </p:custDataLst>
          </p:nvPr>
        </p:nvSpPr>
        <p:spPr bwMode="auto">
          <a:xfrm>
            <a:off x="10530361" y="5820074"/>
            <a:ext cx="30314" cy="121262"/>
          </a:xfrm>
          <a:custGeom>
            <a:avLst/>
            <a:gdLst>
              <a:gd name="T0" fmla="*/ 14287 w 40"/>
              <a:gd name="T1" fmla="*/ 57150 h 56"/>
              <a:gd name="T2" fmla="*/ 13215 w 40"/>
              <a:gd name="T3" fmla="*/ 46945 h 56"/>
              <a:gd name="T4" fmla="*/ 11787 w 40"/>
              <a:gd name="T5" fmla="*/ 38780 h 56"/>
              <a:gd name="T6" fmla="*/ 10001 w 40"/>
              <a:gd name="T7" fmla="*/ 32657 h 56"/>
              <a:gd name="T8" fmla="*/ 8215 w 40"/>
              <a:gd name="T9" fmla="*/ 28575 h 56"/>
              <a:gd name="T10" fmla="*/ 3929 w 40"/>
              <a:gd name="T11" fmla="*/ 21431 h 56"/>
              <a:gd name="T12" fmla="*/ 0 w 40"/>
              <a:gd name="T13" fmla="*/ 12246 h 56"/>
              <a:gd name="T14" fmla="*/ 4643 w 40"/>
              <a:gd name="T15" fmla="*/ 4082 h 56"/>
              <a:gd name="T16" fmla="*/ 7144 w 40"/>
              <a:gd name="T17" fmla="*/ 0 h 56"/>
              <a:gd name="T18" fmla="*/ 10001 w 40"/>
              <a:gd name="T19" fmla="*/ 12246 h 56"/>
              <a:gd name="T20" fmla="*/ 12501 w 40"/>
              <a:gd name="T21" fmla="*/ 22452 h 56"/>
              <a:gd name="T22" fmla="*/ 13215 w 40"/>
              <a:gd name="T23" fmla="*/ 25513 h 56"/>
              <a:gd name="T24" fmla="*/ 13930 w 40"/>
              <a:gd name="T25" fmla="*/ 29596 h 56"/>
              <a:gd name="T26" fmla="*/ 13930 w 40"/>
              <a:gd name="T27" fmla="*/ 33678 h 56"/>
              <a:gd name="T28" fmla="*/ 14287 w 40"/>
              <a:gd name="T29" fmla="*/ 37760 h 56"/>
              <a:gd name="T30" fmla="*/ 14287 w 40"/>
              <a:gd name="T31" fmla="*/ 44904 h 56"/>
              <a:gd name="T32" fmla="*/ 14287 w 40"/>
              <a:gd name="T33" fmla="*/ 46945 h 56"/>
              <a:gd name="T34" fmla="*/ 14287 w 40"/>
              <a:gd name="T35" fmla="*/ 50006 h 56"/>
              <a:gd name="T36" fmla="*/ 14287 w 40"/>
              <a:gd name="T37" fmla="*/ 57150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587" name="Freeform 37">
            <a:extLst>
              <a:ext uri="{FF2B5EF4-FFF2-40B4-BE49-F238E27FC236}">
                <a16:creationId xmlns:a16="http://schemas.microsoft.com/office/drawing/2014/main" id="{B69E0F39-BBA4-45BD-9146-427F7F8BAD9E}"/>
              </a:ext>
            </a:extLst>
          </p:cNvPr>
          <p:cNvSpPr>
            <a:spLocks/>
          </p:cNvSpPr>
          <p:nvPr>
            <p:custDataLst>
              <p:tags r:id="rId32"/>
            </p:custDataLst>
          </p:nvPr>
        </p:nvSpPr>
        <p:spPr bwMode="auto">
          <a:xfrm>
            <a:off x="13686528" y="7221318"/>
            <a:ext cx="94315" cy="121262"/>
          </a:xfrm>
          <a:custGeom>
            <a:avLst/>
            <a:gdLst>
              <a:gd name="T0" fmla="*/ 0 w 106"/>
              <a:gd name="T1" fmla="*/ 5635 h 71"/>
              <a:gd name="T2" fmla="*/ 5032 w 106"/>
              <a:gd name="T3" fmla="*/ 8049 h 71"/>
              <a:gd name="T4" fmla="*/ 10064 w 106"/>
              <a:gd name="T5" fmla="*/ 9659 h 71"/>
              <a:gd name="T6" fmla="*/ 14677 w 106"/>
              <a:gd name="T7" fmla="*/ 10464 h 71"/>
              <a:gd name="T8" fmla="*/ 18870 w 106"/>
              <a:gd name="T9" fmla="*/ 10464 h 71"/>
              <a:gd name="T10" fmla="*/ 22644 w 106"/>
              <a:gd name="T11" fmla="*/ 8854 h 71"/>
              <a:gd name="T12" fmla="*/ 25580 w 106"/>
              <a:gd name="T13" fmla="*/ 6439 h 71"/>
              <a:gd name="T14" fmla="*/ 28515 w 106"/>
              <a:gd name="T15" fmla="*/ 4025 h 71"/>
              <a:gd name="T16" fmla="*/ 31031 w 106"/>
              <a:gd name="T17" fmla="*/ 0 h 71"/>
              <a:gd name="T18" fmla="*/ 35225 w 106"/>
              <a:gd name="T19" fmla="*/ 12879 h 71"/>
              <a:gd name="T20" fmla="*/ 39418 w 106"/>
              <a:gd name="T21" fmla="*/ 24148 h 71"/>
              <a:gd name="T22" fmla="*/ 42353 w 106"/>
              <a:gd name="T23" fmla="*/ 35417 h 71"/>
              <a:gd name="T24" fmla="*/ 44031 w 106"/>
              <a:gd name="T25" fmla="*/ 44271 h 71"/>
              <a:gd name="T26" fmla="*/ 44450 w 106"/>
              <a:gd name="T27" fmla="*/ 48296 h 71"/>
              <a:gd name="T28" fmla="*/ 44450 w 106"/>
              <a:gd name="T29" fmla="*/ 50711 h 71"/>
              <a:gd name="T30" fmla="*/ 44031 w 106"/>
              <a:gd name="T31" fmla="*/ 53930 h 71"/>
              <a:gd name="T32" fmla="*/ 43192 w 106"/>
              <a:gd name="T33" fmla="*/ 55540 h 71"/>
              <a:gd name="T34" fmla="*/ 42353 w 106"/>
              <a:gd name="T35" fmla="*/ 56345 h 71"/>
              <a:gd name="T36" fmla="*/ 41095 w 106"/>
              <a:gd name="T37" fmla="*/ 56345 h 71"/>
              <a:gd name="T38" fmla="*/ 38579 w 106"/>
              <a:gd name="T39" fmla="*/ 56345 h 71"/>
              <a:gd name="T40" fmla="*/ 36483 w 106"/>
              <a:gd name="T41" fmla="*/ 54735 h 71"/>
              <a:gd name="T42" fmla="*/ 31031 w 106"/>
              <a:gd name="T43" fmla="*/ 56345 h 71"/>
              <a:gd name="T44" fmla="*/ 26418 w 106"/>
              <a:gd name="T45" fmla="*/ 57150 h 71"/>
              <a:gd name="T46" fmla="*/ 22225 w 106"/>
              <a:gd name="T47" fmla="*/ 55540 h 71"/>
              <a:gd name="T48" fmla="*/ 18870 w 106"/>
              <a:gd name="T49" fmla="*/ 53125 h 71"/>
              <a:gd name="T50" fmla="*/ 15516 w 106"/>
              <a:gd name="T51" fmla="*/ 49906 h 71"/>
              <a:gd name="T52" fmla="*/ 13419 w 106"/>
              <a:gd name="T53" fmla="*/ 45881 h 71"/>
              <a:gd name="T54" fmla="*/ 11322 w 106"/>
              <a:gd name="T55" fmla="*/ 41051 h 71"/>
              <a:gd name="T56" fmla="*/ 10064 w 106"/>
              <a:gd name="T57" fmla="*/ 36222 h 71"/>
              <a:gd name="T58" fmla="*/ 8806 w 106"/>
              <a:gd name="T59" fmla="*/ 30587 h 71"/>
              <a:gd name="T60" fmla="*/ 8387 w 106"/>
              <a:gd name="T61" fmla="*/ 24148 h 71"/>
              <a:gd name="T62" fmla="*/ 7967 w 106"/>
              <a:gd name="T63" fmla="*/ 19318 h 71"/>
              <a:gd name="T64" fmla="*/ 7548 w 106"/>
              <a:gd name="T65" fmla="*/ 15294 h 71"/>
              <a:gd name="T66" fmla="*/ 7548 w 106"/>
              <a:gd name="T67" fmla="*/ 11269 h 71"/>
              <a:gd name="T68" fmla="*/ 7967 w 106"/>
              <a:gd name="T69" fmla="*/ 8049 h 71"/>
              <a:gd name="T70" fmla="*/ 8387 w 106"/>
              <a:gd name="T71" fmla="*/ 5635 h 71"/>
              <a:gd name="T72" fmla="*/ 8806 w 106"/>
              <a:gd name="T73" fmla="*/ 5635 h 71"/>
              <a:gd name="T74" fmla="*/ 8387 w 106"/>
              <a:gd name="T75" fmla="*/ 8049 h 71"/>
              <a:gd name="T76" fmla="*/ 7967 w 106"/>
              <a:gd name="T77" fmla="*/ 12879 h 71"/>
              <a:gd name="T78" fmla="*/ 7967 w 106"/>
              <a:gd name="T79" fmla="*/ 13684 h 71"/>
              <a:gd name="T80" fmla="*/ 7967 w 106"/>
              <a:gd name="T81" fmla="*/ 13684 h 71"/>
              <a:gd name="T82" fmla="*/ 8387 w 106"/>
              <a:gd name="T83" fmla="*/ 13684 h 71"/>
              <a:gd name="T84" fmla="*/ 8806 w 106"/>
              <a:gd name="T85" fmla="*/ 13684 h 71"/>
              <a:gd name="T86" fmla="*/ 9645 w 106"/>
              <a:gd name="T87" fmla="*/ 10464 h 71"/>
              <a:gd name="T88" fmla="*/ 11322 w 106"/>
              <a:gd name="T89" fmla="*/ 5635 h 71"/>
              <a:gd name="T90" fmla="*/ 0 w 106"/>
              <a:gd name="T91" fmla="*/ 5635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grpSp>
        <p:nvGrpSpPr>
          <p:cNvPr id="588" name="Group 38">
            <a:extLst>
              <a:ext uri="{FF2B5EF4-FFF2-40B4-BE49-F238E27FC236}">
                <a16:creationId xmlns:a16="http://schemas.microsoft.com/office/drawing/2014/main" id="{547B43C0-220D-4D62-B95D-31ED8FBBDB73}"/>
              </a:ext>
            </a:extLst>
          </p:cNvPr>
          <p:cNvGrpSpPr>
            <a:grpSpLocks/>
          </p:cNvGrpSpPr>
          <p:nvPr>
            <p:custDataLst>
              <p:tags r:id="rId33"/>
            </p:custDataLst>
          </p:nvPr>
        </p:nvGrpSpPr>
        <p:grpSpPr bwMode="auto">
          <a:xfrm>
            <a:off x="4884965" y="11057897"/>
            <a:ext cx="138102" cy="117894"/>
            <a:chOff x="1654" y="3671"/>
            <a:chExt cx="49" cy="17"/>
          </a:xfrm>
          <a:solidFill>
            <a:schemeClr val="bg2">
              <a:lumMod val="50000"/>
              <a:alpha val="18000"/>
            </a:schemeClr>
          </a:solidFill>
        </p:grpSpPr>
        <p:sp>
          <p:nvSpPr>
            <p:cNvPr id="589" name="Freeform 39">
              <a:extLst>
                <a:ext uri="{FF2B5EF4-FFF2-40B4-BE49-F238E27FC236}">
                  <a16:creationId xmlns:a16="http://schemas.microsoft.com/office/drawing/2014/main" id="{B61FD7D6-16F8-446E-87F2-5BEDA7ACEC5C}"/>
                </a:ext>
              </a:extLst>
            </p:cNvPr>
            <p:cNvSpPr>
              <a:spLocks/>
            </p:cNvSpPr>
            <p:nvPr/>
          </p:nvSpPr>
          <p:spPr bwMode="auto">
            <a:xfrm>
              <a:off x="1654" y="3672"/>
              <a:ext cx="20" cy="14"/>
            </a:xfrm>
            <a:custGeom>
              <a:avLst/>
              <a:gdLst>
                <a:gd name="T0" fmla="*/ 9 w 59"/>
                <a:gd name="T1" fmla="*/ 14 h 43"/>
                <a:gd name="T2" fmla="*/ 20 w 59"/>
                <a:gd name="T3" fmla="*/ 6 h 43"/>
                <a:gd name="T4" fmla="*/ 19 w 59"/>
                <a:gd name="T5" fmla="*/ 5 h 43"/>
                <a:gd name="T6" fmla="*/ 17 w 59"/>
                <a:gd name="T7" fmla="*/ 3 h 43"/>
                <a:gd name="T8" fmla="*/ 16 w 59"/>
                <a:gd name="T9" fmla="*/ 2 h 43"/>
                <a:gd name="T10" fmla="*/ 16 w 59"/>
                <a:gd name="T11" fmla="*/ 0 h 43"/>
                <a:gd name="T12" fmla="*/ 14 w 59"/>
                <a:gd name="T13" fmla="*/ 0 h 43"/>
                <a:gd name="T14" fmla="*/ 12 w 59"/>
                <a:gd name="T15" fmla="*/ 1 h 43"/>
                <a:gd name="T16" fmla="*/ 11 w 59"/>
                <a:gd name="T17" fmla="*/ 2 h 43"/>
                <a:gd name="T18" fmla="*/ 10 w 59"/>
                <a:gd name="T19" fmla="*/ 3 h 43"/>
                <a:gd name="T20" fmla="*/ 9 w 59"/>
                <a:gd name="T21" fmla="*/ 3 h 43"/>
                <a:gd name="T22" fmla="*/ 9 w 59"/>
                <a:gd name="T23" fmla="*/ 4 h 43"/>
                <a:gd name="T24" fmla="*/ 7 w 59"/>
                <a:gd name="T25" fmla="*/ 4 h 43"/>
                <a:gd name="T26" fmla="*/ 4 w 59"/>
                <a:gd name="T27" fmla="*/ 5 h 43"/>
                <a:gd name="T28" fmla="*/ 2 w 59"/>
                <a:gd name="T29" fmla="*/ 7 h 43"/>
                <a:gd name="T30" fmla="*/ 0 w 59"/>
                <a:gd name="T31" fmla="*/ 8 h 43"/>
                <a:gd name="T32" fmla="*/ 2 w 59"/>
                <a:gd name="T33" fmla="*/ 9 h 43"/>
                <a:gd name="T34" fmla="*/ 3 w 59"/>
                <a:gd name="T35" fmla="*/ 11 h 43"/>
                <a:gd name="T36" fmla="*/ 6 w 59"/>
                <a:gd name="T37" fmla="*/ 13 h 43"/>
                <a:gd name="T38" fmla="*/ 9 w 59"/>
                <a:gd name="T39" fmla="*/ 14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9525" cmpd="sng">
              <a:solidFill>
                <a:srgbClr val="FFFFFF"/>
              </a:solidFill>
              <a:prstDash val="solid"/>
              <a:round/>
              <a:headEnd/>
              <a:tailEnd/>
            </a:ln>
          </p:spPr>
          <p:txBody>
            <a:bodyPr/>
            <a:lstStyle/>
            <a:p>
              <a:endParaRPr lang="es-ES" dirty="0"/>
            </a:p>
          </p:txBody>
        </p:sp>
        <p:sp>
          <p:nvSpPr>
            <p:cNvPr id="590" name="Freeform 40">
              <a:extLst>
                <a:ext uri="{FF2B5EF4-FFF2-40B4-BE49-F238E27FC236}">
                  <a16:creationId xmlns:a16="http://schemas.microsoft.com/office/drawing/2014/main" id="{8FC14F5B-B284-4194-9000-4806F858916A}"/>
                </a:ext>
              </a:extLst>
            </p:cNvPr>
            <p:cNvSpPr>
              <a:spLocks/>
            </p:cNvSpPr>
            <p:nvPr/>
          </p:nvSpPr>
          <p:spPr bwMode="auto">
            <a:xfrm>
              <a:off x="1681" y="3671"/>
              <a:ext cx="22" cy="17"/>
            </a:xfrm>
            <a:custGeom>
              <a:avLst/>
              <a:gdLst>
                <a:gd name="T0" fmla="*/ 0 w 67"/>
                <a:gd name="T1" fmla="*/ 1 h 51"/>
                <a:gd name="T2" fmla="*/ 8 w 67"/>
                <a:gd name="T3" fmla="*/ 0 h 51"/>
                <a:gd name="T4" fmla="*/ 13 w 67"/>
                <a:gd name="T5" fmla="*/ 0 h 51"/>
                <a:gd name="T6" fmla="*/ 15 w 67"/>
                <a:gd name="T7" fmla="*/ 0 h 51"/>
                <a:gd name="T8" fmla="*/ 17 w 67"/>
                <a:gd name="T9" fmla="*/ 1 h 51"/>
                <a:gd name="T10" fmla="*/ 19 w 67"/>
                <a:gd name="T11" fmla="*/ 1 h 51"/>
                <a:gd name="T12" fmla="*/ 22 w 67"/>
                <a:gd name="T13" fmla="*/ 3 h 51"/>
                <a:gd name="T14" fmla="*/ 18 w 67"/>
                <a:gd name="T15" fmla="*/ 4 h 51"/>
                <a:gd name="T16" fmla="*/ 15 w 67"/>
                <a:gd name="T17" fmla="*/ 6 h 51"/>
                <a:gd name="T18" fmla="*/ 14 w 67"/>
                <a:gd name="T19" fmla="*/ 7 h 51"/>
                <a:gd name="T20" fmla="*/ 12 w 67"/>
                <a:gd name="T21" fmla="*/ 8 h 51"/>
                <a:gd name="T22" fmla="*/ 10 w 67"/>
                <a:gd name="T23" fmla="*/ 9 h 51"/>
                <a:gd name="T24" fmla="*/ 7 w 67"/>
                <a:gd name="T25" fmla="*/ 9 h 51"/>
                <a:gd name="T26" fmla="*/ 8 w 67"/>
                <a:gd name="T27" fmla="*/ 9 h 51"/>
                <a:gd name="T28" fmla="*/ 11 w 67"/>
                <a:gd name="T29" fmla="*/ 9 h 51"/>
                <a:gd name="T30" fmla="*/ 10 w 67"/>
                <a:gd name="T31" fmla="*/ 11 h 51"/>
                <a:gd name="T32" fmla="*/ 8 w 67"/>
                <a:gd name="T33" fmla="*/ 13 h 51"/>
                <a:gd name="T34" fmla="*/ 7 w 67"/>
                <a:gd name="T35" fmla="*/ 15 h 51"/>
                <a:gd name="T36" fmla="*/ 7 w 67"/>
                <a:gd name="T37" fmla="*/ 15 h 51"/>
                <a:gd name="T38" fmla="*/ 4 w 67"/>
                <a:gd name="T39" fmla="*/ 16 h 51"/>
                <a:gd name="T40" fmla="*/ 0 w 67"/>
                <a:gd name="T41" fmla="*/ 17 h 51"/>
                <a:gd name="T42" fmla="*/ 0 w 67"/>
                <a:gd name="T43" fmla="*/ 1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9525" cmpd="sng">
              <a:solidFill>
                <a:srgbClr val="FFFFFF"/>
              </a:solidFill>
              <a:prstDash val="solid"/>
              <a:round/>
              <a:headEnd/>
              <a:tailEnd/>
            </a:ln>
          </p:spPr>
          <p:txBody>
            <a:bodyPr/>
            <a:lstStyle/>
            <a:p>
              <a:endParaRPr lang="es-ES" dirty="0"/>
            </a:p>
          </p:txBody>
        </p:sp>
      </p:grpSp>
      <p:sp>
        <p:nvSpPr>
          <p:cNvPr id="591" name="Freeform 41">
            <a:extLst>
              <a:ext uri="{FF2B5EF4-FFF2-40B4-BE49-F238E27FC236}">
                <a16:creationId xmlns:a16="http://schemas.microsoft.com/office/drawing/2014/main" id="{30E24828-E517-4881-8E20-902D526EBDCD}"/>
              </a:ext>
            </a:extLst>
          </p:cNvPr>
          <p:cNvSpPr>
            <a:spLocks/>
          </p:cNvSpPr>
          <p:nvPr>
            <p:custDataLst>
              <p:tags r:id="rId34"/>
            </p:custDataLst>
          </p:nvPr>
        </p:nvSpPr>
        <p:spPr bwMode="auto">
          <a:xfrm>
            <a:off x="4137185" y="6379225"/>
            <a:ext cx="67368" cy="124629"/>
          </a:xfrm>
          <a:custGeom>
            <a:avLst/>
            <a:gdLst>
              <a:gd name="T0" fmla="*/ 0 w 80"/>
              <a:gd name="T1" fmla="*/ 25913 h 34"/>
              <a:gd name="T2" fmla="*/ 397 w 80"/>
              <a:gd name="T3" fmla="*/ 32824 h 34"/>
              <a:gd name="T4" fmla="*/ 794 w 80"/>
              <a:gd name="T5" fmla="*/ 36279 h 34"/>
              <a:gd name="T6" fmla="*/ 1588 w 80"/>
              <a:gd name="T7" fmla="*/ 41461 h 34"/>
              <a:gd name="T8" fmla="*/ 2778 w 80"/>
              <a:gd name="T9" fmla="*/ 44917 h 34"/>
              <a:gd name="T10" fmla="*/ 5159 w 80"/>
              <a:gd name="T11" fmla="*/ 50099 h 34"/>
              <a:gd name="T12" fmla="*/ 8731 w 80"/>
              <a:gd name="T13" fmla="*/ 53554 h 34"/>
              <a:gd name="T14" fmla="*/ 15875 w 80"/>
              <a:gd name="T15" fmla="*/ 57009 h 34"/>
              <a:gd name="T16" fmla="*/ 21431 w 80"/>
              <a:gd name="T17" fmla="*/ 58737 h 34"/>
              <a:gd name="T18" fmla="*/ 23019 w 80"/>
              <a:gd name="T19" fmla="*/ 57009 h 34"/>
              <a:gd name="T20" fmla="*/ 24606 w 80"/>
              <a:gd name="T21" fmla="*/ 55282 h 34"/>
              <a:gd name="T22" fmla="*/ 25797 w 80"/>
              <a:gd name="T23" fmla="*/ 50099 h 34"/>
              <a:gd name="T24" fmla="*/ 26591 w 80"/>
              <a:gd name="T25" fmla="*/ 46644 h 34"/>
              <a:gd name="T26" fmla="*/ 28972 w 80"/>
              <a:gd name="T27" fmla="*/ 36279 h 34"/>
              <a:gd name="T28" fmla="*/ 31750 w 80"/>
              <a:gd name="T29" fmla="*/ 25913 h 34"/>
              <a:gd name="T30" fmla="*/ 29766 w 80"/>
              <a:gd name="T31" fmla="*/ 17276 h 34"/>
              <a:gd name="T32" fmla="*/ 27781 w 80"/>
              <a:gd name="T33" fmla="*/ 12093 h 34"/>
              <a:gd name="T34" fmla="*/ 25797 w 80"/>
              <a:gd name="T35" fmla="*/ 6910 h 34"/>
              <a:gd name="T36" fmla="*/ 23813 w 80"/>
              <a:gd name="T37" fmla="*/ 3455 h 34"/>
              <a:gd name="T38" fmla="*/ 21828 w 80"/>
              <a:gd name="T39" fmla="*/ 0 h 34"/>
              <a:gd name="T40" fmla="*/ 20241 w 80"/>
              <a:gd name="T41" fmla="*/ 0 h 34"/>
              <a:gd name="T42" fmla="*/ 17859 w 80"/>
              <a:gd name="T43" fmla="*/ 1728 h 34"/>
              <a:gd name="T44" fmla="*/ 16272 w 80"/>
              <a:gd name="T45" fmla="*/ 3455 h 34"/>
              <a:gd name="T46" fmla="*/ 13494 w 80"/>
              <a:gd name="T47" fmla="*/ 3455 h 34"/>
              <a:gd name="T48" fmla="*/ 8334 w 80"/>
              <a:gd name="T49" fmla="*/ 3455 h 34"/>
              <a:gd name="T50" fmla="*/ 5159 w 80"/>
              <a:gd name="T51" fmla="*/ 5183 h 34"/>
              <a:gd name="T52" fmla="*/ 2778 w 80"/>
              <a:gd name="T53" fmla="*/ 8638 h 34"/>
              <a:gd name="T54" fmla="*/ 1588 w 80"/>
              <a:gd name="T55" fmla="*/ 12093 h 34"/>
              <a:gd name="T56" fmla="*/ 794 w 80"/>
              <a:gd name="T57" fmla="*/ 15548 h 34"/>
              <a:gd name="T58" fmla="*/ 397 w 80"/>
              <a:gd name="T59" fmla="*/ 19003 h 34"/>
              <a:gd name="T60" fmla="*/ 0 w 80"/>
              <a:gd name="T61" fmla="*/ 25913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592" name="Freeform 42">
            <a:extLst>
              <a:ext uri="{FF2B5EF4-FFF2-40B4-BE49-F238E27FC236}">
                <a16:creationId xmlns:a16="http://schemas.microsoft.com/office/drawing/2014/main" id="{03E71694-B112-48F7-918E-B2F9493BE405}"/>
              </a:ext>
            </a:extLst>
          </p:cNvPr>
          <p:cNvSpPr>
            <a:spLocks/>
          </p:cNvSpPr>
          <p:nvPr>
            <p:custDataLst>
              <p:tags r:id="rId35"/>
            </p:custDataLst>
          </p:nvPr>
        </p:nvSpPr>
        <p:spPr bwMode="auto">
          <a:xfrm>
            <a:off x="4255077" y="6392698"/>
            <a:ext cx="3369" cy="124629"/>
          </a:xfrm>
          <a:custGeom>
            <a:avLst/>
            <a:gdLst>
              <a:gd name="T0" fmla="*/ 0 w 7"/>
              <a:gd name="T1" fmla="*/ 0 h 13"/>
              <a:gd name="T2" fmla="*/ 1588 w 7"/>
              <a:gd name="T3" fmla="*/ 58737 h 13"/>
              <a:gd name="T4" fmla="*/ 1588 w 7"/>
              <a:gd name="T5" fmla="*/ 31628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593" name="Freeform 43">
            <a:extLst>
              <a:ext uri="{FF2B5EF4-FFF2-40B4-BE49-F238E27FC236}">
                <a16:creationId xmlns:a16="http://schemas.microsoft.com/office/drawing/2014/main" id="{E8B97476-D2AE-4DEF-B34C-BE3720830904}"/>
              </a:ext>
            </a:extLst>
          </p:cNvPr>
          <p:cNvSpPr>
            <a:spLocks/>
          </p:cNvSpPr>
          <p:nvPr>
            <p:custDataLst>
              <p:tags r:id="rId36"/>
            </p:custDataLst>
          </p:nvPr>
        </p:nvSpPr>
        <p:spPr bwMode="auto">
          <a:xfrm>
            <a:off x="4282024" y="6396065"/>
            <a:ext cx="13474" cy="124631"/>
          </a:xfrm>
          <a:custGeom>
            <a:avLst/>
            <a:gdLst>
              <a:gd name="T0" fmla="*/ 0 w 20"/>
              <a:gd name="T1" fmla="*/ 0 h 6"/>
              <a:gd name="T2" fmla="*/ 2223 w 20"/>
              <a:gd name="T3" fmla="*/ 29369 h 6"/>
              <a:gd name="T4" fmla="*/ 6350 w 20"/>
              <a:gd name="T5" fmla="*/ 58738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594" name="Freeform 44">
            <a:extLst>
              <a:ext uri="{FF2B5EF4-FFF2-40B4-BE49-F238E27FC236}">
                <a16:creationId xmlns:a16="http://schemas.microsoft.com/office/drawing/2014/main" id="{E8A0B030-8AB9-49DD-A58D-C5EB600AE168}"/>
              </a:ext>
            </a:extLst>
          </p:cNvPr>
          <p:cNvSpPr>
            <a:spLocks/>
          </p:cNvSpPr>
          <p:nvPr>
            <p:custDataLst>
              <p:tags r:id="rId37"/>
            </p:custDataLst>
          </p:nvPr>
        </p:nvSpPr>
        <p:spPr bwMode="auto">
          <a:xfrm>
            <a:off x="4312341" y="6375855"/>
            <a:ext cx="16841" cy="121262"/>
          </a:xfrm>
          <a:custGeom>
            <a:avLst/>
            <a:gdLst>
              <a:gd name="T0" fmla="*/ 0 w 14"/>
              <a:gd name="T1" fmla="*/ 57150 h 12"/>
              <a:gd name="T2" fmla="*/ 7937 w 14"/>
              <a:gd name="T3" fmla="*/ 0 h 12"/>
              <a:gd name="T4" fmla="*/ 0 w 14"/>
              <a:gd name="T5" fmla="*/ 57150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595" name="Freeform 45">
            <a:extLst>
              <a:ext uri="{FF2B5EF4-FFF2-40B4-BE49-F238E27FC236}">
                <a16:creationId xmlns:a16="http://schemas.microsoft.com/office/drawing/2014/main" id="{A8AFF1AA-0DB5-42B9-A8BC-B1CF3EA8B188}"/>
              </a:ext>
            </a:extLst>
          </p:cNvPr>
          <p:cNvSpPr>
            <a:spLocks/>
          </p:cNvSpPr>
          <p:nvPr>
            <p:custDataLst>
              <p:tags r:id="rId38"/>
            </p:custDataLst>
          </p:nvPr>
        </p:nvSpPr>
        <p:spPr bwMode="auto">
          <a:xfrm>
            <a:off x="4268551" y="6359014"/>
            <a:ext cx="23580" cy="124629"/>
          </a:xfrm>
          <a:custGeom>
            <a:avLst/>
            <a:gdLst>
              <a:gd name="T0" fmla="*/ 0 w 27"/>
              <a:gd name="T1" fmla="*/ 0 h 7"/>
              <a:gd name="T2" fmla="*/ 0 w 27"/>
              <a:gd name="T3" fmla="*/ 33564 h 7"/>
              <a:gd name="T4" fmla="*/ 823 w 27"/>
              <a:gd name="T5" fmla="*/ 50346 h 7"/>
              <a:gd name="T6" fmla="*/ 2881 w 27"/>
              <a:gd name="T7" fmla="*/ 58737 h 7"/>
              <a:gd name="T8" fmla="*/ 4116 w 27"/>
              <a:gd name="T9" fmla="*/ 58737 h 7"/>
              <a:gd name="T10" fmla="*/ 6174 w 27"/>
              <a:gd name="T11" fmla="*/ 50346 h 7"/>
              <a:gd name="T12" fmla="*/ 7820 w 27"/>
              <a:gd name="T13" fmla="*/ 33564 h 7"/>
              <a:gd name="T14" fmla="*/ 9467 w 27"/>
              <a:gd name="T15" fmla="*/ 16782 h 7"/>
              <a:gd name="T16" fmla="*/ 11113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596" name="Freeform 46">
            <a:extLst>
              <a:ext uri="{FF2B5EF4-FFF2-40B4-BE49-F238E27FC236}">
                <a16:creationId xmlns:a16="http://schemas.microsoft.com/office/drawing/2014/main" id="{3A201832-BC61-40B0-BE19-27A4DAAF8B1E}"/>
              </a:ext>
            </a:extLst>
          </p:cNvPr>
          <p:cNvSpPr>
            <a:spLocks/>
          </p:cNvSpPr>
          <p:nvPr>
            <p:custDataLst>
              <p:tags r:id="rId39"/>
            </p:custDataLst>
          </p:nvPr>
        </p:nvSpPr>
        <p:spPr bwMode="auto">
          <a:xfrm>
            <a:off x="4372972" y="6419645"/>
            <a:ext cx="30314" cy="127998"/>
          </a:xfrm>
          <a:custGeom>
            <a:avLst/>
            <a:gdLst>
              <a:gd name="T0" fmla="*/ 0 w 27"/>
              <a:gd name="T1" fmla="*/ 0 h 6"/>
              <a:gd name="T2" fmla="*/ 5821 w 27"/>
              <a:gd name="T3" fmla="*/ 30163 h 6"/>
              <a:gd name="T4" fmla="*/ 14287 w 27"/>
              <a:gd name="T5" fmla="*/ 60325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597" name="Line 47">
            <a:extLst>
              <a:ext uri="{FF2B5EF4-FFF2-40B4-BE49-F238E27FC236}">
                <a16:creationId xmlns:a16="http://schemas.microsoft.com/office/drawing/2014/main" id="{4F8483F6-E6AE-48A3-BFD2-00AE1107AFDA}"/>
              </a:ext>
            </a:extLst>
          </p:cNvPr>
          <p:cNvSpPr>
            <a:spLocks noChangeShapeType="1"/>
          </p:cNvSpPr>
          <p:nvPr>
            <p:custDataLst>
              <p:tags r:id="rId40"/>
            </p:custDataLst>
          </p:nvPr>
        </p:nvSpPr>
        <p:spPr bwMode="auto">
          <a:xfrm flipH="1" flipV="1">
            <a:off x="4389812" y="6412908"/>
            <a:ext cx="13474" cy="2021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s-ES" dirty="0"/>
          </a:p>
        </p:txBody>
      </p:sp>
      <p:sp>
        <p:nvSpPr>
          <p:cNvPr id="598" name="Line 48">
            <a:extLst>
              <a:ext uri="{FF2B5EF4-FFF2-40B4-BE49-F238E27FC236}">
                <a16:creationId xmlns:a16="http://schemas.microsoft.com/office/drawing/2014/main" id="{DF5BD537-476F-4698-8B3D-90E96D75E0C6}"/>
              </a:ext>
            </a:extLst>
          </p:cNvPr>
          <p:cNvSpPr>
            <a:spLocks noChangeShapeType="1"/>
          </p:cNvSpPr>
          <p:nvPr>
            <p:custDataLst>
              <p:tags r:id="rId41"/>
            </p:custDataLst>
          </p:nvPr>
        </p:nvSpPr>
        <p:spPr bwMode="auto">
          <a:xfrm flipH="1">
            <a:off x="4389812" y="6466802"/>
            <a:ext cx="13474" cy="23578"/>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s-ES" dirty="0"/>
          </a:p>
        </p:txBody>
      </p:sp>
      <p:sp>
        <p:nvSpPr>
          <p:cNvPr id="599" name="Freeform 49">
            <a:extLst>
              <a:ext uri="{FF2B5EF4-FFF2-40B4-BE49-F238E27FC236}">
                <a16:creationId xmlns:a16="http://schemas.microsoft.com/office/drawing/2014/main" id="{51AC24DE-C330-4C6B-BC40-92F4ACF15C3C}"/>
              </a:ext>
            </a:extLst>
          </p:cNvPr>
          <p:cNvSpPr>
            <a:spLocks/>
          </p:cNvSpPr>
          <p:nvPr>
            <p:custDataLst>
              <p:tags r:id="rId42"/>
            </p:custDataLst>
          </p:nvPr>
        </p:nvSpPr>
        <p:spPr bwMode="auto">
          <a:xfrm>
            <a:off x="4389812" y="6456696"/>
            <a:ext cx="23580" cy="124631"/>
          </a:xfrm>
          <a:custGeom>
            <a:avLst/>
            <a:gdLst>
              <a:gd name="T0" fmla="*/ 0 w 20"/>
              <a:gd name="T1" fmla="*/ 58738 h 24"/>
              <a:gd name="T2" fmla="*/ 1111 w 20"/>
              <a:gd name="T3" fmla="*/ 58738 h 24"/>
              <a:gd name="T4" fmla="*/ 3334 w 20"/>
              <a:gd name="T5" fmla="*/ 53843 h 24"/>
              <a:gd name="T6" fmla="*/ 5001 w 20"/>
              <a:gd name="T7" fmla="*/ 48948 h 24"/>
              <a:gd name="T8" fmla="*/ 6668 w 20"/>
              <a:gd name="T9" fmla="*/ 39159 h 24"/>
              <a:gd name="T10" fmla="*/ 8335 w 20"/>
              <a:gd name="T11" fmla="*/ 31816 h 24"/>
              <a:gd name="T12" fmla="*/ 10002 w 20"/>
              <a:gd name="T13" fmla="*/ 22027 h 24"/>
              <a:gd name="T14" fmla="*/ 10557 w 20"/>
              <a:gd name="T15" fmla="*/ 9790 h 24"/>
              <a:gd name="T16" fmla="*/ 11113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00" name="Freeform 50">
            <a:extLst>
              <a:ext uri="{FF2B5EF4-FFF2-40B4-BE49-F238E27FC236}">
                <a16:creationId xmlns:a16="http://schemas.microsoft.com/office/drawing/2014/main" id="{038F069B-37B0-43D3-AC70-117600DB9217}"/>
              </a:ext>
            </a:extLst>
          </p:cNvPr>
          <p:cNvSpPr>
            <a:spLocks/>
          </p:cNvSpPr>
          <p:nvPr>
            <p:custDataLst>
              <p:tags r:id="rId43"/>
            </p:custDataLst>
          </p:nvPr>
        </p:nvSpPr>
        <p:spPr bwMode="auto">
          <a:xfrm>
            <a:off x="4403286" y="6517327"/>
            <a:ext cx="37053" cy="117894"/>
          </a:xfrm>
          <a:custGeom>
            <a:avLst/>
            <a:gdLst>
              <a:gd name="T0" fmla="*/ 6879 w 33"/>
              <a:gd name="T1" fmla="*/ 15558 h 25"/>
              <a:gd name="T2" fmla="*/ 0 w 33"/>
              <a:gd name="T3" fmla="*/ 42228 h 25"/>
              <a:gd name="T4" fmla="*/ 5292 w 33"/>
              <a:gd name="T5" fmla="*/ 44450 h 25"/>
              <a:gd name="T6" fmla="*/ 10054 w 33"/>
              <a:gd name="T7" fmla="*/ 48895 h 25"/>
              <a:gd name="T8" fmla="*/ 14288 w 33"/>
              <a:gd name="T9" fmla="*/ 55563 h 25"/>
              <a:gd name="T10" fmla="*/ 17463 w 33"/>
              <a:gd name="T11" fmla="*/ 55563 h 25"/>
              <a:gd name="T12" fmla="*/ 17463 w 33"/>
              <a:gd name="T13" fmla="*/ 0 h 25"/>
              <a:gd name="T14" fmla="*/ 14288 w 33"/>
              <a:gd name="T15" fmla="*/ 0 h 25"/>
              <a:gd name="T16" fmla="*/ 6879 w 33"/>
              <a:gd name="T17" fmla="*/ 15558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01" name="Freeform 51">
            <a:extLst>
              <a:ext uri="{FF2B5EF4-FFF2-40B4-BE49-F238E27FC236}">
                <a16:creationId xmlns:a16="http://schemas.microsoft.com/office/drawing/2014/main" id="{73AAB183-02F5-43DC-8B4F-A7E17B2B2ECC}"/>
              </a:ext>
            </a:extLst>
          </p:cNvPr>
          <p:cNvSpPr>
            <a:spLocks/>
          </p:cNvSpPr>
          <p:nvPr>
            <p:custDataLst>
              <p:tags r:id="rId44"/>
            </p:custDataLst>
          </p:nvPr>
        </p:nvSpPr>
        <p:spPr bwMode="auto">
          <a:xfrm>
            <a:off x="4416759" y="6618378"/>
            <a:ext cx="33684" cy="121262"/>
          </a:xfrm>
          <a:custGeom>
            <a:avLst/>
            <a:gdLst>
              <a:gd name="T0" fmla="*/ 0 w 40"/>
              <a:gd name="T1" fmla="*/ 0 h 18"/>
              <a:gd name="T2" fmla="*/ 1191 w 40"/>
              <a:gd name="T3" fmla="*/ 19050 h 18"/>
              <a:gd name="T4" fmla="*/ 2381 w 40"/>
              <a:gd name="T5" fmla="*/ 34925 h 18"/>
              <a:gd name="T6" fmla="*/ 3969 w 40"/>
              <a:gd name="T7" fmla="*/ 44450 h 18"/>
              <a:gd name="T8" fmla="*/ 5953 w 40"/>
              <a:gd name="T9" fmla="*/ 50800 h 18"/>
              <a:gd name="T10" fmla="*/ 10716 w 40"/>
              <a:gd name="T11" fmla="*/ 57150 h 18"/>
              <a:gd name="T12" fmla="*/ 15875 w 40"/>
              <a:gd name="T13" fmla="*/ 57150 h 18"/>
              <a:gd name="T14" fmla="*/ 15875 w 40"/>
              <a:gd name="T15" fmla="*/ 0 h 18"/>
              <a:gd name="T16" fmla="*/ 11906 w 40"/>
              <a:gd name="T17" fmla="*/ 0 h 18"/>
              <a:gd name="T18" fmla="*/ 7938 w 40"/>
              <a:gd name="T19" fmla="*/ 0 h 18"/>
              <a:gd name="T20" fmla="*/ 3969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02" name="Freeform 52">
            <a:extLst>
              <a:ext uri="{FF2B5EF4-FFF2-40B4-BE49-F238E27FC236}">
                <a16:creationId xmlns:a16="http://schemas.microsoft.com/office/drawing/2014/main" id="{979CC42B-42F6-4EA2-83D5-268C4E45228B}"/>
              </a:ext>
            </a:extLst>
          </p:cNvPr>
          <p:cNvSpPr>
            <a:spLocks/>
          </p:cNvSpPr>
          <p:nvPr>
            <p:custDataLst>
              <p:tags r:id="rId45"/>
            </p:custDataLst>
          </p:nvPr>
        </p:nvSpPr>
        <p:spPr bwMode="auto">
          <a:xfrm>
            <a:off x="4436970" y="6672272"/>
            <a:ext cx="6737" cy="121262"/>
          </a:xfrm>
          <a:custGeom>
            <a:avLst/>
            <a:gdLst>
              <a:gd name="T0" fmla="*/ 1155 w 11"/>
              <a:gd name="T1" fmla="*/ 57150 h 32"/>
              <a:gd name="T2" fmla="*/ 1732 w 11"/>
              <a:gd name="T3" fmla="*/ 50006 h 32"/>
              <a:gd name="T4" fmla="*/ 2309 w 11"/>
              <a:gd name="T5" fmla="*/ 44648 h 32"/>
              <a:gd name="T6" fmla="*/ 2598 w 11"/>
              <a:gd name="T7" fmla="*/ 39291 h 32"/>
              <a:gd name="T8" fmla="*/ 2886 w 11"/>
              <a:gd name="T9" fmla="*/ 32147 h 32"/>
              <a:gd name="T10" fmla="*/ 3175 w 11"/>
              <a:gd name="T11" fmla="*/ 16073 h 32"/>
              <a:gd name="T12" fmla="*/ 3175 w 11"/>
              <a:gd name="T13" fmla="*/ 0 h 32"/>
              <a:gd name="T14" fmla="*/ 1732 w 11"/>
              <a:gd name="T15" fmla="*/ 5358 h 32"/>
              <a:gd name="T16" fmla="*/ 866 w 11"/>
              <a:gd name="T17" fmla="*/ 12502 h 32"/>
              <a:gd name="T18" fmla="*/ 289 w 11"/>
              <a:gd name="T19" fmla="*/ 19645 h 32"/>
              <a:gd name="T20" fmla="*/ 0 w 11"/>
              <a:gd name="T21" fmla="*/ 28575 h 32"/>
              <a:gd name="T22" fmla="*/ 0 w 11"/>
              <a:gd name="T23" fmla="*/ 35719 h 32"/>
              <a:gd name="T24" fmla="*/ 289 w 11"/>
              <a:gd name="T25" fmla="*/ 42863 h 32"/>
              <a:gd name="T26" fmla="*/ 577 w 11"/>
              <a:gd name="T27" fmla="*/ 50006 h 32"/>
              <a:gd name="T28" fmla="*/ 1155 w 11"/>
              <a:gd name="T29" fmla="*/ 5715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03" name="Freeform 53">
            <a:extLst>
              <a:ext uri="{FF2B5EF4-FFF2-40B4-BE49-F238E27FC236}">
                <a16:creationId xmlns:a16="http://schemas.microsoft.com/office/drawing/2014/main" id="{ACE4E65F-B33B-4C50-935F-550690033DFE}"/>
              </a:ext>
            </a:extLst>
          </p:cNvPr>
          <p:cNvSpPr>
            <a:spLocks/>
          </p:cNvSpPr>
          <p:nvPr>
            <p:custDataLst>
              <p:tags r:id="rId46"/>
            </p:custDataLst>
          </p:nvPr>
        </p:nvSpPr>
        <p:spPr bwMode="auto">
          <a:xfrm>
            <a:off x="4484127" y="6736272"/>
            <a:ext cx="3369" cy="117892"/>
          </a:xfrm>
          <a:custGeom>
            <a:avLst/>
            <a:gdLst>
              <a:gd name="T0" fmla="*/ 0 w 14"/>
              <a:gd name="T1" fmla="*/ 0 h 24"/>
              <a:gd name="T2" fmla="*/ 0 w 14"/>
              <a:gd name="T3" fmla="*/ 55562 h 24"/>
              <a:gd name="T4" fmla="*/ 1588 w 14"/>
              <a:gd name="T5" fmla="*/ 27781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04" name="Freeform 54">
            <a:extLst>
              <a:ext uri="{FF2B5EF4-FFF2-40B4-BE49-F238E27FC236}">
                <a16:creationId xmlns:a16="http://schemas.microsoft.com/office/drawing/2014/main" id="{22421CDE-DAB1-40E6-9232-3AFD861D5E42}"/>
              </a:ext>
            </a:extLst>
          </p:cNvPr>
          <p:cNvSpPr>
            <a:spLocks/>
          </p:cNvSpPr>
          <p:nvPr>
            <p:custDataLst>
              <p:tags r:id="rId47"/>
            </p:custDataLst>
          </p:nvPr>
        </p:nvSpPr>
        <p:spPr bwMode="auto">
          <a:xfrm>
            <a:off x="4403286" y="6763219"/>
            <a:ext cx="33684" cy="124629"/>
          </a:xfrm>
          <a:custGeom>
            <a:avLst/>
            <a:gdLst>
              <a:gd name="T0" fmla="*/ 0 w 27"/>
              <a:gd name="T1" fmla="*/ 39158 h 18"/>
              <a:gd name="T2" fmla="*/ 4116 w 27"/>
              <a:gd name="T3" fmla="*/ 48948 h 18"/>
              <a:gd name="T4" fmla="*/ 7644 w 27"/>
              <a:gd name="T5" fmla="*/ 58737 h 18"/>
              <a:gd name="T6" fmla="*/ 12935 w 27"/>
              <a:gd name="T7" fmla="*/ 22842 h 18"/>
              <a:gd name="T8" fmla="*/ 15875 w 27"/>
              <a:gd name="T9" fmla="*/ 0 h 18"/>
              <a:gd name="T10" fmla="*/ 12935 w 27"/>
              <a:gd name="T11" fmla="*/ 0 h 18"/>
              <a:gd name="T12" fmla="*/ 10583 w 27"/>
              <a:gd name="T13" fmla="*/ 3263 h 18"/>
              <a:gd name="T14" fmla="*/ 7644 w 27"/>
              <a:gd name="T15" fmla="*/ 6526 h 18"/>
              <a:gd name="T16" fmla="*/ 5880 w 27"/>
              <a:gd name="T17" fmla="*/ 13053 h 18"/>
              <a:gd name="T18" fmla="*/ 2940 w 27"/>
              <a:gd name="T19" fmla="*/ 26105 h 18"/>
              <a:gd name="T20" fmla="*/ 0 w 27"/>
              <a:gd name="T21" fmla="*/ 39158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05" name="Freeform 55">
            <a:extLst>
              <a:ext uri="{FF2B5EF4-FFF2-40B4-BE49-F238E27FC236}">
                <a16:creationId xmlns:a16="http://schemas.microsoft.com/office/drawing/2014/main" id="{CB7B516A-A56B-492D-803A-4A9AB898B3D8}"/>
              </a:ext>
            </a:extLst>
          </p:cNvPr>
          <p:cNvSpPr>
            <a:spLocks/>
          </p:cNvSpPr>
          <p:nvPr>
            <p:custDataLst>
              <p:tags r:id="rId48"/>
            </p:custDataLst>
          </p:nvPr>
        </p:nvSpPr>
        <p:spPr bwMode="auto">
          <a:xfrm>
            <a:off x="4372972" y="6901322"/>
            <a:ext cx="50525" cy="121262"/>
          </a:xfrm>
          <a:custGeom>
            <a:avLst/>
            <a:gdLst>
              <a:gd name="T0" fmla="*/ 0 w 47"/>
              <a:gd name="T1" fmla="*/ 41988 h 49"/>
              <a:gd name="T2" fmla="*/ 507 w 47"/>
              <a:gd name="T3" fmla="*/ 45487 h 49"/>
              <a:gd name="T4" fmla="*/ 1013 w 47"/>
              <a:gd name="T5" fmla="*/ 47819 h 49"/>
              <a:gd name="T6" fmla="*/ 2027 w 47"/>
              <a:gd name="T7" fmla="*/ 50152 h 49"/>
              <a:gd name="T8" fmla="*/ 3040 w 47"/>
              <a:gd name="T9" fmla="*/ 52485 h 49"/>
              <a:gd name="T10" fmla="*/ 6080 w 47"/>
              <a:gd name="T11" fmla="*/ 55984 h 49"/>
              <a:gd name="T12" fmla="*/ 7093 w 47"/>
              <a:gd name="T13" fmla="*/ 57150 h 49"/>
              <a:gd name="T14" fmla="*/ 9119 w 47"/>
              <a:gd name="T15" fmla="*/ 57150 h 49"/>
              <a:gd name="T16" fmla="*/ 12159 w 47"/>
              <a:gd name="T17" fmla="*/ 53651 h 49"/>
              <a:gd name="T18" fmla="*/ 14693 w 47"/>
              <a:gd name="T19" fmla="*/ 48986 h 49"/>
              <a:gd name="T20" fmla="*/ 17732 w 47"/>
              <a:gd name="T21" fmla="*/ 45487 h 49"/>
              <a:gd name="T22" fmla="*/ 19759 w 47"/>
              <a:gd name="T23" fmla="*/ 40821 h 49"/>
              <a:gd name="T24" fmla="*/ 22292 w 47"/>
              <a:gd name="T25" fmla="*/ 36156 h 49"/>
              <a:gd name="T26" fmla="*/ 23305 w 47"/>
              <a:gd name="T27" fmla="*/ 31491 h 49"/>
              <a:gd name="T28" fmla="*/ 23812 w 47"/>
              <a:gd name="T29" fmla="*/ 27992 h 49"/>
              <a:gd name="T30" fmla="*/ 23812 w 47"/>
              <a:gd name="T31" fmla="*/ 13996 h 49"/>
              <a:gd name="T32" fmla="*/ 23812 w 47"/>
              <a:gd name="T33" fmla="*/ 0 h 49"/>
              <a:gd name="T34" fmla="*/ 13679 w 47"/>
              <a:gd name="T35" fmla="*/ 0 h 49"/>
              <a:gd name="T36" fmla="*/ 8613 w 47"/>
              <a:gd name="T37" fmla="*/ 9331 h 49"/>
              <a:gd name="T38" fmla="*/ 4560 w 47"/>
              <a:gd name="T39" fmla="*/ 18661 h 49"/>
              <a:gd name="T40" fmla="*/ 2533 w 47"/>
              <a:gd name="T41" fmla="*/ 23327 h 49"/>
              <a:gd name="T42" fmla="*/ 1013 w 47"/>
              <a:gd name="T43" fmla="*/ 29158 h 49"/>
              <a:gd name="T44" fmla="*/ 507 w 47"/>
              <a:gd name="T45" fmla="*/ 34990 h 49"/>
              <a:gd name="T46" fmla="*/ 0 w 47"/>
              <a:gd name="T47" fmla="*/ 41988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06" name="Freeform 56">
            <a:extLst>
              <a:ext uri="{FF2B5EF4-FFF2-40B4-BE49-F238E27FC236}">
                <a16:creationId xmlns:a16="http://schemas.microsoft.com/office/drawing/2014/main" id="{8E2FEF99-7681-4623-849E-F2B17643B6CB}"/>
              </a:ext>
            </a:extLst>
          </p:cNvPr>
          <p:cNvSpPr>
            <a:spLocks/>
          </p:cNvSpPr>
          <p:nvPr>
            <p:custDataLst>
              <p:tags r:id="rId49"/>
            </p:custDataLst>
          </p:nvPr>
        </p:nvSpPr>
        <p:spPr bwMode="auto">
          <a:xfrm>
            <a:off x="4413392" y="6850797"/>
            <a:ext cx="26947" cy="121262"/>
          </a:xfrm>
          <a:custGeom>
            <a:avLst/>
            <a:gdLst>
              <a:gd name="T0" fmla="*/ 0 w 26"/>
              <a:gd name="T1" fmla="*/ 0 h 9"/>
              <a:gd name="T2" fmla="*/ 0 w 26"/>
              <a:gd name="T3" fmla="*/ 25400 h 9"/>
              <a:gd name="T4" fmla="*/ 1465 w 26"/>
              <a:gd name="T5" fmla="*/ 44450 h 9"/>
              <a:gd name="T6" fmla="*/ 2931 w 26"/>
              <a:gd name="T7" fmla="*/ 50800 h 9"/>
              <a:gd name="T8" fmla="*/ 5373 w 26"/>
              <a:gd name="T9" fmla="*/ 57150 h 9"/>
              <a:gd name="T10" fmla="*/ 7327 w 26"/>
              <a:gd name="T11" fmla="*/ 50800 h 9"/>
              <a:gd name="T12" fmla="*/ 9769 w 26"/>
              <a:gd name="T13" fmla="*/ 44450 h 9"/>
              <a:gd name="T14" fmla="*/ 11235 w 26"/>
              <a:gd name="T15" fmla="*/ 25400 h 9"/>
              <a:gd name="T16" fmla="*/ 1270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07" name="Freeform 57">
            <a:extLst>
              <a:ext uri="{FF2B5EF4-FFF2-40B4-BE49-F238E27FC236}">
                <a16:creationId xmlns:a16="http://schemas.microsoft.com/office/drawing/2014/main" id="{EDA9A017-EA36-4E5B-A501-B1F828020517}"/>
              </a:ext>
            </a:extLst>
          </p:cNvPr>
          <p:cNvSpPr>
            <a:spLocks/>
          </p:cNvSpPr>
          <p:nvPr>
            <p:custDataLst>
              <p:tags r:id="rId50"/>
            </p:custDataLst>
          </p:nvPr>
        </p:nvSpPr>
        <p:spPr bwMode="auto">
          <a:xfrm>
            <a:off x="3315302" y="6153542"/>
            <a:ext cx="33684" cy="121262"/>
          </a:xfrm>
          <a:custGeom>
            <a:avLst/>
            <a:gdLst>
              <a:gd name="T0" fmla="*/ 0 w 39"/>
              <a:gd name="T1" fmla="*/ 0 h 18"/>
              <a:gd name="T2" fmla="*/ 0 w 39"/>
              <a:gd name="T3" fmla="*/ 57150 h 18"/>
              <a:gd name="T4" fmla="*/ 2442 w 39"/>
              <a:gd name="T5" fmla="*/ 57150 h 18"/>
              <a:gd name="T6" fmla="*/ 5292 w 39"/>
              <a:gd name="T7" fmla="*/ 57150 h 18"/>
              <a:gd name="T8" fmla="*/ 9362 w 39"/>
              <a:gd name="T9" fmla="*/ 53975 h 18"/>
              <a:gd name="T10" fmla="*/ 12212 w 39"/>
              <a:gd name="T11" fmla="*/ 44450 h 18"/>
              <a:gd name="T12" fmla="*/ 13840 w 39"/>
              <a:gd name="T13" fmla="*/ 38100 h 18"/>
              <a:gd name="T14" fmla="*/ 15061 w 39"/>
              <a:gd name="T15" fmla="*/ 31750 h 18"/>
              <a:gd name="T16" fmla="*/ 15468 w 39"/>
              <a:gd name="T17" fmla="*/ 25400 h 18"/>
              <a:gd name="T18" fmla="*/ 15875 w 39"/>
              <a:gd name="T19" fmla="*/ 19050 h 18"/>
              <a:gd name="T20" fmla="*/ 11804 w 39"/>
              <a:gd name="T21" fmla="*/ 15875 h 18"/>
              <a:gd name="T22" fmla="*/ 7734 w 39"/>
              <a:gd name="T23" fmla="*/ 9525 h 18"/>
              <a:gd name="T24" fmla="*/ 4071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grpSp>
        <p:nvGrpSpPr>
          <p:cNvPr id="608" name="Group 58">
            <a:extLst>
              <a:ext uri="{FF2B5EF4-FFF2-40B4-BE49-F238E27FC236}">
                <a16:creationId xmlns:a16="http://schemas.microsoft.com/office/drawing/2014/main" id="{B3AB45A7-6174-472C-96DF-B87B3CFE7F00}"/>
              </a:ext>
            </a:extLst>
          </p:cNvPr>
          <p:cNvGrpSpPr>
            <a:grpSpLocks/>
          </p:cNvGrpSpPr>
          <p:nvPr>
            <p:custDataLst>
              <p:tags r:id="rId51"/>
            </p:custDataLst>
          </p:nvPr>
        </p:nvGrpSpPr>
        <p:grpSpPr bwMode="auto">
          <a:xfrm>
            <a:off x="3581402" y="5799864"/>
            <a:ext cx="279576" cy="414309"/>
            <a:chOff x="1199" y="2121"/>
            <a:chExt cx="97" cy="123"/>
          </a:xfrm>
          <a:solidFill>
            <a:schemeClr val="bg2">
              <a:lumMod val="50000"/>
              <a:alpha val="18000"/>
            </a:schemeClr>
          </a:solidFill>
        </p:grpSpPr>
        <p:sp>
          <p:nvSpPr>
            <p:cNvPr id="609" name="Freeform 59">
              <a:extLst>
                <a:ext uri="{FF2B5EF4-FFF2-40B4-BE49-F238E27FC236}">
                  <a16:creationId xmlns:a16="http://schemas.microsoft.com/office/drawing/2014/main" id="{FF80F203-30F6-4819-AF24-FCDBC5A57D6A}"/>
                </a:ext>
              </a:extLst>
            </p:cNvPr>
            <p:cNvSpPr>
              <a:spLocks/>
            </p:cNvSpPr>
            <p:nvPr/>
          </p:nvSpPr>
          <p:spPr bwMode="auto">
            <a:xfrm>
              <a:off x="1274" y="2236"/>
              <a:ext cx="16" cy="8"/>
            </a:xfrm>
            <a:custGeom>
              <a:avLst/>
              <a:gdLst>
                <a:gd name="T0" fmla="*/ 0 w 52"/>
                <a:gd name="T1" fmla="*/ 8 h 25"/>
                <a:gd name="T2" fmla="*/ 2 w 52"/>
                <a:gd name="T3" fmla="*/ 8 h 25"/>
                <a:gd name="T4" fmla="*/ 5 w 52"/>
                <a:gd name="T5" fmla="*/ 8 h 25"/>
                <a:gd name="T6" fmla="*/ 7 w 52"/>
                <a:gd name="T7" fmla="*/ 7 h 25"/>
                <a:gd name="T8" fmla="*/ 9 w 52"/>
                <a:gd name="T9" fmla="*/ 6 h 25"/>
                <a:gd name="T10" fmla="*/ 12 w 52"/>
                <a:gd name="T11" fmla="*/ 5 h 25"/>
                <a:gd name="T12" fmla="*/ 13 w 52"/>
                <a:gd name="T13" fmla="*/ 4 h 25"/>
                <a:gd name="T14" fmla="*/ 15 w 52"/>
                <a:gd name="T15" fmla="*/ 2 h 25"/>
                <a:gd name="T16" fmla="*/ 16 w 52"/>
                <a:gd name="T17" fmla="*/ 0 h 25"/>
                <a:gd name="T18" fmla="*/ 12 w 52"/>
                <a:gd name="T19" fmla="*/ 0 h 25"/>
                <a:gd name="T20" fmla="*/ 10 w 52"/>
                <a:gd name="T21" fmla="*/ 0 h 25"/>
                <a:gd name="T22" fmla="*/ 7 w 52"/>
                <a:gd name="T23" fmla="*/ 0 h 25"/>
                <a:gd name="T24" fmla="*/ 5 w 52"/>
                <a:gd name="T25" fmla="*/ 1 h 25"/>
                <a:gd name="T26" fmla="*/ 3 w 52"/>
                <a:gd name="T27" fmla="*/ 2 h 25"/>
                <a:gd name="T28" fmla="*/ 2 w 52"/>
                <a:gd name="T29" fmla="*/ 3 h 25"/>
                <a:gd name="T30" fmla="*/ 1 w 52"/>
                <a:gd name="T31" fmla="*/ 5 h 25"/>
                <a:gd name="T32" fmla="*/ 0 w 52"/>
                <a:gd name="T33" fmla="*/ 8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9525" cmpd="sng">
              <a:solidFill>
                <a:srgbClr val="FFFFFF"/>
              </a:solidFill>
              <a:prstDash val="solid"/>
              <a:round/>
              <a:headEnd/>
              <a:tailEnd/>
            </a:ln>
          </p:spPr>
          <p:txBody>
            <a:bodyPr/>
            <a:lstStyle/>
            <a:p>
              <a:endParaRPr lang="es-ES" dirty="0"/>
            </a:p>
          </p:txBody>
        </p:sp>
        <p:sp>
          <p:nvSpPr>
            <p:cNvPr id="610" name="Freeform 60">
              <a:extLst>
                <a:ext uri="{FF2B5EF4-FFF2-40B4-BE49-F238E27FC236}">
                  <a16:creationId xmlns:a16="http://schemas.microsoft.com/office/drawing/2014/main" id="{AF8809EF-25F3-4C18-9C1A-BDB1AAD60B6C}"/>
                </a:ext>
              </a:extLst>
            </p:cNvPr>
            <p:cNvSpPr>
              <a:spLocks/>
            </p:cNvSpPr>
            <p:nvPr/>
          </p:nvSpPr>
          <p:spPr bwMode="auto">
            <a:xfrm>
              <a:off x="1199" y="2131"/>
              <a:ext cx="11" cy="4"/>
            </a:xfrm>
            <a:custGeom>
              <a:avLst/>
              <a:gdLst>
                <a:gd name="T0" fmla="*/ 0 w 33"/>
                <a:gd name="T1" fmla="*/ 0 h 13"/>
                <a:gd name="T2" fmla="*/ 0 w 33"/>
                <a:gd name="T3" fmla="*/ 2 h 13"/>
                <a:gd name="T4" fmla="*/ 0 w 33"/>
                <a:gd name="T5" fmla="*/ 4 h 13"/>
                <a:gd name="T6" fmla="*/ 3 w 33"/>
                <a:gd name="T7" fmla="*/ 4 h 13"/>
                <a:gd name="T8" fmla="*/ 5 w 33"/>
                <a:gd name="T9" fmla="*/ 4 h 13"/>
                <a:gd name="T10" fmla="*/ 8 w 33"/>
                <a:gd name="T11" fmla="*/ 3 h 13"/>
                <a:gd name="T12" fmla="*/ 11 w 33"/>
                <a:gd name="T13" fmla="*/ 2 h 13"/>
                <a:gd name="T14" fmla="*/ 8 w 33"/>
                <a:gd name="T15" fmla="*/ 1 h 13"/>
                <a:gd name="T16" fmla="*/ 5 w 33"/>
                <a:gd name="T17" fmla="*/ 0 h 13"/>
                <a:gd name="T18" fmla="*/ 3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9525" cmpd="sng">
              <a:solidFill>
                <a:srgbClr val="FFFFFF"/>
              </a:solidFill>
              <a:prstDash val="solid"/>
              <a:round/>
              <a:headEnd/>
              <a:tailEnd/>
            </a:ln>
          </p:spPr>
          <p:txBody>
            <a:bodyPr/>
            <a:lstStyle/>
            <a:p>
              <a:endParaRPr lang="es-ES" dirty="0"/>
            </a:p>
          </p:txBody>
        </p:sp>
        <p:sp>
          <p:nvSpPr>
            <p:cNvPr id="611" name="Freeform 61">
              <a:extLst>
                <a:ext uri="{FF2B5EF4-FFF2-40B4-BE49-F238E27FC236}">
                  <a16:creationId xmlns:a16="http://schemas.microsoft.com/office/drawing/2014/main" id="{B7004500-BBD6-48D6-B1A5-6D578EE854D5}"/>
                </a:ext>
              </a:extLst>
            </p:cNvPr>
            <p:cNvSpPr>
              <a:spLocks/>
            </p:cNvSpPr>
            <p:nvPr/>
          </p:nvSpPr>
          <p:spPr bwMode="auto">
            <a:xfrm>
              <a:off x="1210" y="2121"/>
              <a:ext cx="20" cy="28"/>
            </a:xfrm>
            <a:custGeom>
              <a:avLst/>
              <a:gdLst>
                <a:gd name="T0" fmla="*/ 8 w 67"/>
                <a:gd name="T1" fmla="*/ 6 h 86"/>
                <a:gd name="T2" fmla="*/ 0 w 67"/>
                <a:gd name="T3" fmla="*/ 0 h 86"/>
                <a:gd name="T4" fmla="*/ 8 w 67"/>
                <a:gd name="T5" fmla="*/ 0 h 86"/>
                <a:gd name="T6" fmla="*/ 9 w 67"/>
                <a:gd name="T7" fmla="*/ 1 h 86"/>
                <a:gd name="T8" fmla="*/ 10 w 67"/>
                <a:gd name="T9" fmla="*/ 3 h 86"/>
                <a:gd name="T10" fmla="*/ 11 w 67"/>
                <a:gd name="T11" fmla="*/ 4 h 86"/>
                <a:gd name="T12" fmla="*/ 12 w 67"/>
                <a:gd name="T13" fmla="*/ 5 h 86"/>
                <a:gd name="T14" fmla="*/ 14 w 67"/>
                <a:gd name="T15" fmla="*/ 6 h 86"/>
                <a:gd name="T16" fmla="*/ 16 w 67"/>
                <a:gd name="T17" fmla="*/ 6 h 86"/>
                <a:gd name="T18" fmla="*/ 17 w 67"/>
                <a:gd name="T19" fmla="*/ 10 h 86"/>
                <a:gd name="T20" fmla="*/ 19 w 67"/>
                <a:gd name="T21" fmla="*/ 13 h 86"/>
                <a:gd name="T22" fmla="*/ 19 w 67"/>
                <a:gd name="T23" fmla="*/ 15 h 86"/>
                <a:gd name="T24" fmla="*/ 20 w 67"/>
                <a:gd name="T25" fmla="*/ 16 h 86"/>
                <a:gd name="T26" fmla="*/ 20 w 67"/>
                <a:gd name="T27" fmla="*/ 18 h 86"/>
                <a:gd name="T28" fmla="*/ 20 w 67"/>
                <a:gd name="T29" fmla="*/ 20 h 86"/>
                <a:gd name="T30" fmla="*/ 19 w 67"/>
                <a:gd name="T31" fmla="*/ 24 h 86"/>
                <a:gd name="T32" fmla="*/ 18 w 67"/>
                <a:gd name="T33" fmla="*/ 28 h 86"/>
                <a:gd name="T34" fmla="*/ 16 w 67"/>
                <a:gd name="T35" fmla="*/ 22 h 86"/>
                <a:gd name="T36" fmla="*/ 15 w 67"/>
                <a:gd name="T37" fmla="*/ 18 h 86"/>
                <a:gd name="T38" fmla="*/ 15 w 67"/>
                <a:gd name="T39" fmla="*/ 15 h 86"/>
                <a:gd name="T40" fmla="*/ 15 w 67"/>
                <a:gd name="T41" fmla="*/ 13 h 86"/>
                <a:gd name="T42" fmla="*/ 15 w 67"/>
                <a:gd name="T43" fmla="*/ 11 h 86"/>
                <a:gd name="T44" fmla="*/ 16 w 67"/>
                <a:gd name="T45" fmla="*/ 10 h 86"/>
                <a:gd name="T46" fmla="*/ 13 w 67"/>
                <a:gd name="T47" fmla="*/ 10 h 86"/>
                <a:gd name="T48" fmla="*/ 10 w 67"/>
                <a:gd name="T49" fmla="*/ 9 h 86"/>
                <a:gd name="T50" fmla="*/ 10 w 67"/>
                <a:gd name="T51" fmla="*/ 9 h 86"/>
                <a:gd name="T52" fmla="*/ 8 w 67"/>
                <a:gd name="T53" fmla="*/ 8 h 86"/>
                <a:gd name="T54" fmla="*/ 8 w 67"/>
                <a:gd name="T55" fmla="*/ 7 h 86"/>
                <a:gd name="T56" fmla="*/ 8 w 67"/>
                <a:gd name="T57" fmla="*/ 6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9525" cmpd="sng">
              <a:solidFill>
                <a:srgbClr val="FFFFFF"/>
              </a:solidFill>
              <a:prstDash val="solid"/>
              <a:round/>
              <a:headEnd/>
              <a:tailEnd/>
            </a:ln>
          </p:spPr>
          <p:txBody>
            <a:bodyPr/>
            <a:lstStyle/>
            <a:p>
              <a:endParaRPr lang="es-ES" dirty="0"/>
            </a:p>
          </p:txBody>
        </p:sp>
        <p:sp>
          <p:nvSpPr>
            <p:cNvPr id="612" name="Freeform 62">
              <a:extLst>
                <a:ext uri="{FF2B5EF4-FFF2-40B4-BE49-F238E27FC236}">
                  <a16:creationId xmlns:a16="http://schemas.microsoft.com/office/drawing/2014/main" id="{AA192B38-A4CC-4801-A5E6-0E96B7BC6C81}"/>
                </a:ext>
              </a:extLst>
            </p:cNvPr>
            <p:cNvSpPr>
              <a:spLocks/>
            </p:cNvSpPr>
            <p:nvPr/>
          </p:nvSpPr>
          <p:spPr bwMode="auto">
            <a:xfrm>
              <a:off x="1201" y="2159"/>
              <a:ext cx="16" cy="28"/>
            </a:xfrm>
            <a:custGeom>
              <a:avLst/>
              <a:gdLst>
                <a:gd name="T0" fmla="*/ 9 w 49"/>
                <a:gd name="T1" fmla="*/ 4 h 86"/>
                <a:gd name="T2" fmla="*/ 7 w 49"/>
                <a:gd name="T3" fmla="*/ 2 h 86"/>
                <a:gd name="T4" fmla="*/ 5 w 49"/>
                <a:gd name="T5" fmla="*/ 0 h 86"/>
                <a:gd name="T6" fmla="*/ 3 w 49"/>
                <a:gd name="T7" fmla="*/ 2 h 86"/>
                <a:gd name="T8" fmla="*/ 2 w 49"/>
                <a:gd name="T9" fmla="*/ 4 h 86"/>
                <a:gd name="T10" fmla="*/ 0 w 49"/>
                <a:gd name="T11" fmla="*/ 7 h 86"/>
                <a:gd name="T12" fmla="*/ 0 w 49"/>
                <a:gd name="T13" fmla="*/ 10 h 86"/>
                <a:gd name="T14" fmla="*/ 0 w 49"/>
                <a:gd name="T15" fmla="*/ 12 h 86"/>
                <a:gd name="T16" fmla="*/ 1 w 49"/>
                <a:gd name="T17" fmla="*/ 14 h 86"/>
                <a:gd name="T18" fmla="*/ 2 w 49"/>
                <a:gd name="T19" fmla="*/ 16 h 86"/>
                <a:gd name="T20" fmla="*/ 3 w 49"/>
                <a:gd name="T21" fmla="*/ 19 h 86"/>
                <a:gd name="T22" fmla="*/ 4 w 49"/>
                <a:gd name="T23" fmla="*/ 21 h 86"/>
                <a:gd name="T24" fmla="*/ 6 w 49"/>
                <a:gd name="T25" fmla="*/ 24 h 86"/>
                <a:gd name="T26" fmla="*/ 7 w 49"/>
                <a:gd name="T27" fmla="*/ 26 h 86"/>
                <a:gd name="T28" fmla="*/ 9 w 49"/>
                <a:gd name="T29" fmla="*/ 28 h 86"/>
                <a:gd name="T30" fmla="*/ 10 w 49"/>
                <a:gd name="T31" fmla="*/ 26 h 86"/>
                <a:gd name="T32" fmla="*/ 12 w 49"/>
                <a:gd name="T33" fmla="*/ 22 h 86"/>
                <a:gd name="T34" fmla="*/ 14 w 49"/>
                <a:gd name="T35" fmla="*/ 19 h 86"/>
                <a:gd name="T36" fmla="*/ 15 w 49"/>
                <a:gd name="T37" fmla="*/ 15 h 86"/>
                <a:gd name="T38" fmla="*/ 16 w 49"/>
                <a:gd name="T39" fmla="*/ 13 h 86"/>
                <a:gd name="T40" fmla="*/ 16 w 49"/>
                <a:gd name="T41" fmla="*/ 11 h 86"/>
                <a:gd name="T42" fmla="*/ 16 w 49"/>
                <a:gd name="T43" fmla="*/ 8 h 86"/>
                <a:gd name="T44" fmla="*/ 16 w 49"/>
                <a:gd name="T45" fmla="*/ 7 h 86"/>
                <a:gd name="T46" fmla="*/ 14 w 49"/>
                <a:gd name="T47" fmla="*/ 6 h 86"/>
                <a:gd name="T48" fmla="*/ 13 w 49"/>
                <a:gd name="T49" fmla="*/ 5 h 86"/>
                <a:gd name="T50" fmla="*/ 11 w 49"/>
                <a:gd name="T51" fmla="*/ 4 h 86"/>
                <a:gd name="T52" fmla="*/ 9 w 49"/>
                <a:gd name="T53" fmla="*/ 4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9525" cmpd="sng">
              <a:solidFill>
                <a:srgbClr val="FFFFFF"/>
              </a:solidFill>
              <a:prstDash val="solid"/>
              <a:round/>
              <a:headEnd/>
              <a:tailEnd/>
            </a:ln>
          </p:spPr>
          <p:txBody>
            <a:bodyPr/>
            <a:lstStyle/>
            <a:p>
              <a:endParaRPr lang="es-ES" dirty="0"/>
            </a:p>
          </p:txBody>
        </p:sp>
        <p:sp>
          <p:nvSpPr>
            <p:cNvPr id="613" name="Freeform 63">
              <a:extLst>
                <a:ext uri="{FF2B5EF4-FFF2-40B4-BE49-F238E27FC236}">
                  <a16:creationId xmlns:a16="http://schemas.microsoft.com/office/drawing/2014/main" id="{FE33D8FF-D93A-465C-8BCD-7897142A134A}"/>
                </a:ext>
              </a:extLst>
            </p:cNvPr>
            <p:cNvSpPr>
              <a:spLocks/>
            </p:cNvSpPr>
            <p:nvPr/>
          </p:nvSpPr>
          <p:spPr bwMode="auto">
            <a:xfrm>
              <a:off x="1226" y="2161"/>
              <a:ext cx="2" cy="4"/>
            </a:xfrm>
            <a:custGeom>
              <a:avLst/>
              <a:gdLst>
                <a:gd name="T0" fmla="*/ 0 w 6"/>
                <a:gd name="T1" fmla="*/ 4 h 12"/>
                <a:gd name="T2" fmla="*/ 2 w 6"/>
                <a:gd name="T3" fmla="*/ 0 h 12"/>
                <a:gd name="T4" fmla="*/ 1 w 6"/>
                <a:gd name="T5" fmla="*/ 0 h 12"/>
                <a:gd name="T6" fmla="*/ 1 w 6"/>
                <a:gd name="T7" fmla="*/ 1 h 12"/>
                <a:gd name="T8" fmla="*/ 0 w 6"/>
                <a:gd name="T9" fmla="*/ 1 h 12"/>
                <a:gd name="T10" fmla="*/ 0 w 6"/>
                <a:gd name="T11" fmla="*/ 2 h 12"/>
                <a:gd name="T12" fmla="*/ 0 w 6"/>
                <a:gd name="T13" fmla="*/ 3 h 12"/>
                <a:gd name="T14" fmla="*/ 0 w 6"/>
                <a:gd name="T15" fmla="*/ 4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2">
                  <a:moveTo>
                    <a:pt x="0" y="12"/>
                  </a:moveTo>
                  <a:lnTo>
                    <a:pt x="6" y="0"/>
                  </a:lnTo>
                  <a:lnTo>
                    <a:pt x="4" y="0"/>
                  </a:lnTo>
                  <a:lnTo>
                    <a:pt x="2" y="2"/>
                  </a:lnTo>
                  <a:lnTo>
                    <a:pt x="1" y="4"/>
                  </a:lnTo>
                  <a:lnTo>
                    <a:pt x="0" y="6"/>
                  </a:lnTo>
                  <a:lnTo>
                    <a:pt x="0" y="10"/>
                  </a:lnTo>
                  <a:lnTo>
                    <a:pt x="0" y="12"/>
                  </a:lnTo>
                </a:path>
              </a:pathLst>
            </a:custGeom>
            <a:grpFill/>
            <a:ln w="9525" cmpd="sng">
              <a:solidFill>
                <a:srgbClr val="FFFFFF"/>
              </a:solidFill>
              <a:prstDash val="solid"/>
              <a:round/>
              <a:headEnd/>
              <a:tailEnd/>
            </a:ln>
          </p:spPr>
          <p:txBody>
            <a:bodyPr/>
            <a:lstStyle/>
            <a:p>
              <a:endParaRPr lang="es-ES" dirty="0"/>
            </a:p>
          </p:txBody>
        </p:sp>
        <p:sp>
          <p:nvSpPr>
            <p:cNvPr id="614" name="Freeform 64">
              <a:extLst>
                <a:ext uri="{FF2B5EF4-FFF2-40B4-BE49-F238E27FC236}">
                  <a16:creationId xmlns:a16="http://schemas.microsoft.com/office/drawing/2014/main" id="{8ED9FE34-E0B2-408D-9E7F-93C118CC183D}"/>
                </a:ext>
              </a:extLst>
            </p:cNvPr>
            <p:cNvSpPr>
              <a:spLocks/>
            </p:cNvSpPr>
            <p:nvPr/>
          </p:nvSpPr>
          <p:spPr bwMode="auto">
            <a:xfrm>
              <a:off x="1230" y="2154"/>
              <a:ext cx="13" cy="15"/>
            </a:xfrm>
            <a:custGeom>
              <a:avLst/>
              <a:gdLst>
                <a:gd name="T0" fmla="*/ 0 w 39"/>
                <a:gd name="T1" fmla="*/ 0 h 48"/>
                <a:gd name="T2" fmla="*/ 4 w 39"/>
                <a:gd name="T3" fmla="*/ 3 h 48"/>
                <a:gd name="T4" fmla="*/ 7 w 39"/>
                <a:gd name="T5" fmla="*/ 5 h 48"/>
                <a:gd name="T6" fmla="*/ 11 w 39"/>
                <a:gd name="T7" fmla="*/ 8 h 48"/>
                <a:gd name="T8" fmla="*/ 13 w 39"/>
                <a:gd name="T9" fmla="*/ 9 h 48"/>
                <a:gd name="T10" fmla="*/ 12 w 39"/>
                <a:gd name="T11" fmla="*/ 12 h 48"/>
                <a:gd name="T12" fmla="*/ 11 w 39"/>
                <a:gd name="T13" fmla="*/ 15 h 48"/>
                <a:gd name="T14" fmla="*/ 6 w 39"/>
                <a:gd name="T15" fmla="*/ 11 h 48"/>
                <a:gd name="T16" fmla="*/ 3 w 39"/>
                <a:gd name="T17" fmla="*/ 8 h 48"/>
                <a:gd name="T18" fmla="*/ 1 w 39"/>
                <a:gd name="T19" fmla="*/ 7 h 48"/>
                <a:gd name="T20" fmla="*/ 1 w 39"/>
                <a:gd name="T21" fmla="*/ 5 h 48"/>
                <a:gd name="T22" fmla="*/ 0 w 39"/>
                <a:gd name="T23" fmla="*/ 3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9525" cmpd="sng">
              <a:solidFill>
                <a:srgbClr val="FFFFFF"/>
              </a:solidFill>
              <a:prstDash val="solid"/>
              <a:round/>
              <a:headEnd/>
              <a:tailEnd/>
            </a:ln>
          </p:spPr>
          <p:txBody>
            <a:bodyPr/>
            <a:lstStyle/>
            <a:p>
              <a:endParaRPr lang="es-ES" dirty="0"/>
            </a:p>
          </p:txBody>
        </p:sp>
        <p:sp>
          <p:nvSpPr>
            <p:cNvPr id="615" name="Freeform 65">
              <a:extLst>
                <a:ext uri="{FF2B5EF4-FFF2-40B4-BE49-F238E27FC236}">
                  <a16:creationId xmlns:a16="http://schemas.microsoft.com/office/drawing/2014/main" id="{EBB69567-6093-4AA0-B017-B86A0DA9BC1A}"/>
                </a:ext>
              </a:extLst>
            </p:cNvPr>
            <p:cNvSpPr>
              <a:spLocks/>
            </p:cNvSpPr>
            <p:nvPr/>
          </p:nvSpPr>
          <p:spPr bwMode="auto">
            <a:xfrm>
              <a:off x="1247" y="2167"/>
              <a:ext cx="6" cy="14"/>
            </a:xfrm>
            <a:custGeom>
              <a:avLst/>
              <a:gdLst>
                <a:gd name="T0" fmla="*/ 3 w 16"/>
                <a:gd name="T1" fmla="*/ 0 h 43"/>
                <a:gd name="T2" fmla="*/ 4 w 16"/>
                <a:gd name="T3" fmla="*/ 3 h 43"/>
                <a:gd name="T4" fmla="*/ 6 w 16"/>
                <a:gd name="T5" fmla="*/ 5 h 43"/>
                <a:gd name="T6" fmla="*/ 6 w 16"/>
                <a:gd name="T7" fmla="*/ 7 h 43"/>
                <a:gd name="T8" fmla="*/ 6 w 16"/>
                <a:gd name="T9" fmla="*/ 9 h 43"/>
                <a:gd name="T10" fmla="*/ 6 w 16"/>
                <a:gd name="T11" fmla="*/ 10 h 43"/>
                <a:gd name="T12" fmla="*/ 4 w 16"/>
                <a:gd name="T13" fmla="*/ 11 h 43"/>
                <a:gd name="T14" fmla="*/ 3 w 16"/>
                <a:gd name="T15" fmla="*/ 13 h 43"/>
                <a:gd name="T16" fmla="*/ 0 w 16"/>
                <a:gd name="T17" fmla="*/ 14 h 43"/>
                <a:gd name="T18" fmla="*/ 1 w 16"/>
                <a:gd name="T19" fmla="*/ 9 h 43"/>
                <a:gd name="T20" fmla="*/ 2 w 16"/>
                <a:gd name="T21" fmla="*/ 6 h 43"/>
                <a:gd name="T22" fmla="*/ 2 w 16"/>
                <a:gd name="T23" fmla="*/ 3 h 43"/>
                <a:gd name="T24" fmla="*/ 3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9525" cmpd="sng">
              <a:solidFill>
                <a:srgbClr val="FFFFFF"/>
              </a:solidFill>
              <a:prstDash val="solid"/>
              <a:round/>
              <a:headEnd/>
              <a:tailEnd/>
            </a:ln>
          </p:spPr>
          <p:txBody>
            <a:bodyPr/>
            <a:lstStyle/>
            <a:p>
              <a:endParaRPr lang="es-ES" dirty="0"/>
            </a:p>
          </p:txBody>
        </p:sp>
        <p:sp>
          <p:nvSpPr>
            <p:cNvPr id="616" name="Freeform 66">
              <a:extLst>
                <a:ext uri="{FF2B5EF4-FFF2-40B4-BE49-F238E27FC236}">
                  <a16:creationId xmlns:a16="http://schemas.microsoft.com/office/drawing/2014/main" id="{D049266B-2485-4C24-B76D-BD3EC6ECB4EB}"/>
                </a:ext>
              </a:extLst>
            </p:cNvPr>
            <p:cNvSpPr>
              <a:spLocks/>
            </p:cNvSpPr>
            <p:nvPr/>
          </p:nvSpPr>
          <p:spPr bwMode="auto">
            <a:xfrm>
              <a:off x="1248" y="2190"/>
              <a:ext cx="8" cy="12"/>
            </a:xfrm>
            <a:custGeom>
              <a:avLst/>
              <a:gdLst>
                <a:gd name="T0" fmla="*/ 8 w 24"/>
                <a:gd name="T1" fmla="*/ 12 h 37"/>
                <a:gd name="T2" fmla="*/ 6 w 24"/>
                <a:gd name="T3" fmla="*/ 9 h 37"/>
                <a:gd name="T4" fmla="*/ 5 w 24"/>
                <a:gd name="T5" fmla="*/ 6 h 37"/>
                <a:gd name="T6" fmla="*/ 4 w 24"/>
                <a:gd name="T7" fmla="*/ 3 h 37"/>
                <a:gd name="T8" fmla="*/ 4 w 24"/>
                <a:gd name="T9" fmla="*/ 0 h 37"/>
                <a:gd name="T10" fmla="*/ 2 w 24"/>
                <a:gd name="T11" fmla="*/ 3 h 37"/>
                <a:gd name="T12" fmla="*/ 1 w 24"/>
                <a:gd name="T13" fmla="*/ 6 h 37"/>
                <a:gd name="T14" fmla="*/ 0 w 24"/>
                <a:gd name="T15" fmla="*/ 8 h 37"/>
                <a:gd name="T16" fmla="*/ 0 w 24"/>
                <a:gd name="T17" fmla="*/ 10 h 37"/>
                <a:gd name="T18" fmla="*/ 0 w 24"/>
                <a:gd name="T19" fmla="*/ 11 h 37"/>
                <a:gd name="T20" fmla="*/ 1 w 24"/>
                <a:gd name="T21" fmla="*/ 11 h 37"/>
                <a:gd name="T22" fmla="*/ 1 w 24"/>
                <a:gd name="T23" fmla="*/ 12 h 37"/>
                <a:gd name="T24" fmla="*/ 2 w 24"/>
                <a:gd name="T25" fmla="*/ 12 h 37"/>
                <a:gd name="T26" fmla="*/ 5 w 24"/>
                <a:gd name="T27" fmla="*/ 12 h 37"/>
                <a:gd name="T28" fmla="*/ 8 w 24"/>
                <a:gd name="T29" fmla="*/ 12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9525" cmpd="sng">
              <a:solidFill>
                <a:srgbClr val="FFFFFF"/>
              </a:solidFill>
              <a:prstDash val="solid"/>
              <a:round/>
              <a:headEnd/>
              <a:tailEnd/>
            </a:ln>
          </p:spPr>
          <p:txBody>
            <a:bodyPr/>
            <a:lstStyle/>
            <a:p>
              <a:endParaRPr lang="es-ES" dirty="0"/>
            </a:p>
          </p:txBody>
        </p:sp>
        <p:sp>
          <p:nvSpPr>
            <p:cNvPr id="617" name="Freeform 67">
              <a:extLst>
                <a:ext uri="{FF2B5EF4-FFF2-40B4-BE49-F238E27FC236}">
                  <a16:creationId xmlns:a16="http://schemas.microsoft.com/office/drawing/2014/main" id="{C8C877E7-98A9-4AF2-A101-E96E44BFD519}"/>
                </a:ext>
              </a:extLst>
            </p:cNvPr>
            <p:cNvSpPr>
              <a:spLocks/>
            </p:cNvSpPr>
            <p:nvPr/>
          </p:nvSpPr>
          <p:spPr bwMode="auto">
            <a:xfrm>
              <a:off x="1265" y="2204"/>
              <a:ext cx="11" cy="17"/>
            </a:xfrm>
            <a:custGeom>
              <a:avLst/>
              <a:gdLst>
                <a:gd name="T0" fmla="*/ 11 w 34"/>
                <a:gd name="T1" fmla="*/ 0 h 55"/>
                <a:gd name="T2" fmla="*/ 11 w 34"/>
                <a:gd name="T3" fmla="*/ 4 h 55"/>
                <a:gd name="T4" fmla="*/ 11 w 34"/>
                <a:gd name="T5" fmla="*/ 8 h 55"/>
                <a:gd name="T6" fmla="*/ 11 w 34"/>
                <a:gd name="T7" fmla="*/ 10 h 55"/>
                <a:gd name="T8" fmla="*/ 10 w 34"/>
                <a:gd name="T9" fmla="*/ 12 h 55"/>
                <a:gd name="T10" fmla="*/ 9 w 34"/>
                <a:gd name="T11" fmla="*/ 13 h 55"/>
                <a:gd name="T12" fmla="*/ 8 w 34"/>
                <a:gd name="T13" fmla="*/ 15 h 55"/>
                <a:gd name="T14" fmla="*/ 6 w 34"/>
                <a:gd name="T15" fmla="*/ 16 h 55"/>
                <a:gd name="T16" fmla="*/ 5 w 34"/>
                <a:gd name="T17" fmla="*/ 16 h 55"/>
                <a:gd name="T18" fmla="*/ 3 w 34"/>
                <a:gd name="T19" fmla="*/ 17 h 55"/>
                <a:gd name="T20" fmla="*/ 0 w 34"/>
                <a:gd name="T21" fmla="*/ 17 h 55"/>
                <a:gd name="T22" fmla="*/ 3 w 34"/>
                <a:gd name="T23" fmla="*/ 11 h 55"/>
                <a:gd name="T24" fmla="*/ 5 w 34"/>
                <a:gd name="T25" fmla="*/ 6 h 55"/>
                <a:gd name="T26" fmla="*/ 6 w 34"/>
                <a:gd name="T27" fmla="*/ 5 h 55"/>
                <a:gd name="T28" fmla="*/ 7 w 34"/>
                <a:gd name="T29" fmla="*/ 3 h 55"/>
                <a:gd name="T30" fmla="*/ 9 w 34"/>
                <a:gd name="T31" fmla="*/ 2 h 55"/>
                <a:gd name="T32" fmla="*/ 11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9525" cmpd="sng">
              <a:solidFill>
                <a:srgbClr val="FFFFFF"/>
              </a:solidFill>
              <a:prstDash val="solid"/>
              <a:round/>
              <a:headEnd/>
              <a:tailEnd/>
            </a:ln>
          </p:spPr>
          <p:txBody>
            <a:bodyPr/>
            <a:lstStyle/>
            <a:p>
              <a:endParaRPr lang="es-ES" dirty="0"/>
            </a:p>
          </p:txBody>
        </p:sp>
        <p:sp>
          <p:nvSpPr>
            <p:cNvPr id="618" name="Freeform 68">
              <a:extLst>
                <a:ext uri="{FF2B5EF4-FFF2-40B4-BE49-F238E27FC236}">
                  <a16:creationId xmlns:a16="http://schemas.microsoft.com/office/drawing/2014/main" id="{408D5AF9-841E-4300-9971-65C225F5F2D9}"/>
                </a:ext>
              </a:extLst>
            </p:cNvPr>
            <p:cNvSpPr>
              <a:spLocks/>
            </p:cNvSpPr>
            <p:nvPr/>
          </p:nvSpPr>
          <p:spPr bwMode="auto">
            <a:xfrm>
              <a:off x="1285" y="2215"/>
              <a:ext cx="11" cy="4"/>
            </a:xfrm>
            <a:custGeom>
              <a:avLst/>
              <a:gdLst>
                <a:gd name="T0" fmla="*/ 0 w 33"/>
                <a:gd name="T1" fmla="*/ 0 h 12"/>
                <a:gd name="T2" fmla="*/ 1 w 33"/>
                <a:gd name="T3" fmla="*/ 1 h 12"/>
                <a:gd name="T4" fmla="*/ 2 w 33"/>
                <a:gd name="T5" fmla="*/ 2 h 12"/>
                <a:gd name="T6" fmla="*/ 3 w 33"/>
                <a:gd name="T7" fmla="*/ 3 h 12"/>
                <a:gd name="T8" fmla="*/ 5 w 33"/>
                <a:gd name="T9" fmla="*/ 4 h 12"/>
                <a:gd name="T10" fmla="*/ 8 w 33"/>
                <a:gd name="T11" fmla="*/ 4 h 12"/>
                <a:gd name="T12" fmla="*/ 11 w 33"/>
                <a:gd name="T13" fmla="*/ 4 h 12"/>
                <a:gd name="T14" fmla="*/ 9 w 33"/>
                <a:gd name="T15" fmla="*/ 3 h 12"/>
                <a:gd name="T16" fmla="*/ 6 w 33"/>
                <a:gd name="T17" fmla="*/ 1 h 12"/>
                <a:gd name="T18" fmla="*/ 3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9525" cmpd="sng">
              <a:solidFill>
                <a:srgbClr val="FFFFFF"/>
              </a:solidFill>
              <a:prstDash val="solid"/>
              <a:round/>
              <a:headEnd/>
              <a:tailEnd/>
            </a:ln>
          </p:spPr>
          <p:txBody>
            <a:bodyPr/>
            <a:lstStyle/>
            <a:p>
              <a:endParaRPr lang="es-ES" dirty="0"/>
            </a:p>
          </p:txBody>
        </p:sp>
      </p:grpSp>
      <p:sp>
        <p:nvSpPr>
          <p:cNvPr id="619" name="Freeform 69">
            <a:extLst>
              <a:ext uri="{FF2B5EF4-FFF2-40B4-BE49-F238E27FC236}">
                <a16:creationId xmlns:a16="http://schemas.microsoft.com/office/drawing/2014/main" id="{F7EA3668-0845-43F0-831F-995435554B7B}"/>
              </a:ext>
            </a:extLst>
          </p:cNvPr>
          <p:cNvSpPr>
            <a:spLocks/>
          </p:cNvSpPr>
          <p:nvPr>
            <p:custDataLst>
              <p:tags r:id="rId52"/>
            </p:custDataLst>
          </p:nvPr>
        </p:nvSpPr>
        <p:spPr bwMode="auto">
          <a:xfrm>
            <a:off x="15916392" y="8828032"/>
            <a:ext cx="26947" cy="121262"/>
          </a:xfrm>
          <a:custGeom>
            <a:avLst/>
            <a:gdLst>
              <a:gd name="T0" fmla="*/ 0 w 33"/>
              <a:gd name="T1" fmla="*/ 57150 h 62"/>
              <a:gd name="T2" fmla="*/ 0 w 33"/>
              <a:gd name="T3" fmla="*/ 48854 h 62"/>
              <a:gd name="T4" fmla="*/ 0 w 33"/>
              <a:gd name="T5" fmla="*/ 41480 h 62"/>
              <a:gd name="T6" fmla="*/ 0 w 33"/>
              <a:gd name="T7" fmla="*/ 34106 h 62"/>
              <a:gd name="T8" fmla="*/ 0 w 33"/>
              <a:gd name="T9" fmla="*/ 28575 h 62"/>
              <a:gd name="T10" fmla="*/ 0 w 33"/>
              <a:gd name="T11" fmla="*/ 23966 h 62"/>
              <a:gd name="T12" fmla="*/ 770 w 33"/>
              <a:gd name="T13" fmla="*/ 20279 h 62"/>
              <a:gd name="T14" fmla="*/ 1539 w 33"/>
              <a:gd name="T15" fmla="*/ 15670 h 62"/>
              <a:gd name="T16" fmla="*/ 3079 w 33"/>
              <a:gd name="T17" fmla="*/ 11983 h 62"/>
              <a:gd name="T18" fmla="*/ 5388 w 33"/>
              <a:gd name="T19" fmla="*/ 5531 h 62"/>
              <a:gd name="T20" fmla="*/ 7697 w 33"/>
              <a:gd name="T21" fmla="*/ 0 h 62"/>
              <a:gd name="T22" fmla="*/ 10006 w 33"/>
              <a:gd name="T23" fmla="*/ 5531 h 62"/>
              <a:gd name="T24" fmla="*/ 12700 w 33"/>
              <a:gd name="T25" fmla="*/ 11983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20" name="Freeform 70">
            <a:extLst>
              <a:ext uri="{FF2B5EF4-FFF2-40B4-BE49-F238E27FC236}">
                <a16:creationId xmlns:a16="http://schemas.microsoft.com/office/drawing/2014/main" id="{42D244BC-4281-453F-AECD-E62510304B24}"/>
              </a:ext>
            </a:extLst>
          </p:cNvPr>
          <p:cNvSpPr>
            <a:spLocks/>
          </p:cNvSpPr>
          <p:nvPr>
            <p:custDataLst>
              <p:tags r:id="rId53"/>
            </p:custDataLst>
          </p:nvPr>
        </p:nvSpPr>
        <p:spPr bwMode="auto">
          <a:xfrm>
            <a:off x="15936603" y="9020031"/>
            <a:ext cx="20210" cy="124629"/>
          </a:xfrm>
          <a:custGeom>
            <a:avLst/>
            <a:gdLst>
              <a:gd name="T0" fmla="*/ 0 w 26"/>
              <a:gd name="T1" fmla="*/ 58737 h 18"/>
              <a:gd name="T2" fmla="*/ 0 w 26"/>
              <a:gd name="T3" fmla="*/ 0 h 18"/>
              <a:gd name="T4" fmla="*/ 9525 w 26"/>
              <a:gd name="T5" fmla="*/ 0 h 18"/>
              <a:gd name="T6" fmla="*/ 2198 w 26"/>
              <a:gd name="T7" fmla="*/ 39158 h 18"/>
              <a:gd name="T8" fmla="*/ 2198 w 26"/>
              <a:gd name="T9" fmla="*/ 19579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18"/>
                </a:moveTo>
                <a:lnTo>
                  <a:pt x="0" y="0"/>
                </a:lnTo>
                <a:lnTo>
                  <a:pt x="26" y="0"/>
                </a:lnTo>
                <a:lnTo>
                  <a:pt x="6" y="12"/>
                </a:lnTo>
                <a:lnTo>
                  <a:pt x="6" y="6"/>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21" name="Freeform 71">
            <a:extLst>
              <a:ext uri="{FF2B5EF4-FFF2-40B4-BE49-F238E27FC236}">
                <a16:creationId xmlns:a16="http://schemas.microsoft.com/office/drawing/2014/main" id="{122E2B52-B231-4F9B-B84F-D33330DB20B1}"/>
              </a:ext>
            </a:extLst>
          </p:cNvPr>
          <p:cNvSpPr>
            <a:spLocks/>
          </p:cNvSpPr>
          <p:nvPr>
            <p:custDataLst>
              <p:tags r:id="rId54"/>
            </p:custDataLst>
          </p:nvPr>
        </p:nvSpPr>
        <p:spPr bwMode="auto">
          <a:xfrm>
            <a:off x="16179126" y="8828032"/>
            <a:ext cx="165051" cy="276207"/>
          </a:xfrm>
          <a:custGeom>
            <a:avLst/>
            <a:gdLst>
              <a:gd name="T0" fmla="*/ 77788 w 180"/>
              <a:gd name="T1" fmla="*/ 120412 h 240"/>
              <a:gd name="T2" fmla="*/ 75627 w 180"/>
              <a:gd name="T3" fmla="*/ 120954 h 240"/>
              <a:gd name="T4" fmla="*/ 73899 w 180"/>
              <a:gd name="T5" fmla="*/ 120954 h 240"/>
              <a:gd name="T6" fmla="*/ 72170 w 180"/>
              <a:gd name="T7" fmla="*/ 122039 h 240"/>
              <a:gd name="T8" fmla="*/ 70874 w 180"/>
              <a:gd name="T9" fmla="*/ 123124 h 240"/>
              <a:gd name="T10" fmla="*/ 68281 w 180"/>
              <a:gd name="T11" fmla="*/ 125836 h 240"/>
              <a:gd name="T12" fmla="*/ 66120 w 180"/>
              <a:gd name="T13" fmla="*/ 130175 h 240"/>
              <a:gd name="T14" fmla="*/ 60502 w 180"/>
              <a:gd name="T15" fmla="*/ 125836 h 240"/>
              <a:gd name="T16" fmla="*/ 56612 w 180"/>
              <a:gd name="T17" fmla="*/ 120954 h 240"/>
              <a:gd name="T18" fmla="*/ 53155 w 180"/>
              <a:gd name="T19" fmla="*/ 116073 h 240"/>
              <a:gd name="T20" fmla="*/ 50994 w 180"/>
              <a:gd name="T21" fmla="*/ 111734 h 240"/>
              <a:gd name="T22" fmla="*/ 48401 w 180"/>
              <a:gd name="T23" fmla="*/ 105767 h 240"/>
              <a:gd name="T24" fmla="*/ 45808 w 180"/>
              <a:gd name="T25" fmla="*/ 100343 h 240"/>
              <a:gd name="T26" fmla="*/ 42351 w 180"/>
              <a:gd name="T27" fmla="*/ 94377 h 240"/>
              <a:gd name="T28" fmla="*/ 37598 w 180"/>
              <a:gd name="T29" fmla="*/ 87326 h 240"/>
              <a:gd name="T30" fmla="*/ 35437 w 180"/>
              <a:gd name="T31" fmla="*/ 82987 h 240"/>
              <a:gd name="T32" fmla="*/ 32412 w 180"/>
              <a:gd name="T33" fmla="*/ 79190 h 240"/>
              <a:gd name="T34" fmla="*/ 30251 w 180"/>
              <a:gd name="T35" fmla="*/ 75393 h 240"/>
              <a:gd name="T36" fmla="*/ 26794 w 180"/>
              <a:gd name="T37" fmla="*/ 72139 h 240"/>
              <a:gd name="T38" fmla="*/ 20743 w 180"/>
              <a:gd name="T39" fmla="*/ 65630 h 240"/>
              <a:gd name="T40" fmla="*/ 14261 w 180"/>
              <a:gd name="T41" fmla="*/ 59664 h 240"/>
              <a:gd name="T42" fmla="*/ 11668 w 180"/>
              <a:gd name="T43" fmla="*/ 56409 h 240"/>
              <a:gd name="T44" fmla="*/ 9075 w 180"/>
              <a:gd name="T45" fmla="*/ 53155 h 240"/>
              <a:gd name="T46" fmla="*/ 6482 w 180"/>
              <a:gd name="T47" fmla="*/ 49900 h 240"/>
              <a:gd name="T48" fmla="*/ 4322 w 180"/>
              <a:gd name="T49" fmla="*/ 45561 h 240"/>
              <a:gd name="T50" fmla="*/ 2593 w 180"/>
              <a:gd name="T51" fmla="*/ 41764 h 240"/>
              <a:gd name="T52" fmla="*/ 1729 w 180"/>
              <a:gd name="T53" fmla="*/ 36883 h 240"/>
              <a:gd name="T54" fmla="*/ 432 w 180"/>
              <a:gd name="T55" fmla="*/ 32544 h 240"/>
              <a:gd name="T56" fmla="*/ 0 w 180"/>
              <a:gd name="T57" fmla="*/ 27120 h 240"/>
              <a:gd name="T58" fmla="*/ 0 w 180"/>
              <a:gd name="T59" fmla="*/ 18984 h 240"/>
              <a:gd name="T60" fmla="*/ 0 w 180"/>
              <a:gd name="T61" fmla="*/ 13560 h 240"/>
              <a:gd name="T62" fmla="*/ 0 w 180"/>
              <a:gd name="T63" fmla="*/ 8136 h 240"/>
              <a:gd name="T64" fmla="*/ 0 w 180"/>
              <a:gd name="T65" fmla="*/ 0 h 240"/>
              <a:gd name="T66" fmla="*/ 4322 w 180"/>
              <a:gd name="T67" fmla="*/ 4339 h 240"/>
              <a:gd name="T68" fmla="*/ 8211 w 180"/>
              <a:gd name="T69" fmla="*/ 9221 h 240"/>
              <a:gd name="T70" fmla="*/ 11668 w 180"/>
              <a:gd name="T71" fmla="*/ 14645 h 240"/>
              <a:gd name="T72" fmla="*/ 14693 w 180"/>
              <a:gd name="T73" fmla="*/ 20611 h 240"/>
              <a:gd name="T74" fmla="*/ 17718 w 180"/>
              <a:gd name="T75" fmla="*/ 26035 h 240"/>
              <a:gd name="T76" fmla="*/ 19879 w 180"/>
              <a:gd name="T77" fmla="*/ 31459 h 240"/>
              <a:gd name="T78" fmla="*/ 22040 w 180"/>
              <a:gd name="T79" fmla="*/ 35798 h 240"/>
              <a:gd name="T80" fmla="*/ 23336 w 180"/>
              <a:gd name="T81" fmla="*/ 40137 h 240"/>
              <a:gd name="T82" fmla="*/ 25929 w 180"/>
              <a:gd name="T83" fmla="*/ 46646 h 240"/>
              <a:gd name="T84" fmla="*/ 28522 w 180"/>
              <a:gd name="T85" fmla="*/ 53155 h 240"/>
              <a:gd name="T86" fmla="*/ 31980 w 180"/>
              <a:gd name="T87" fmla="*/ 58036 h 240"/>
              <a:gd name="T88" fmla="*/ 35437 w 180"/>
              <a:gd name="T89" fmla="*/ 62918 h 240"/>
              <a:gd name="T90" fmla="*/ 43216 w 180"/>
              <a:gd name="T91" fmla="*/ 72139 h 240"/>
              <a:gd name="T92" fmla="*/ 51427 w 180"/>
              <a:gd name="T93" fmla="*/ 80817 h 240"/>
              <a:gd name="T94" fmla="*/ 60070 w 180"/>
              <a:gd name="T95" fmla="*/ 88953 h 240"/>
              <a:gd name="T96" fmla="*/ 66984 w 180"/>
              <a:gd name="T97" fmla="*/ 97631 h 240"/>
              <a:gd name="T98" fmla="*/ 70441 w 180"/>
              <a:gd name="T99" fmla="*/ 102513 h 240"/>
              <a:gd name="T100" fmla="*/ 73034 w 180"/>
              <a:gd name="T101" fmla="*/ 107937 h 240"/>
              <a:gd name="T102" fmla="*/ 75627 w 180"/>
              <a:gd name="T103" fmla="*/ 113903 h 240"/>
              <a:gd name="T104" fmla="*/ 77788 w 180"/>
              <a:gd name="T105" fmla="*/ 120412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22" name="Freeform 72">
            <a:extLst>
              <a:ext uri="{FF2B5EF4-FFF2-40B4-BE49-F238E27FC236}">
                <a16:creationId xmlns:a16="http://schemas.microsoft.com/office/drawing/2014/main" id="{5B60660A-93B6-4302-BAD9-0533CB23CB3F}"/>
              </a:ext>
            </a:extLst>
          </p:cNvPr>
          <p:cNvSpPr>
            <a:spLocks/>
          </p:cNvSpPr>
          <p:nvPr>
            <p:custDataLst>
              <p:tags r:id="rId55"/>
            </p:custDataLst>
          </p:nvPr>
        </p:nvSpPr>
        <p:spPr bwMode="auto">
          <a:xfrm>
            <a:off x="16179126" y="8770771"/>
            <a:ext cx="30316" cy="121262"/>
          </a:xfrm>
          <a:custGeom>
            <a:avLst/>
            <a:gdLst>
              <a:gd name="T0" fmla="*/ 0 w 27"/>
              <a:gd name="T1" fmla="*/ 0 h 30"/>
              <a:gd name="T2" fmla="*/ 529 w 27"/>
              <a:gd name="T3" fmla="*/ 9525 h 30"/>
              <a:gd name="T4" fmla="*/ 1588 w 27"/>
              <a:gd name="T5" fmla="*/ 20955 h 30"/>
              <a:gd name="T6" fmla="*/ 2117 w 27"/>
              <a:gd name="T7" fmla="*/ 26670 h 30"/>
              <a:gd name="T8" fmla="*/ 2117 w 27"/>
              <a:gd name="T9" fmla="*/ 36195 h 30"/>
              <a:gd name="T10" fmla="*/ 1588 w 27"/>
              <a:gd name="T11" fmla="*/ 45720 h 30"/>
              <a:gd name="T12" fmla="*/ 0 w 27"/>
              <a:gd name="T13" fmla="*/ 57150 h 30"/>
              <a:gd name="T14" fmla="*/ 8996 w 27"/>
              <a:gd name="T15" fmla="*/ 51435 h 30"/>
              <a:gd name="T16" fmla="*/ 14288 w 27"/>
              <a:gd name="T17" fmla="*/ 45720 h 30"/>
              <a:gd name="T18" fmla="*/ 12171 w 27"/>
              <a:gd name="T19" fmla="*/ 38100 h 30"/>
              <a:gd name="T20" fmla="*/ 8996 w 27"/>
              <a:gd name="T21" fmla="*/ 22860 h 30"/>
              <a:gd name="T22" fmla="*/ 5821 w 27"/>
              <a:gd name="T23" fmla="*/ 15240 h 30"/>
              <a:gd name="T24" fmla="*/ 3704 w 27"/>
              <a:gd name="T25" fmla="*/ 7620 h 30"/>
              <a:gd name="T26" fmla="*/ 2117 w 27"/>
              <a:gd name="T27" fmla="*/ 1905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grpSp>
        <p:nvGrpSpPr>
          <p:cNvPr id="623" name="Group 73">
            <a:extLst>
              <a:ext uri="{FF2B5EF4-FFF2-40B4-BE49-F238E27FC236}">
                <a16:creationId xmlns:a16="http://schemas.microsoft.com/office/drawing/2014/main" id="{1A2FE007-5E24-4040-9F44-97F97DB16144}"/>
              </a:ext>
            </a:extLst>
          </p:cNvPr>
          <p:cNvGrpSpPr>
            <a:grpSpLocks/>
          </p:cNvGrpSpPr>
          <p:nvPr>
            <p:custDataLst>
              <p:tags r:id="rId56"/>
            </p:custDataLst>
          </p:nvPr>
        </p:nvGrpSpPr>
        <p:grpSpPr bwMode="auto">
          <a:xfrm>
            <a:off x="15522294" y="9875598"/>
            <a:ext cx="973459" cy="858935"/>
            <a:chOff x="5372" y="3323"/>
            <a:chExt cx="341" cy="253"/>
          </a:xfrm>
          <a:solidFill>
            <a:schemeClr val="bg2">
              <a:lumMod val="50000"/>
              <a:alpha val="18000"/>
            </a:schemeClr>
          </a:solidFill>
        </p:grpSpPr>
        <p:sp>
          <p:nvSpPr>
            <p:cNvPr id="624" name="Freeform 74">
              <a:extLst>
                <a:ext uri="{FF2B5EF4-FFF2-40B4-BE49-F238E27FC236}">
                  <a16:creationId xmlns:a16="http://schemas.microsoft.com/office/drawing/2014/main" id="{CD65D60C-145F-44EE-8756-5B1A4107DF77}"/>
                </a:ext>
              </a:extLst>
            </p:cNvPr>
            <p:cNvSpPr>
              <a:spLocks/>
            </p:cNvSpPr>
            <p:nvPr/>
          </p:nvSpPr>
          <p:spPr bwMode="auto">
            <a:xfrm>
              <a:off x="5372" y="3565"/>
              <a:ext cx="16" cy="11"/>
            </a:xfrm>
            <a:custGeom>
              <a:avLst/>
              <a:gdLst>
                <a:gd name="T0" fmla="*/ 0 w 53"/>
                <a:gd name="T1" fmla="*/ 10 h 33"/>
                <a:gd name="T2" fmla="*/ 1 w 53"/>
                <a:gd name="T3" fmla="*/ 9 h 33"/>
                <a:gd name="T4" fmla="*/ 2 w 53"/>
                <a:gd name="T5" fmla="*/ 7 h 33"/>
                <a:gd name="T6" fmla="*/ 5 w 53"/>
                <a:gd name="T7" fmla="*/ 5 h 33"/>
                <a:gd name="T8" fmla="*/ 6 w 53"/>
                <a:gd name="T9" fmla="*/ 4 h 33"/>
                <a:gd name="T10" fmla="*/ 9 w 53"/>
                <a:gd name="T11" fmla="*/ 2 h 33"/>
                <a:gd name="T12" fmla="*/ 11 w 53"/>
                <a:gd name="T13" fmla="*/ 1 h 33"/>
                <a:gd name="T14" fmla="*/ 14 w 53"/>
                <a:gd name="T15" fmla="*/ 0 h 33"/>
                <a:gd name="T16" fmla="*/ 16 w 53"/>
                <a:gd name="T17" fmla="*/ 0 h 33"/>
                <a:gd name="T18" fmla="*/ 16 w 53"/>
                <a:gd name="T19" fmla="*/ 6 h 33"/>
                <a:gd name="T20" fmla="*/ 11 w 53"/>
                <a:gd name="T21" fmla="*/ 8 h 33"/>
                <a:gd name="T22" fmla="*/ 8 w 53"/>
                <a:gd name="T23" fmla="*/ 10 h 33"/>
                <a:gd name="T24" fmla="*/ 6 w 53"/>
                <a:gd name="T25" fmla="*/ 11 h 33"/>
                <a:gd name="T26" fmla="*/ 5 w 53"/>
                <a:gd name="T27" fmla="*/ 11 h 33"/>
                <a:gd name="T28" fmla="*/ 3 w 53"/>
                <a:gd name="T29" fmla="*/ 11 h 33"/>
                <a:gd name="T30" fmla="*/ 0 w 53"/>
                <a:gd name="T31" fmla="*/ 1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625" name="Freeform 75">
              <a:extLst>
                <a:ext uri="{FF2B5EF4-FFF2-40B4-BE49-F238E27FC236}">
                  <a16:creationId xmlns:a16="http://schemas.microsoft.com/office/drawing/2014/main" id="{4D3E8658-0206-42FF-8962-33BF118A07E5}"/>
                </a:ext>
              </a:extLst>
            </p:cNvPr>
            <p:cNvSpPr>
              <a:spLocks/>
            </p:cNvSpPr>
            <p:nvPr/>
          </p:nvSpPr>
          <p:spPr bwMode="auto">
            <a:xfrm>
              <a:off x="5379" y="3446"/>
              <a:ext cx="202" cy="117"/>
            </a:xfrm>
            <a:custGeom>
              <a:avLst/>
              <a:gdLst>
                <a:gd name="T0" fmla="*/ 8 w 631"/>
                <a:gd name="T1" fmla="*/ 97 h 358"/>
                <a:gd name="T2" fmla="*/ 16 w 631"/>
                <a:gd name="T3" fmla="*/ 95 h 358"/>
                <a:gd name="T4" fmla="*/ 21 w 631"/>
                <a:gd name="T5" fmla="*/ 91 h 358"/>
                <a:gd name="T6" fmla="*/ 25 w 631"/>
                <a:gd name="T7" fmla="*/ 83 h 358"/>
                <a:gd name="T8" fmla="*/ 32 w 631"/>
                <a:gd name="T9" fmla="*/ 84 h 358"/>
                <a:gd name="T10" fmla="*/ 40 w 631"/>
                <a:gd name="T11" fmla="*/ 83 h 358"/>
                <a:gd name="T12" fmla="*/ 45 w 631"/>
                <a:gd name="T13" fmla="*/ 81 h 358"/>
                <a:gd name="T14" fmla="*/ 52 w 631"/>
                <a:gd name="T15" fmla="*/ 75 h 358"/>
                <a:gd name="T16" fmla="*/ 58 w 631"/>
                <a:gd name="T17" fmla="*/ 68 h 358"/>
                <a:gd name="T18" fmla="*/ 68 w 631"/>
                <a:gd name="T19" fmla="*/ 63 h 358"/>
                <a:gd name="T20" fmla="*/ 83 w 631"/>
                <a:gd name="T21" fmla="*/ 57 h 358"/>
                <a:gd name="T22" fmla="*/ 105 w 631"/>
                <a:gd name="T23" fmla="*/ 50 h 358"/>
                <a:gd name="T24" fmla="*/ 116 w 631"/>
                <a:gd name="T25" fmla="*/ 45 h 358"/>
                <a:gd name="T26" fmla="*/ 125 w 631"/>
                <a:gd name="T27" fmla="*/ 42 h 358"/>
                <a:gd name="T28" fmla="*/ 130 w 631"/>
                <a:gd name="T29" fmla="*/ 42 h 358"/>
                <a:gd name="T30" fmla="*/ 141 w 631"/>
                <a:gd name="T31" fmla="*/ 35 h 358"/>
                <a:gd name="T32" fmla="*/ 150 w 631"/>
                <a:gd name="T33" fmla="*/ 26 h 358"/>
                <a:gd name="T34" fmla="*/ 153 w 631"/>
                <a:gd name="T35" fmla="*/ 21 h 358"/>
                <a:gd name="T36" fmla="*/ 161 w 631"/>
                <a:gd name="T37" fmla="*/ 19 h 358"/>
                <a:gd name="T38" fmla="*/ 172 w 631"/>
                <a:gd name="T39" fmla="*/ 12 h 358"/>
                <a:gd name="T40" fmla="*/ 182 w 631"/>
                <a:gd name="T41" fmla="*/ 4 h 358"/>
                <a:gd name="T42" fmla="*/ 189 w 631"/>
                <a:gd name="T43" fmla="*/ 0 h 358"/>
                <a:gd name="T44" fmla="*/ 193 w 631"/>
                <a:gd name="T45" fmla="*/ 7 h 358"/>
                <a:gd name="T46" fmla="*/ 198 w 631"/>
                <a:gd name="T47" fmla="*/ 10 h 358"/>
                <a:gd name="T48" fmla="*/ 200 w 631"/>
                <a:gd name="T49" fmla="*/ 15 h 358"/>
                <a:gd name="T50" fmla="*/ 192 w 631"/>
                <a:gd name="T51" fmla="*/ 29 h 358"/>
                <a:gd name="T52" fmla="*/ 182 w 631"/>
                <a:gd name="T53" fmla="*/ 41 h 358"/>
                <a:gd name="T54" fmla="*/ 169 w 631"/>
                <a:gd name="T55" fmla="*/ 50 h 358"/>
                <a:gd name="T56" fmla="*/ 156 w 631"/>
                <a:gd name="T57" fmla="*/ 57 h 358"/>
                <a:gd name="T58" fmla="*/ 142 w 631"/>
                <a:gd name="T59" fmla="*/ 59 h 358"/>
                <a:gd name="T60" fmla="*/ 140 w 631"/>
                <a:gd name="T61" fmla="*/ 64 h 358"/>
                <a:gd name="T62" fmla="*/ 139 w 631"/>
                <a:gd name="T63" fmla="*/ 65 h 358"/>
                <a:gd name="T64" fmla="*/ 126 w 631"/>
                <a:gd name="T65" fmla="*/ 65 h 358"/>
                <a:gd name="T66" fmla="*/ 117 w 631"/>
                <a:gd name="T67" fmla="*/ 69 h 358"/>
                <a:gd name="T68" fmla="*/ 111 w 631"/>
                <a:gd name="T69" fmla="*/ 69 h 358"/>
                <a:gd name="T70" fmla="*/ 108 w 631"/>
                <a:gd name="T71" fmla="*/ 67 h 358"/>
                <a:gd name="T72" fmla="*/ 100 w 631"/>
                <a:gd name="T73" fmla="*/ 79 h 358"/>
                <a:gd name="T74" fmla="*/ 87 w 631"/>
                <a:gd name="T75" fmla="*/ 92 h 358"/>
                <a:gd name="T76" fmla="*/ 70 w 631"/>
                <a:gd name="T77" fmla="*/ 103 h 358"/>
                <a:gd name="T78" fmla="*/ 53 w 631"/>
                <a:gd name="T79" fmla="*/ 112 h 358"/>
                <a:gd name="T80" fmla="*/ 35 w 631"/>
                <a:gd name="T81" fmla="*/ 117 h 358"/>
                <a:gd name="T82" fmla="*/ 23 w 631"/>
                <a:gd name="T83" fmla="*/ 116 h 358"/>
                <a:gd name="T84" fmla="*/ 18 w 631"/>
                <a:gd name="T85" fmla="*/ 114 h 358"/>
                <a:gd name="T86" fmla="*/ 11 w 631"/>
                <a:gd name="T87" fmla="*/ 111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626" name="Freeform 76">
              <a:extLst>
                <a:ext uri="{FF2B5EF4-FFF2-40B4-BE49-F238E27FC236}">
                  <a16:creationId xmlns:a16="http://schemas.microsoft.com/office/drawing/2014/main" id="{7145B10C-9667-43C3-BBBE-BF95358C21FA}"/>
                </a:ext>
              </a:extLst>
            </p:cNvPr>
            <p:cNvSpPr>
              <a:spLocks/>
            </p:cNvSpPr>
            <p:nvPr/>
          </p:nvSpPr>
          <p:spPr bwMode="auto">
            <a:xfrm>
              <a:off x="5597" y="3323"/>
              <a:ext cx="116" cy="141"/>
            </a:xfrm>
            <a:custGeom>
              <a:avLst/>
              <a:gdLst>
                <a:gd name="T0" fmla="*/ 19 w 359"/>
                <a:gd name="T1" fmla="*/ 94 h 431"/>
                <a:gd name="T2" fmla="*/ 31 w 359"/>
                <a:gd name="T3" fmla="*/ 88 h 431"/>
                <a:gd name="T4" fmla="*/ 53 w 359"/>
                <a:gd name="T5" fmla="*/ 68 h 431"/>
                <a:gd name="T6" fmla="*/ 56 w 359"/>
                <a:gd name="T7" fmla="*/ 55 h 431"/>
                <a:gd name="T8" fmla="*/ 58 w 359"/>
                <a:gd name="T9" fmla="*/ 49 h 431"/>
                <a:gd name="T10" fmla="*/ 62 w 359"/>
                <a:gd name="T11" fmla="*/ 45 h 431"/>
                <a:gd name="T12" fmla="*/ 61 w 359"/>
                <a:gd name="T13" fmla="*/ 41 h 431"/>
                <a:gd name="T14" fmla="*/ 58 w 359"/>
                <a:gd name="T15" fmla="*/ 31 h 431"/>
                <a:gd name="T16" fmla="*/ 56 w 359"/>
                <a:gd name="T17" fmla="*/ 11 h 431"/>
                <a:gd name="T18" fmla="*/ 59 w 359"/>
                <a:gd name="T19" fmla="*/ 0 h 431"/>
                <a:gd name="T20" fmla="*/ 63 w 359"/>
                <a:gd name="T21" fmla="*/ 4 h 431"/>
                <a:gd name="T22" fmla="*/ 67 w 359"/>
                <a:gd name="T23" fmla="*/ 9 h 431"/>
                <a:gd name="T24" fmla="*/ 75 w 359"/>
                <a:gd name="T25" fmla="*/ 18 h 431"/>
                <a:gd name="T26" fmla="*/ 77 w 359"/>
                <a:gd name="T27" fmla="*/ 24 h 431"/>
                <a:gd name="T28" fmla="*/ 77 w 359"/>
                <a:gd name="T29" fmla="*/ 29 h 431"/>
                <a:gd name="T30" fmla="*/ 73 w 359"/>
                <a:gd name="T31" fmla="*/ 33 h 431"/>
                <a:gd name="T32" fmla="*/ 66 w 359"/>
                <a:gd name="T33" fmla="*/ 39 h 431"/>
                <a:gd name="T34" fmla="*/ 64 w 359"/>
                <a:gd name="T35" fmla="*/ 43 h 431"/>
                <a:gd name="T36" fmla="*/ 64 w 359"/>
                <a:gd name="T37" fmla="*/ 49 h 431"/>
                <a:gd name="T38" fmla="*/ 66 w 359"/>
                <a:gd name="T39" fmla="*/ 52 h 431"/>
                <a:gd name="T40" fmla="*/ 73 w 359"/>
                <a:gd name="T41" fmla="*/ 52 h 431"/>
                <a:gd name="T42" fmla="*/ 75 w 359"/>
                <a:gd name="T43" fmla="*/ 50 h 431"/>
                <a:gd name="T44" fmla="*/ 75 w 359"/>
                <a:gd name="T45" fmla="*/ 44 h 431"/>
                <a:gd name="T46" fmla="*/ 84 w 359"/>
                <a:gd name="T47" fmla="*/ 63 h 431"/>
                <a:gd name="T48" fmla="*/ 88 w 359"/>
                <a:gd name="T49" fmla="*/ 68 h 431"/>
                <a:gd name="T50" fmla="*/ 94 w 359"/>
                <a:gd name="T51" fmla="*/ 72 h 431"/>
                <a:gd name="T52" fmla="*/ 97 w 359"/>
                <a:gd name="T53" fmla="*/ 71 h 431"/>
                <a:gd name="T54" fmla="*/ 101 w 359"/>
                <a:gd name="T55" fmla="*/ 67 h 431"/>
                <a:gd name="T56" fmla="*/ 110 w 359"/>
                <a:gd name="T57" fmla="*/ 63 h 431"/>
                <a:gd name="T58" fmla="*/ 115 w 359"/>
                <a:gd name="T59" fmla="*/ 67 h 431"/>
                <a:gd name="T60" fmla="*/ 111 w 359"/>
                <a:gd name="T61" fmla="*/ 79 h 431"/>
                <a:gd name="T62" fmla="*/ 104 w 359"/>
                <a:gd name="T63" fmla="*/ 85 h 431"/>
                <a:gd name="T64" fmla="*/ 95 w 359"/>
                <a:gd name="T65" fmla="*/ 90 h 431"/>
                <a:gd name="T66" fmla="*/ 80 w 359"/>
                <a:gd name="T67" fmla="*/ 94 h 431"/>
                <a:gd name="T68" fmla="*/ 67 w 359"/>
                <a:gd name="T69" fmla="*/ 98 h 431"/>
                <a:gd name="T70" fmla="*/ 62 w 359"/>
                <a:gd name="T71" fmla="*/ 101 h 431"/>
                <a:gd name="T72" fmla="*/ 58 w 359"/>
                <a:gd name="T73" fmla="*/ 111 h 431"/>
                <a:gd name="T74" fmla="*/ 53 w 359"/>
                <a:gd name="T75" fmla="*/ 116 h 431"/>
                <a:gd name="T76" fmla="*/ 35 w 359"/>
                <a:gd name="T77" fmla="*/ 129 h 431"/>
                <a:gd name="T78" fmla="*/ 16 w 359"/>
                <a:gd name="T79" fmla="*/ 139 h 431"/>
                <a:gd name="T80" fmla="*/ 6 w 359"/>
                <a:gd name="T81" fmla="*/ 141 h 431"/>
                <a:gd name="T82" fmla="*/ 2 w 359"/>
                <a:gd name="T83" fmla="*/ 139 h 431"/>
                <a:gd name="T84" fmla="*/ 0 w 359"/>
                <a:gd name="T85" fmla="*/ 136 h 431"/>
                <a:gd name="T86" fmla="*/ 0 w 359"/>
                <a:gd name="T87" fmla="*/ 132 h 431"/>
                <a:gd name="T88" fmla="*/ 3 w 359"/>
                <a:gd name="T89" fmla="*/ 128 h 431"/>
                <a:gd name="T90" fmla="*/ 18 w 359"/>
                <a:gd name="T91" fmla="*/ 122 h 431"/>
                <a:gd name="T92" fmla="*/ 24 w 359"/>
                <a:gd name="T93" fmla="*/ 115 h 431"/>
                <a:gd name="T94" fmla="*/ 23 w 359"/>
                <a:gd name="T95" fmla="*/ 110 h 431"/>
                <a:gd name="T96" fmla="*/ 21 w 359"/>
                <a:gd name="T97" fmla="*/ 107 h 431"/>
                <a:gd name="T98" fmla="*/ 16 w 359"/>
                <a:gd name="T99" fmla="*/ 105 h 431"/>
                <a:gd name="T100" fmla="*/ 6 w 359"/>
                <a:gd name="T101" fmla="*/ 105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grpSp>
      <p:sp>
        <p:nvSpPr>
          <p:cNvPr id="627" name="Freeform 77">
            <a:extLst>
              <a:ext uri="{FF2B5EF4-FFF2-40B4-BE49-F238E27FC236}">
                <a16:creationId xmlns:a16="http://schemas.microsoft.com/office/drawing/2014/main" id="{8907C9AD-7A6C-4160-B7D2-E425425D1A29}"/>
              </a:ext>
            </a:extLst>
          </p:cNvPr>
          <p:cNvSpPr>
            <a:spLocks/>
          </p:cNvSpPr>
          <p:nvPr>
            <p:custDataLst>
              <p:tags r:id="rId57"/>
            </p:custDataLst>
          </p:nvPr>
        </p:nvSpPr>
        <p:spPr bwMode="auto">
          <a:xfrm>
            <a:off x="14764408" y="7025953"/>
            <a:ext cx="20210" cy="121262"/>
          </a:xfrm>
          <a:custGeom>
            <a:avLst/>
            <a:gdLst>
              <a:gd name="T0" fmla="*/ 0 w 21"/>
              <a:gd name="T1" fmla="*/ 39636 h 62"/>
              <a:gd name="T2" fmla="*/ 454 w 21"/>
              <a:gd name="T3" fmla="*/ 26731 h 62"/>
              <a:gd name="T4" fmla="*/ 1361 w 21"/>
              <a:gd name="T5" fmla="*/ 15670 h 62"/>
              <a:gd name="T6" fmla="*/ 1814 w 21"/>
              <a:gd name="T7" fmla="*/ 10140 h 62"/>
              <a:gd name="T8" fmla="*/ 2721 w 21"/>
              <a:gd name="T9" fmla="*/ 6452 h 62"/>
              <a:gd name="T10" fmla="*/ 4082 w 21"/>
              <a:gd name="T11" fmla="*/ 2765 h 62"/>
              <a:gd name="T12" fmla="*/ 6804 w 21"/>
              <a:gd name="T13" fmla="*/ 0 h 62"/>
              <a:gd name="T14" fmla="*/ 6804 w 21"/>
              <a:gd name="T15" fmla="*/ 13827 h 62"/>
              <a:gd name="T16" fmla="*/ 8164 w 21"/>
              <a:gd name="T17" fmla="*/ 28575 h 62"/>
              <a:gd name="T18" fmla="*/ 9071 w 21"/>
              <a:gd name="T19" fmla="*/ 40558 h 62"/>
              <a:gd name="T20" fmla="*/ 9525 w 21"/>
              <a:gd name="T21" fmla="*/ 45167 h 62"/>
              <a:gd name="T22" fmla="*/ 4536 w 21"/>
              <a:gd name="T23" fmla="*/ 50698 h 62"/>
              <a:gd name="T24" fmla="*/ 0 w 21"/>
              <a:gd name="T25" fmla="*/ 57150 h 62"/>
              <a:gd name="T26" fmla="*/ 0 w 21"/>
              <a:gd name="T27" fmla="*/ 39636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28" name="Freeform 78">
            <a:extLst>
              <a:ext uri="{FF2B5EF4-FFF2-40B4-BE49-F238E27FC236}">
                <a16:creationId xmlns:a16="http://schemas.microsoft.com/office/drawing/2014/main" id="{243332D5-ACBF-4763-B249-4FEBFF506C71}"/>
              </a:ext>
            </a:extLst>
          </p:cNvPr>
          <p:cNvSpPr>
            <a:spLocks/>
          </p:cNvSpPr>
          <p:nvPr>
            <p:custDataLst>
              <p:tags r:id="rId58"/>
            </p:custDataLst>
          </p:nvPr>
        </p:nvSpPr>
        <p:spPr bwMode="auto">
          <a:xfrm>
            <a:off x="16307124" y="8939190"/>
            <a:ext cx="30316" cy="121262"/>
          </a:xfrm>
          <a:custGeom>
            <a:avLst/>
            <a:gdLst>
              <a:gd name="T0" fmla="*/ 0 w 33"/>
              <a:gd name="T1" fmla="*/ 0 h 24"/>
              <a:gd name="T2" fmla="*/ 2165 w 33"/>
              <a:gd name="T3" fmla="*/ 11906 h 24"/>
              <a:gd name="T4" fmla="*/ 4330 w 33"/>
              <a:gd name="T5" fmla="*/ 23813 h 24"/>
              <a:gd name="T6" fmla="*/ 4763 w 33"/>
              <a:gd name="T7" fmla="*/ 30956 h 24"/>
              <a:gd name="T8" fmla="*/ 5196 w 33"/>
              <a:gd name="T9" fmla="*/ 38100 h 24"/>
              <a:gd name="T10" fmla="*/ 5629 w 33"/>
              <a:gd name="T11" fmla="*/ 47625 h 24"/>
              <a:gd name="T12" fmla="*/ 5629 w 33"/>
              <a:gd name="T13" fmla="*/ 57150 h 24"/>
              <a:gd name="T14" fmla="*/ 14288 w 33"/>
              <a:gd name="T15" fmla="*/ 0 h 24"/>
              <a:gd name="T16" fmla="*/ 10391 w 33"/>
              <a:gd name="T17" fmla="*/ 0 h 24"/>
              <a:gd name="T18" fmla="*/ 6928 w 33"/>
              <a:gd name="T19" fmla="*/ 0 h 24"/>
              <a:gd name="T20" fmla="*/ 389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29" name="Freeform 79">
            <a:extLst>
              <a:ext uri="{FF2B5EF4-FFF2-40B4-BE49-F238E27FC236}">
                <a16:creationId xmlns:a16="http://schemas.microsoft.com/office/drawing/2014/main" id="{1CB803C0-6B9F-49DA-8880-AA8CF956ADB3}"/>
              </a:ext>
            </a:extLst>
          </p:cNvPr>
          <p:cNvSpPr>
            <a:spLocks/>
          </p:cNvSpPr>
          <p:nvPr>
            <p:custDataLst>
              <p:tags r:id="rId59"/>
            </p:custDataLst>
          </p:nvPr>
        </p:nvSpPr>
        <p:spPr bwMode="auto">
          <a:xfrm>
            <a:off x="16354281" y="8959400"/>
            <a:ext cx="37053" cy="124629"/>
          </a:xfrm>
          <a:custGeom>
            <a:avLst/>
            <a:gdLst>
              <a:gd name="T0" fmla="*/ 13759 w 33"/>
              <a:gd name="T1" fmla="*/ 58737 h 25"/>
              <a:gd name="T2" fmla="*/ 15346 w 33"/>
              <a:gd name="T3" fmla="*/ 51689 h 25"/>
              <a:gd name="T4" fmla="*/ 17463 w 33"/>
              <a:gd name="T5" fmla="*/ 42291 h 25"/>
              <a:gd name="T6" fmla="*/ 17463 w 33"/>
              <a:gd name="T7" fmla="*/ 0 h 25"/>
              <a:gd name="T8" fmla="*/ 13230 w 33"/>
              <a:gd name="T9" fmla="*/ 0 h 25"/>
              <a:gd name="T10" fmla="*/ 8467 w 33"/>
              <a:gd name="T11" fmla="*/ 0 h 25"/>
              <a:gd name="T12" fmla="*/ 3175 w 33"/>
              <a:gd name="T13" fmla="*/ 0 h 25"/>
              <a:gd name="T14" fmla="*/ 0 w 33"/>
              <a:gd name="T15" fmla="*/ 0 h 25"/>
              <a:gd name="T16" fmla="*/ 13759 w 33"/>
              <a:gd name="T17" fmla="*/ 5873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30" name="Freeform 80">
            <a:extLst>
              <a:ext uri="{FF2B5EF4-FFF2-40B4-BE49-F238E27FC236}">
                <a16:creationId xmlns:a16="http://schemas.microsoft.com/office/drawing/2014/main" id="{680AFF4E-1422-44CF-8172-11E379D0876F}"/>
              </a:ext>
            </a:extLst>
          </p:cNvPr>
          <p:cNvSpPr>
            <a:spLocks/>
          </p:cNvSpPr>
          <p:nvPr>
            <p:custDataLst>
              <p:tags r:id="rId60"/>
            </p:custDataLst>
          </p:nvPr>
        </p:nvSpPr>
        <p:spPr bwMode="auto">
          <a:xfrm>
            <a:off x="14899143" y="7002373"/>
            <a:ext cx="3369" cy="117894"/>
          </a:xfrm>
          <a:custGeom>
            <a:avLst/>
            <a:gdLst>
              <a:gd name="T0" fmla="*/ 0 w 7"/>
              <a:gd name="T1" fmla="*/ 0 h 55563"/>
              <a:gd name="T2" fmla="*/ 1588 w 7"/>
              <a:gd name="T3" fmla="*/ 0 h 55563"/>
              <a:gd name="T4" fmla="*/ 0 w 7"/>
              <a:gd name="T5" fmla="*/ 0 h 55563"/>
              <a:gd name="T6" fmla="*/ 0 60000 65536"/>
              <a:gd name="T7" fmla="*/ 0 60000 65536"/>
              <a:gd name="T8" fmla="*/ 0 60000 65536"/>
            </a:gdLst>
            <a:ahLst/>
            <a:cxnLst>
              <a:cxn ang="T6">
                <a:pos x="T0" y="T1"/>
              </a:cxn>
              <a:cxn ang="T7">
                <a:pos x="T2" y="T3"/>
              </a:cxn>
              <a:cxn ang="T8">
                <a:pos x="T4" y="T5"/>
              </a:cxn>
            </a:cxnLst>
            <a:rect l="0" t="0" r="r" b="b"/>
            <a:pathLst>
              <a:path w="7" h="55563">
                <a:moveTo>
                  <a:pt x="0" y="0"/>
                </a:moveTo>
                <a:lnTo>
                  <a:pt x="7" y="0"/>
                </a:lnTo>
                <a:lnTo>
                  <a:pt x="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31" name="Freeform 81">
            <a:extLst>
              <a:ext uri="{FF2B5EF4-FFF2-40B4-BE49-F238E27FC236}">
                <a16:creationId xmlns:a16="http://schemas.microsoft.com/office/drawing/2014/main" id="{D9281C05-4571-41C7-A9B4-E17884B56ECE}"/>
              </a:ext>
            </a:extLst>
          </p:cNvPr>
          <p:cNvSpPr>
            <a:spLocks/>
          </p:cNvSpPr>
          <p:nvPr>
            <p:custDataLst>
              <p:tags r:id="rId61"/>
            </p:custDataLst>
          </p:nvPr>
        </p:nvSpPr>
        <p:spPr bwMode="auto">
          <a:xfrm>
            <a:off x="15023774" y="6884481"/>
            <a:ext cx="13474" cy="121262"/>
          </a:xfrm>
          <a:custGeom>
            <a:avLst/>
            <a:gdLst>
              <a:gd name="T0" fmla="*/ 6350 w 16"/>
              <a:gd name="T1" fmla="*/ 0 h 25"/>
              <a:gd name="T2" fmla="*/ 6350 w 16"/>
              <a:gd name="T3" fmla="*/ 13716 h 25"/>
              <a:gd name="T4" fmla="*/ 5556 w 16"/>
              <a:gd name="T5" fmla="*/ 29718 h 25"/>
              <a:gd name="T6" fmla="*/ 5159 w 16"/>
              <a:gd name="T7" fmla="*/ 36576 h 25"/>
              <a:gd name="T8" fmla="*/ 4366 w 16"/>
              <a:gd name="T9" fmla="*/ 45720 h 25"/>
              <a:gd name="T10" fmla="*/ 2778 w 16"/>
              <a:gd name="T11" fmla="*/ 52578 h 25"/>
              <a:gd name="T12" fmla="*/ 1191 w 16"/>
              <a:gd name="T13" fmla="*/ 57150 h 25"/>
              <a:gd name="T14" fmla="*/ 397 w 16"/>
              <a:gd name="T15" fmla="*/ 54864 h 25"/>
              <a:gd name="T16" fmla="*/ 0 w 16"/>
              <a:gd name="T17" fmla="*/ 48006 h 25"/>
              <a:gd name="T18" fmla="*/ 397 w 16"/>
              <a:gd name="T19" fmla="*/ 41148 h 25"/>
              <a:gd name="T20" fmla="*/ 794 w 16"/>
              <a:gd name="T21" fmla="*/ 29718 h 25"/>
              <a:gd name="T22" fmla="*/ 1588 w 16"/>
              <a:gd name="T23" fmla="*/ 20574 h 25"/>
              <a:gd name="T24" fmla="*/ 2778 w 16"/>
              <a:gd name="T25" fmla="*/ 9144 h 25"/>
              <a:gd name="T26" fmla="*/ 4366 w 16"/>
              <a:gd name="T27" fmla="*/ 2286 h 25"/>
              <a:gd name="T28" fmla="*/ 635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32" name="Freeform 82">
            <a:extLst>
              <a:ext uri="{FF2B5EF4-FFF2-40B4-BE49-F238E27FC236}">
                <a16:creationId xmlns:a16="http://schemas.microsoft.com/office/drawing/2014/main" id="{729955BE-5A77-4A69-917B-2276ADE32927}"/>
              </a:ext>
            </a:extLst>
          </p:cNvPr>
          <p:cNvSpPr>
            <a:spLocks/>
          </p:cNvSpPr>
          <p:nvPr>
            <p:custDataLst>
              <p:tags r:id="rId62"/>
            </p:custDataLst>
          </p:nvPr>
        </p:nvSpPr>
        <p:spPr bwMode="auto">
          <a:xfrm>
            <a:off x="15262928" y="6648695"/>
            <a:ext cx="10106" cy="121262"/>
          </a:xfrm>
          <a:custGeom>
            <a:avLst/>
            <a:gdLst>
              <a:gd name="T0" fmla="*/ 0 w 14"/>
              <a:gd name="T1" fmla="*/ 0 h 18"/>
              <a:gd name="T2" fmla="*/ 1021 w 14"/>
              <a:gd name="T3" fmla="*/ 3175 h 18"/>
              <a:gd name="T4" fmla="*/ 1701 w 14"/>
              <a:gd name="T5" fmla="*/ 6350 h 18"/>
              <a:gd name="T6" fmla="*/ 2382 w 14"/>
              <a:gd name="T7" fmla="*/ 12700 h 18"/>
              <a:gd name="T8" fmla="*/ 3062 w 14"/>
              <a:gd name="T9" fmla="*/ 22225 h 18"/>
              <a:gd name="T10" fmla="*/ 4423 w 14"/>
              <a:gd name="T11" fmla="*/ 41275 h 18"/>
              <a:gd name="T12" fmla="*/ 4763 w 14"/>
              <a:gd name="T13" fmla="*/ 57150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33" name="Freeform 83">
            <a:extLst>
              <a:ext uri="{FF2B5EF4-FFF2-40B4-BE49-F238E27FC236}">
                <a16:creationId xmlns:a16="http://schemas.microsoft.com/office/drawing/2014/main" id="{59030AD8-1906-413E-92C2-04676F5D0301}"/>
              </a:ext>
            </a:extLst>
          </p:cNvPr>
          <p:cNvSpPr>
            <a:spLocks/>
          </p:cNvSpPr>
          <p:nvPr>
            <p:custDataLst>
              <p:tags r:id="rId63"/>
            </p:custDataLst>
          </p:nvPr>
        </p:nvSpPr>
        <p:spPr bwMode="auto">
          <a:xfrm>
            <a:off x="15586292" y="8130780"/>
            <a:ext cx="57263" cy="124629"/>
          </a:xfrm>
          <a:custGeom>
            <a:avLst/>
            <a:gdLst>
              <a:gd name="T0" fmla="*/ 0 w 67"/>
              <a:gd name="T1" fmla="*/ 0 h 74"/>
              <a:gd name="T2" fmla="*/ 403 w 67"/>
              <a:gd name="T3" fmla="*/ 13494 h 74"/>
              <a:gd name="T4" fmla="*/ 1208 w 67"/>
              <a:gd name="T5" fmla="*/ 23812 h 74"/>
              <a:gd name="T6" fmla="*/ 2820 w 67"/>
              <a:gd name="T7" fmla="*/ 32543 h 74"/>
              <a:gd name="T8" fmla="*/ 4834 w 67"/>
              <a:gd name="T9" fmla="*/ 39687 h 74"/>
              <a:gd name="T10" fmla="*/ 6848 w 67"/>
              <a:gd name="T11" fmla="*/ 46037 h 74"/>
              <a:gd name="T12" fmla="*/ 9265 w 67"/>
              <a:gd name="T13" fmla="*/ 50800 h 74"/>
              <a:gd name="T14" fmla="*/ 11279 w 67"/>
              <a:gd name="T15" fmla="*/ 54768 h 74"/>
              <a:gd name="T16" fmla="*/ 13293 w 67"/>
              <a:gd name="T17" fmla="*/ 58737 h 74"/>
              <a:gd name="T18" fmla="*/ 17723 w 67"/>
              <a:gd name="T19" fmla="*/ 51593 h 74"/>
              <a:gd name="T20" fmla="*/ 22154 w 67"/>
              <a:gd name="T21" fmla="*/ 43656 h 74"/>
              <a:gd name="T22" fmla="*/ 23766 w 67"/>
              <a:gd name="T23" fmla="*/ 38893 h 74"/>
              <a:gd name="T24" fmla="*/ 25377 w 67"/>
              <a:gd name="T25" fmla="*/ 34131 h 74"/>
              <a:gd name="T26" fmla="*/ 26585 w 67"/>
              <a:gd name="T27" fmla="*/ 29369 h 74"/>
              <a:gd name="T28" fmla="*/ 26988 w 67"/>
              <a:gd name="T29" fmla="*/ 23812 h 74"/>
              <a:gd name="T30" fmla="*/ 26988 w 67"/>
              <a:gd name="T31" fmla="*/ 19844 h 74"/>
              <a:gd name="T32" fmla="*/ 26988 w 67"/>
              <a:gd name="T33" fmla="*/ 14287 h 74"/>
              <a:gd name="T34" fmla="*/ 26988 w 67"/>
              <a:gd name="T35" fmla="*/ 7144 h 74"/>
              <a:gd name="T36" fmla="*/ 26988 w 67"/>
              <a:gd name="T37" fmla="*/ 0 h 74"/>
              <a:gd name="T38" fmla="*/ 19335 w 67"/>
              <a:gd name="T39" fmla="*/ 0 h 74"/>
              <a:gd name="T40" fmla="*/ 13293 w 67"/>
              <a:gd name="T41" fmla="*/ 0 h 74"/>
              <a:gd name="T42" fmla="*/ 6848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34" name="Freeform 84">
            <a:extLst>
              <a:ext uri="{FF2B5EF4-FFF2-40B4-BE49-F238E27FC236}">
                <a16:creationId xmlns:a16="http://schemas.microsoft.com/office/drawing/2014/main" id="{54250931-AE0F-432D-8F03-EA6BB1E0A867}"/>
              </a:ext>
            </a:extLst>
          </p:cNvPr>
          <p:cNvSpPr>
            <a:spLocks/>
          </p:cNvSpPr>
          <p:nvPr>
            <p:custDataLst>
              <p:tags r:id="rId64"/>
            </p:custDataLst>
          </p:nvPr>
        </p:nvSpPr>
        <p:spPr bwMode="auto">
          <a:xfrm>
            <a:off x="15721027" y="8161094"/>
            <a:ext cx="26947" cy="121262"/>
          </a:xfrm>
          <a:custGeom>
            <a:avLst/>
            <a:gdLst>
              <a:gd name="T0" fmla="*/ 0 w 34"/>
              <a:gd name="T1" fmla="*/ 0 h 38"/>
              <a:gd name="T2" fmla="*/ 747 w 34"/>
              <a:gd name="T3" fmla="*/ 4512 h 38"/>
              <a:gd name="T4" fmla="*/ 1494 w 34"/>
              <a:gd name="T5" fmla="*/ 10528 h 38"/>
              <a:gd name="T6" fmla="*/ 1868 w 34"/>
              <a:gd name="T7" fmla="*/ 16543 h 38"/>
              <a:gd name="T8" fmla="*/ 2241 w 34"/>
              <a:gd name="T9" fmla="*/ 24063 h 38"/>
              <a:gd name="T10" fmla="*/ 3735 w 34"/>
              <a:gd name="T11" fmla="*/ 42111 h 38"/>
              <a:gd name="T12" fmla="*/ 4856 w 34"/>
              <a:gd name="T13" fmla="*/ 57150 h 38"/>
              <a:gd name="T14" fmla="*/ 5976 w 34"/>
              <a:gd name="T15" fmla="*/ 55646 h 38"/>
              <a:gd name="T16" fmla="*/ 7471 w 34"/>
              <a:gd name="T17" fmla="*/ 54142 h 38"/>
              <a:gd name="T18" fmla="*/ 8591 w 34"/>
              <a:gd name="T19" fmla="*/ 51134 h 38"/>
              <a:gd name="T20" fmla="*/ 9712 w 34"/>
              <a:gd name="T21" fmla="*/ 46622 h 38"/>
              <a:gd name="T22" fmla="*/ 10459 w 34"/>
              <a:gd name="T23" fmla="*/ 42111 h 38"/>
              <a:gd name="T24" fmla="*/ 11953 w 34"/>
              <a:gd name="T25" fmla="*/ 36095 h 38"/>
              <a:gd name="T26" fmla="*/ 12326 w 34"/>
              <a:gd name="T27" fmla="*/ 31583 h 38"/>
              <a:gd name="T28" fmla="*/ 12700 w 34"/>
              <a:gd name="T29" fmla="*/ 28575 h 38"/>
              <a:gd name="T30" fmla="*/ 11579 w 34"/>
              <a:gd name="T31" fmla="*/ 27071 h 38"/>
              <a:gd name="T32" fmla="*/ 10459 w 34"/>
              <a:gd name="T33" fmla="*/ 25567 h 38"/>
              <a:gd name="T34" fmla="*/ 9712 w 34"/>
              <a:gd name="T35" fmla="*/ 21055 h 38"/>
              <a:gd name="T36" fmla="*/ 8965 w 34"/>
              <a:gd name="T37" fmla="*/ 18047 h 38"/>
              <a:gd name="T38" fmla="*/ 7097 w 34"/>
              <a:gd name="T39" fmla="*/ 9024 h 38"/>
              <a:gd name="T40" fmla="*/ 4856 w 34"/>
              <a:gd name="T41" fmla="*/ 0 h 38"/>
              <a:gd name="T42" fmla="*/ 2241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35" name="Freeform 85">
            <a:extLst>
              <a:ext uri="{FF2B5EF4-FFF2-40B4-BE49-F238E27FC236}">
                <a16:creationId xmlns:a16="http://schemas.microsoft.com/office/drawing/2014/main" id="{97F33303-DB92-48DF-AEDC-863D0E2D6CBA}"/>
              </a:ext>
            </a:extLst>
          </p:cNvPr>
          <p:cNvSpPr>
            <a:spLocks/>
          </p:cNvSpPr>
          <p:nvPr>
            <p:custDataLst>
              <p:tags r:id="rId65"/>
            </p:custDataLst>
          </p:nvPr>
        </p:nvSpPr>
        <p:spPr bwMode="auto">
          <a:xfrm>
            <a:off x="15417873" y="7686154"/>
            <a:ext cx="53894" cy="117892"/>
          </a:xfrm>
          <a:custGeom>
            <a:avLst/>
            <a:gdLst>
              <a:gd name="T0" fmla="*/ 25400 w 53"/>
              <a:gd name="T1" fmla="*/ 55562 h 23"/>
              <a:gd name="T2" fmla="*/ 25400 w 53"/>
              <a:gd name="T3" fmla="*/ 9663 h 23"/>
              <a:gd name="T4" fmla="*/ 23483 w 53"/>
              <a:gd name="T5" fmla="*/ 4831 h 23"/>
              <a:gd name="T6" fmla="*/ 21566 w 53"/>
              <a:gd name="T7" fmla="*/ 2416 h 23"/>
              <a:gd name="T8" fmla="*/ 20128 w 53"/>
              <a:gd name="T9" fmla="*/ 0 h 23"/>
              <a:gd name="T10" fmla="*/ 18211 w 53"/>
              <a:gd name="T11" fmla="*/ 0 h 23"/>
              <a:gd name="T12" fmla="*/ 14857 w 53"/>
              <a:gd name="T13" fmla="*/ 2416 h 23"/>
              <a:gd name="T14" fmla="*/ 11502 w 53"/>
              <a:gd name="T15" fmla="*/ 9663 h 23"/>
              <a:gd name="T16" fmla="*/ 5272 w 53"/>
              <a:gd name="T17" fmla="*/ 31405 h 23"/>
              <a:gd name="T18" fmla="*/ 0 w 53"/>
              <a:gd name="T19" fmla="*/ 55562 h 23"/>
              <a:gd name="T20" fmla="*/ 25400 w 53"/>
              <a:gd name="T21" fmla="*/ 5556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36" name="Freeform 86">
            <a:extLst>
              <a:ext uri="{FF2B5EF4-FFF2-40B4-BE49-F238E27FC236}">
                <a16:creationId xmlns:a16="http://schemas.microsoft.com/office/drawing/2014/main" id="{0A3343D6-13E5-477B-A671-7B5EAA4F0C2A}"/>
              </a:ext>
            </a:extLst>
          </p:cNvPr>
          <p:cNvSpPr>
            <a:spLocks/>
          </p:cNvSpPr>
          <p:nvPr>
            <p:custDataLst>
              <p:tags r:id="rId66"/>
            </p:custDataLst>
          </p:nvPr>
        </p:nvSpPr>
        <p:spPr bwMode="auto">
          <a:xfrm>
            <a:off x="15296611" y="7632260"/>
            <a:ext cx="23580" cy="121262"/>
          </a:xfrm>
          <a:custGeom>
            <a:avLst/>
            <a:gdLst>
              <a:gd name="T0" fmla="*/ 0 w 26"/>
              <a:gd name="T1" fmla="*/ 0 h 12"/>
              <a:gd name="T2" fmla="*/ 1710 w 26"/>
              <a:gd name="T3" fmla="*/ 19050 h 12"/>
              <a:gd name="T4" fmla="*/ 4702 w 26"/>
              <a:gd name="T5" fmla="*/ 38100 h 12"/>
              <a:gd name="T6" fmla="*/ 5984 w 26"/>
              <a:gd name="T7" fmla="*/ 42863 h 12"/>
              <a:gd name="T8" fmla="*/ 7694 w 26"/>
              <a:gd name="T9" fmla="*/ 52388 h 12"/>
              <a:gd name="T10" fmla="*/ 9403 w 26"/>
              <a:gd name="T11" fmla="*/ 52388 h 12"/>
              <a:gd name="T12" fmla="*/ 11113 w 26"/>
              <a:gd name="T13" fmla="*/ 57150 h 12"/>
              <a:gd name="T14" fmla="*/ 8976 w 26"/>
              <a:gd name="T15" fmla="*/ 33338 h 12"/>
              <a:gd name="T16" fmla="*/ 5557 w 26"/>
              <a:gd name="T17" fmla="*/ 14288 h 12"/>
              <a:gd name="T18" fmla="*/ 2137 w 26"/>
              <a:gd name="T19" fmla="*/ 4763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37" name="Freeform 87">
            <a:extLst>
              <a:ext uri="{FF2B5EF4-FFF2-40B4-BE49-F238E27FC236}">
                <a16:creationId xmlns:a16="http://schemas.microsoft.com/office/drawing/2014/main" id="{40F86271-5F06-4F79-ABFB-FABF6F589266}"/>
              </a:ext>
            </a:extLst>
          </p:cNvPr>
          <p:cNvSpPr>
            <a:spLocks/>
          </p:cNvSpPr>
          <p:nvPr>
            <p:custDataLst>
              <p:tags r:id="rId67"/>
            </p:custDataLst>
          </p:nvPr>
        </p:nvSpPr>
        <p:spPr bwMode="auto">
          <a:xfrm>
            <a:off x="15721027" y="8336250"/>
            <a:ext cx="67368" cy="121262"/>
          </a:xfrm>
          <a:custGeom>
            <a:avLst/>
            <a:gdLst>
              <a:gd name="T0" fmla="*/ 0 w 73"/>
              <a:gd name="T1" fmla="*/ 0 h 57150"/>
              <a:gd name="T2" fmla="*/ 8699 w 73"/>
              <a:gd name="T3" fmla="*/ 0 h 57150"/>
              <a:gd name="T4" fmla="*/ 16092 w 73"/>
              <a:gd name="T5" fmla="*/ 0 h 57150"/>
              <a:gd name="T6" fmla="*/ 23921 w 73"/>
              <a:gd name="T7" fmla="*/ 0 h 57150"/>
              <a:gd name="T8" fmla="*/ 31750 w 73"/>
              <a:gd name="T9" fmla="*/ 0 h 57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 h="57150">
                <a:moveTo>
                  <a:pt x="0" y="0"/>
                </a:moveTo>
                <a:lnTo>
                  <a:pt x="20" y="0"/>
                </a:lnTo>
                <a:lnTo>
                  <a:pt x="37" y="0"/>
                </a:lnTo>
                <a:lnTo>
                  <a:pt x="55" y="0"/>
                </a:lnTo>
                <a:lnTo>
                  <a:pt x="73"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38" name="Freeform 88">
            <a:extLst>
              <a:ext uri="{FF2B5EF4-FFF2-40B4-BE49-F238E27FC236}">
                <a16:creationId xmlns:a16="http://schemas.microsoft.com/office/drawing/2014/main" id="{A698ECA1-3A87-4007-90FF-FFAD6473B51D}"/>
              </a:ext>
            </a:extLst>
          </p:cNvPr>
          <p:cNvSpPr>
            <a:spLocks/>
          </p:cNvSpPr>
          <p:nvPr>
            <p:custDataLst>
              <p:tags r:id="rId68"/>
            </p:custDataLst>
          </p:nvPr>
        </p:nvSpPr>
        <p:spPr bwMode="auto">
          <a:xfrm>
            <a:off x="15626712" y="8312672"/>
            <a:ext cx="47157" cy="121262"/>
          </a:xfrm>
          <a:custGeom>
            <a:avLst/>
            <a:gdLst>
              <a:gd name="T0" fmla="*/ 0 w 53"/>
              <a:gd name="T1" fmla="*/ 0 h 3"/>
              <a:gd name="T2" fmla="*/ 5871 w 53"/>
              <a:gd name="T3" fmla="*/ 0 h 3"/>
              <a:gd name="T4" fmla="*/ 11322 w 53"/>
              <a:gd name="T5" fmla="*/ 57150 h 3"/>
              <a:gd name="T6" fmla="*/ 13419 w 53"/>
              <a:gd name="T7" fmla="*/ 57150 h 3"/>
              <a:gd name="T8" fmla="*/ 16354 w 53"/>
              <a:gd name="T9" fmla="*/ 57150 h 3"/>
              <a:gd name="T10" fmla="*/ 18870 w 53"/>
              <a:gd name="T11" fmla="*/ 19050 h 3"/>
              <a:gd name="T12" fmla="*/ 22225 w 53"/>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3" h="3">
                <a:moveTo>
                  <a:pt x="0" y="0"/>
                </a:moveTo>
                <a:lnTo>
                  <a:pt x="14" y="0"/>
                </a:lnTo>
                <a:lnTo>
                  <a:pt x="27" y="3"/>
                </a:lnTo>
                <a:lnTo>
                  <a:pt x="32" y="3"/>
                </a:lnTo>
                <a:lnTo>
                  <a:pt x="39" y="3"/>
                </a:lnTo>
                <a:lnTo>
                  <a:pt x="45" y="1"/>
                </a:lnTo>
                <a:lnTo>
                  <a:pt x="53"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39" name="Line 89">
            <a:extLst>
              <a:ext uri="{FF2B5EF4-FFF2-40B4-BE49-F238E27FC236}">
                <a16:creationId xmlns:a16="http://schemas.microsoft.com/office/drawing/2014/main" id="{B989917E-493D-40D2-A3E5-6E1E23AE1154}"/>
              </a:ext>
            </a:extLst>
          </p:cNvPr>
          <p:cNvSpPr>
            <a:spLocks noChangeShapeType="1"/>
          </p:cNvSpPr>
          <p:nvPr>
            <p:custDataLst>
              <p:tags r:id="rId69"/>
            </p:custDataLst>
          </p:nvPr>
        </p:nvSpPr>
        <p:spPr bwMode="auto">
          <a:xfrm>
            <a:off x="15697449" y="8282356"/>
            <a:ext cx="43788" cy="1347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s-ES" dirty="0"/>
          </a:p>
        </p:txBody>
      </p:sp>
      <p:sp>
        <p:nvSpPr>
          <p:cNvPr id="640" name="Freeform 90">
            <a:extLst>
              <a:ext uri="{FF2B5EF4-FFF2-40B4-BE49-F238E27FC236}">
                <a16:creationId xmlns:a16="http://schemas.microsoft.com/office/drawing/2014/main" id="{8F19ECE6-F6E7-4A4C-804A-2D8D30CF18C6}"/>
              </a:ext>
            </a:extLst>
          </p:cNvPr>
          <p:cNvSpPr>
            <a:spLocks/>
          </p:cNvSpPr>
          <p:nvPr>
            <p:custDataLst>
              <p:tags r:id="rId70"/>
            </p:custDataLst>
          </p:nvPr>
        </p:nvSpPr>
        <p:spPr bwMode="auto">
          <a:xfrm>
            <a:off x="15741237" y="8295829"/>
            <a:ext cx="3369" cy="121262"/>
          </a:xfrm>
          <a:custGeom>
            <a:avLst/>
            <a:gdLst>
              <a:gd name="T0" fmla="*/ 0 w 1588"/>
              <a:gd name="T1" fmla="*/ 0 h 13"/>
              <a:gd name="T2" fmla="*/ 0 w 1588"/>
              <a:gd name="T3" fmla="*/ 26377 h 13"/>
              <a:gd name="T4" fmla="*/ 0 w 1588"/>
              <a:gd name="T5" fmla="*/ 57150 h 13"/>
              <a:gd name="T6" fmla="*/ 0 60000 65536"/>
              <a:gd name="T7" fmla="*/ 0 60000 65536"/>
              <a:gd name="T8" fmla="*/ 0 60000 65536"/>
            </a:gdLst>
            <a:ahLst/>
            <a:cxnLst>
              <a:cxn ang="T6">
                <a:pos x="T0" y="T1"/>
              </a:cxn>
              <a:cxn ang="T7">
                <a:pos x="T2" y="T3"/>
              </a:cxn>
              <a:cxn ang="T8">
                <a:pos x="T4" y="T5"/>
              </a:cxn>
            </a:cxnLst>
            <a:rect l="0" t="0" r="r" b="b"/>
            <a:pathLst>
              <a:path w="1588" h="13">
                <a:moveTo>
                  <a:pt x="0" y="0"/>
                </a:moveTo>
                <a:lnTo>
                  <a:pt x="0" y="6"/>
                </a:lnTo>
                <a:lnTo>
                  <a:pt x="0" y="13"/>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41" name="Freeform 91">
            <a:extLst>
              <a:ext uri="{FF2B5EF4-FFF2-40B4-BE49-F238E27FC236}">
                <a16:creationId xmlns:a16="http://schemas.microsoft.com/office/drawing/2014/main" id="{0D27E58F-3769-4921-B362-F375C7EE7C1D}"/>
              </a:ext>
            </a:extLst>
          </p:cNvPr>
          <p:cNvSpPr>
            <a:spLocks/>
          </p:cNvSpPr>
          <p:nvPr>
            <p:custDataLst>
              <p:tags r:id="rId71"/>
            </p:custDataLst>
          </p:nvPr>
        </p:nvSpPr>
        <p:spPr bwMode="auto">
          <a:xfrm>
            <a:off x="15643555" y="8282356"/>
            <a:ext cx="30314" cy="124631"/>
          </a:xfrm>
          <a:custGeom>
            <a:avLst/>
            <a:gdLst>
              <a:gd name="T0" fmla="*/ 0 w 26"/>
              <a:gd name="T1" fmla="*/ 0 h 58738"/>
              <a:gd name="T2" fmla="*/ 8243 w 26"/>
              <a:gd name="T3" fmla="*/ 0 h 58738"/>
              <a:gd name="T4" fmla="*/ 14287 w 26"/>
              <a:gd name="T5" fmla="*/ 0 h 58738"/>
              <a:gd name="T6" fmla="*/ 0 60000 65536"/>
              <a:gd name="T7" fmla="*/ 0 60000 65536"/>
              <a:gd name="T8" fmla="*/ 0 60000 65536"/>
            </a:gdLst>
            <a:ahLst/>
            <a:cxnLst>
              <a:cxn ang="T6">
                <a:pos x="T0" y="T1"/>
              </a:cxn>
              <a:cxn ang="T7">
                <a:pos x="T2" y="T3"/>
              </a:cxn>
              <a:cxn ang="T8">
                <a:pos x="T4" y="T5"/>
              </a:cxn>
            </a:cxnLst>
            <a:rect l="0" t="0" r="r" b="b"/>
            <a:pathLst>
              <a:path w="26" h="58738">
                <a:moveTo>
                  <a:pt x="0" y="0"/>
                </a:moveTo>
                <a:lnTo>
                  <a:pt x="15" y="0"/>
                </a:lnTo>
                <a:lnTo>
                  <a:pt x="26"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42" name="Freeform 92">
            <a:extLst>
              <a:ext uri="{FF2B5EF4-FFF2-40B4-BE49-F238E27FC236}">
                <a16:creationId xmlns:a16="http://schemas.microsoft.com/office/drawing/2014/main" id="{F9D6C095-AD6E-469B-8156-A253EA3B2A19}"/>
              </a:ext>
            </a:extLst>
          </p:cNvPr>
          <p:cNvSpPr>
            <a:spLocks/>
          </p:cNvSpPr>
          <p:nvPr>
            <p:custDataLst>
              <p:tags r:id="rId72"/>
            </p:custDataLst>
          </p:nvPr>
        </p:nvSpPr>
        <p:spPr bwMode="auto">
          <a:xfrm>
            <a:off x="15630082" y="8241935"/>
            <a:ext cx="13474" cy="127998"/>
          </a:xfrm>
          <a:custGeom>
            <a:avLst/>
            <a:gdLst>
              <a:gd name="T0" fmla="*/ 6350 w 20"/>
              <a:gd name="T1" fmla="*/ 0 h 25"/>
              <a:gd name="T2" fmla="*/ 0 w 20"/>
              <a:gd name="T3" fmla="*/ 31369 h 25"/>
              <a:gd name="T4" fmla="*/ 1270 w 20"/>
              <a:gd name="T5" fmla="*/ 43434 h 25"/>
              <a:gd name="T6" fmla="*/ 3175 w 20"/>
              <a:gd name="T7" fmla="*/ 50673 h 25"/>
              <a:gd name="T8" fmla="*/ 4445 w 20"/>
              <a:gd name="T9" fmla="*/ 57912 h 25"/>
              <a:gd name="T10" fmla="*/ 6350 w 20"/>
              <a:gd name="T11" fmla="*/ 60325 h 25"/>
              <a:gd name="T12" fmla="*/ 6350 w 20"/>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5">
                <a:moveTo>
                  <a:pt x="20" y="0"/>
                </a:moveTo>
                <a:lnTo>
                  <a:pt x="0" y="13"/>
                </a:lnTo>
                <a:lnTo>
                  <a:pt x="4" y="18"/>
                </a:lnTo>
                <a:lnTo>
                  <a:pt x="10" y="21"/>
                </a:lnTo>
                <a:lnTo>
                  <a:pt x="14" y="24"/>
                </a:lnTo>
                <a:lnTo>
                  <a:pt x="20" y="25"/>
                </a:lnTo>
                <a:lnTo>
                  <a:pt x="2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43" name="Freeform 93">
            <a:extLst>
              <a:ext uri="{FF2B5EF4-FFF2-40B4-BE49-F238E27FC236}">
                <a16:creationId xmlns:a16="http://schemas.microsoft.com/office/drawing/2014/main" id="{16D11AA7-15A0-4E50-959D-E96CD5A603B2}"/>
              </a:ext>
            </a:extLst>
          </p:cNvPr>
          <p:cNvSpPr>
            <a:spLocks/>
          </p:cNvSpPr>
          <p:nvPr>
            <p:custDataLst>
              <p:tags r:id="rId73"/>
            </p:custDataLst>
          </p:nvPr>
        </p:nvSpPr>
        <p:spPr bwMode="auto">
          <a:xfrm>
            <a:off x="15801868" y="7662575"/>
            <a:ext cx="3369" cy="121262"/>
          </a:xfrm>
          <a:custGeom>
            <a:avLst/>
            <a:gdLst>
              <a:gd name="T0" fmla="*/ 0 w 6"/>
              <a:gd name="T1" fmla="*/ 57150 h 24"/>
              <a:gd name="T2" fmla="*/ 0 w 6"/>
              <a:gd name="T3" fmla="*/ 0 h 24"/>
              <a:gd name="T4" fmla="*/ 1588 w 6"/>
              <a:gd name="T5" fmla="*/ 28575 h 24"/>
              <a:gd name="T6" fmla="*/ 0 w 6"/>
              <a:gd name="T7" fmla="*/ 5715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4">
                <a:moveTo>
                  <a:pt x="0" y="24"/>
                </a:moveTo>
                <a:lnTo>
                  <a:pt x="0" y="0"/>
                </a:lnTo>
                <a:lnTo>
                  <a:pt x="6" y="12"/>
                </a:lnTo>
                <a:lnTo>
                  <a:pt x="0" y="24"/>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grpSp>
        <p:nvGrpSpPr>
          <p:cNvPr id="644" name="Group 94">
            <a:extLst>
              <a:ext uri="{FF2B5EF4-FFF2-40B4-BE49-F238E27FC236}">
                <a16:creationId xmlns:a16="http://schemas.microsoft.com/office/drawing/2014/main" id="{7C92C3B0-C799-4961-A177-D09099D61095}"/>
              </a:ext>
            </a:extLst>
          </p:cNvPr>
          <p:cNvGrpSpPr>
            <a:grpSpLocks/>
          </p:cNvGrpSpPr>
          <p:nvPr>
            <p:custDataLst>
              <p:tags r:id="rId74"/>
            </p:custDataLst>
          </p:nvPr>
        </p:nvGrpSpPr>
        <p:grpSpPr bwMode="auto">
          <a:xfrm>
            <a:off x="15535767" y="6965322"/>
            <a:ext cx="346942" cy="242523"/>
            <a:chOff x="5379" y="2466"/>
            <a:chExt cx="122" cy="71"/>
          </a:xfrm>
          <a:solidFill>
            <a:schemeClr val="bg2">
              <a:lumMod val="50000"/>
              <a:alpha val="18000"/>
            </a:schemeClr>
          </a:solidFill>
        </p:grpSpPr>
        <p:sp>
          <p:nvSpPr>
            <p:cNvPr id="645" name="Freeform 95">
              <a:extLst>
                <a:ext uri="{FF2B5EF4-FFF2-40B4-BE49-F238E27FC236}">
                  <a16:creationId xmlns:a16="http://schemas.microsoft.com/office/drawing/2014/main" id="{A5BCD51F-C228-418A-993E-B8E9F202AA44}"/>
                </a:ext>
              </a:extLst>
            </p:cNvPr>
            <p:cNvSpPr>
              <a:spLocks/>
            </p:cNvSpPr>
            <p:nvPr/>
          </p:nvSpPr>
          <p:spPr bwMode="auto">
            <a:xfrm>
              <a:off x="5428" y="2492"/>
              <a:ext cx="6" cy="9"/>
            </a:xfrm>
            <a:custGeom>
              <a:avLst/>
              <a:gdLst>
                <a:gd name="T0" fmla="*/ 6 w 19"/>
                <a:gd name="T1" fmla="*/ 9 h 25"/>
                <a:gd name="T2" fmla="*/ 6 w 19"/>
                <a:gd name="T3" fmla="*/ 7 h 25"/>
                <a:gd name="T4" fmla="*/ 5 w 19"/>
                <a:gd name="T5" fmla="*/ 4 h 25"/>
                <a:gd name="T6" fmla="*/ 5 w 19"/>
                <a:gd name="T7" fmla="*/ 3 h 25"/>
                <a:gd name="T8" fmla="*/ 5 w 19"/>
                <a:gd name="T9" fmla="*/ 2 h 25"/>
                <a:gd name="T10" fmla="*/ 5 w 19"/>
                <a:gd name="T11" fmla="*/ 1 h 25"/>
                <a:gd name="T12" fmla="*/ 6 w 19"/>
                <a:gd name="T13" fmla="*/ 0 h 25"/>
                <a:gd name="T14" fmla="*/ 0 w 19"/>
                <a:gd name="T15" fmla="*/ 0 h 25"/>
                <a:gd name="T16" fmla="*/ 0 w 19"/>
                <a:gd name="T17" fmla="*/ 3 h 25"/>
                <a:gd name="T18" fmla="*/ 2 w 19"/>
                <a:gd name="T19" fmla="*/ 5 h 25"/>
                <a:gd name="T20" fmla="*/ 2 w 19"/>
                <a:gd name="T21" fmla="*/ 7 h 25"/>
                <a:gd name="T22" fmla="*/ 3 w 19"/>
                <a:gd name="T23" fmla="*/ 8 h 25"/>
                <a:gd name="T24" fmla="*/ 5 w 19"/>
                <a:gd name="T25" fmla="*/ 9 h 25"/>
                <a:gd name="T26" fmla="*/ 6 w 19"/>
                <a:gd name="T27" fmla="*/ 9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9525" cmpd="sng">
              <a:solidFill>
                <a:srgbClr val="FFFFFF"/>
              </a:solidFill>
              <a:prstDash val="solid"/>
              <a:round/>
              <a:headEnd/>
              <a:tailEnd/>
            </a:ln>
          </p:spPr>
          <p:txBody>
            <a:bodyPr/>
            <a:lstStyle/>
            <a:p>
              <a:endParaRPr lang="es-ES" dirty="0"/>
            </a:p>
          </p:txBody>
        </p:sp>
        <p:sp>
          <p:nvSpPr>
            <p:cNvPr id="646" name="Freeform 96">
              <a:extLst>
                <a:ext uri="{FF2B5EF4-FFF2-40B4-BE49-F238E27FC236}">
                  <a16:creationId xmlns:a16="http://schemas.microsoft.com/office/drawing/2014/main" id="{84622865-B24B-4AE4-8AA6-B36DF69167D9}"/>
                </a:ext>
              </a:extLst>
            </p:cNvPr>
            <p:cNvSpPr>
              <a:spLocks/>
            </p:cNvSpPr>
            <p:nvPr/>
          </p:nvSpPr>
          <p:spPr bwMode="auto">
            <a:xfrm>
              <a:off x="5379" y="2505"/>
              <a:ext cx="7" cy="6"/>
            </a:xfrm>
            <a:custGeom>
              <a:avLst/>
              <a:gdLst>
                <a:gd name="T0" fmla="*/ 7 w 26"/>
                <a:gd name="T1" fmla="*/ 6 h 18"/>
                <a:gd name="T2" fmla="*/ 2 w 26"/>
                <a:gd name="T3" fmla="*/ 6 h 18"/>
                <a:gd name="T4" fmla="*/ 1 w 26"/>
                <a:gd name="T5" fmla="*/ 3 h 18"/>
                <a:gd name="T6" fmla="*/ 0 w 26"/>
                <a:gd name="T7" fmla="*/ 0 h 18"/>
                <a:gd name="T8" fmla="*/ 2 w 26"/>
                <a:gd name="T9" fmla="*/ 1 h 18"/>
                <a:gd name="T10" fmla="*/ 4 w 26"/>
                <a:gd name="T11" fmla="*/ 2 h 18"/>
                <a:gd name="T12" fmla="*/ 5 w 26"/>
                <a:gd name="T13" fmla="*/ 4 h 18"/>
                <a:gd name="T14" fmla="*/ 7 w 26"/>
                <a:gd name="T15" fmla="*/ 6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grpFill/>
            <a:ln w="9525" cmpd="sng">
              <a:solidFill>
                <a:srgbClr val="FFFFFF"/>
              </a:solidFill>
              <a:prstDash val="solid"/>
              <a:round/>
              <a:headEnd/>
              <a:tailEnd/>
            </a:ln>
          </p:spPr>
          <p:txBody>
            <a:bodyPr/>
            <a:lstStyle/>
            <a:p>
              <a:endParaRPr lang="es-ES" dirty="0"/>
            </a:p>
          </p:txBody>
        </p:sp>
        <p:sp>
          <p:nvSpPr>
            <p:cNvPr id="647" name="Freeform 97">
              <a:extLst>
                <a:ext uri="{FF2B5EF4-FFF2-40B4-BE49-F238E27FC236}">
                  <a16:creationId xmlns:a16="http://schemas.microsoft.com/office/drawing/2014/main" id="{7B5D4620-B206-473F-9256-3F322A55DA89}"/>
                </a:ext>
              </a:extLst>
            </p:cNvPr>
            <p:cNvSpPr>
              <a:spLocks/>
            </p:cNvSpPr>
            <p:nvPr/>
          </p:nvSpPr>
          <p:spPr bwMode="auto">
            <a:xfrm>
              <a:off x="5392" y="2466"/>
              <a:ext cx="5" cy="6"/>
            </a:xfrm>
            <a:custGeom>
              <a:avLst/>
              <a:gdLst>
                <a:gd name="T0" fmla="*/ 0 w 13"/>
                <a:gd name="T1" fmla="*/ 6 h 18"/>
                <a:gd name="T2" fmla="*/ 5 w 13"/>
                <a:gd name="T3" fmla="*/ 0 h 18"/>
                <a:gd name="T4" fmla="*/ 0 w 13"/>
                <a:gd name="T5" fmla="*/ 6 h 18"/>
                <a:gd name="T6" fmla="*/ 0 60000 65536"/>
                <a:gd name="T7" fmla="*/ 0 60000 65536"/>
                <a:gd name="T8" fmla="*/ 0 60000 65536"/>
              </a:gdLst>
              <a:ahLst/>
              <a:cxnLst>
                <a:cxn ang="T6">
                  <a:pos x="T0" y="T1"/>
                </a:cxn>
                <a:cxn ang="T7">
                  <a:pos x="T2" y="T3"/>
                </a:cxn>
                <a:cxn ang="T8">
                  <a:pos x="T4" y="T5"/>
                </a:cxn>
              </a:cxnLst>
              <a:rect l="0" t="0" r="r" b="b"/>
              <a:pathLst>
                <a:path w="13" h="18">
                  <a:moveTo>
                    <a:pt x="0" y="18"/>
                  </a:moveTo>
                  <a:lnTo>
                    <a:pt x="13" y="0"/>
                  </a:lnTo>
                  <a:lnTo>
                    <a:pt x="0" y="18"/>
                  </a:lnTo>
                </a:path>
              </a:pathLst>
            </a:custGeom>
            <a:grpFill/>
            <a:ln w="9525" cmpd="sng">
              <a:solidFill>
                <a:srgbClr val="FFFFFF"/>
              </a:solidFill>
              <a:prstDash val="solid"/>
              <a:round/>
              <a:headEnd/>
              <a:tailEnd/>
            </a:ln>
          </p:spPr>
          <p:txBody>
            <a:bodyPr/>
            <a:lstStyle/>
            <a:p>
              <a:endParaRPr lang="es-ES" dirty="0"/>
            </a:p>
          </p:txBody>
        </p:sp>
        <p:sp>
          <p:nvSpPr>
            <p:cNvPr id="648" name="Freeform 98">
              <a:extLst>
                <a:ext uri="{FF2B5EF4-FFF2-40B4-BE49-F238E27FC236}">
                  <a16:creationId xmlns:a16="http://schemas.microsoft.com/office/drawing/2014/main" id="{A61C3894-9FE9-4A46-A510-3307CE321125}"/>
                </a:ext>
              </a:extLst>
            </p:cNvPr>
            <p:cNvSpPr>
              <a:spLocks/>
            </p:cNvSpPr>
            <p:nvPr/>
          </p:nvSpPr>
          <p:spPr bwMode="auto">
            <a:xfrm>
              <a:off x="5426" y="2468"/>
              <a:ext cx="8" cy="8"/>
            </a:xfrm>
            <a:custGeom>
              <a:avLst/>
              <a:gdLst>
                <a:gd name="T0" fmla="*/ 0 w 26"/>
                <a:gd name="T1" fmla="*/ 8 h 24"/>
                <a:gd name="T2" fmla="*/ 1 w 26"/>
                <a:gd name="T3" fmla="*/ 8 h 24"/>
                <a:gd name="T4" fmla="*/ 2 w 26"/>
                <a:gd name="T5" fmla="*/ 7 h 24"/>
                <a:gd name="T6" fmla="*/ 3 w 26"/>
                <a:gd name="T7" fmla="*/ 6 h 24"/>
                <a:gd name="T8" fmla="*/ 5 w 26"/>
                <a:gd name="T9" fmla="*/ 5 h 24"/>
                <a:gd name="T10" fmla="*/ 6 w 26"/>
                <a:gd name="T11" fmla="*/ 4 h 24"/>
                <a:gd name="T12" fmla="*/ 7 w 26"/>
                <a:gd name="T13" fmla="*/ 3 h 24"/>
                <a:gd name="T14" fmla="*/ 8 w 26"/>
                <a:gd name="T15" fmla="*/ 1 h 24"/>
                <a:gd name="T16" fmla="*/ 8 w 26"/>
                <a:gd name="T17" fmla="*/ 0 h 24"/>
                <a:gd name="T18" fmla="*/ 0 w 2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9525" cmpd="sng">
              <a:solidFill>
                <a:srgbClr val="FFFFFF"/>
              </a:solidFill>
              <a:prstDash val="solid"/>
              <a:round/>
              <a:headEnd/>
              <a:tailEnd/>
            </a:ln>
          </p:spPr>
          <p:txBody>
            <a:bodyPr/>
            <a:lstStyle/>
            <a:p>
              <a:endParaRPr lang="es-ES" dirty="0"/>
            </a:p>
          </p:txBody>
        </p:sp>
        <p:sp>
          <p:nvSpPr>
            <p:cNvPr id="649" name="Freeform 99">
              <a:extLst>
                <a:ext uri="{FF2B5EF4-FFF2-40B4-BE49-F238E27FC236}">
                  <a16:creationId xmlns:a16="http://schemas.microsoft.com/office/drawing/2014/main" id="{D4AA7B6B-C86B-4044-96E0-1BED7900858D}"/>
                </a:ext>
              </a:extLst>
            </p:cNvPr>
            <p:cNvSpPr>
              <a:spLocks/>
            </p:cNvSpPr>
            <p:nvPr/>
          </p:nvSpPr>
          <p:spPr bwMode="auto">
            <a:xfrm>
              <a:off x="5490" y="2490"/>
              <a:ext cx="11" cy="2"/>
            </a:xfrm>
            <a:custGeom>
              <a:avLst/>
              <a:gdLst>
                <a:gd name="T0" fmla="*/ 0 w 34"/>
                <a:gd name="T1" fmla="*/ 2 h 6"/>
                <a:gd name="T2" fmla="*/ 3 w 34"/>
                <a:gd name="T3" fmla="*/ 2 h 6"/>
                <a:gd name="T4" fmla="*/ 6 w 34"/>
                <a:gd name="T5" fmla="*/ 2 h 6"/>
                <a:gd name="T6" fmla="*/ 8 w 34"/>
                <a:gd name="T7" fmla="*/ 1 h 6"/>
                <a:gd name="T8" fmla="*/ 11 w 3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6">
                  <a:moveTo>
                    <a:pt x="0" y="6"/>
                  </a:moveTo>
                  <a:lnTo>
                    <a:pt x="10" y="6"/>
                  </a:lnTo>
                  <a:lnTo>
                    <a:pt x="17" y="5"/>
                  </a:lnTo>
                  <a:lnTo>
                    <a:pt x="25" y="4"/>
                  </a:lnTo>
                  <a:lnTo>
                    <a:pt x="34" y="0"/>
                  </a:lnTo>
                </a:path>
              </a:pathLst>
            </a:custGeom>
            <a:grpFill/>
            <a:ln w="9525" cmpd="sng">
              <a:solidFill>
                <a:srgbClr val="FFFFFF"/>
              </a:solidFill>
              <a:prstDash val="solid"/>
              <a:round/>
              <a:headEnd/>
              <a:tailEnd/>
            </a:ln>
          </p:spPr>
          <p:txBody>
            <a:bodyPr/>
            <a:lstStyle/>
            <a:p>
              <a:endParaRPr lang="es-ES" dirty="0"/>
            </a:p>
          </p:txBody>
        </p:sp>
        <p:sp>
          <p:nvSpPr>
            <p:cNvPr id="650" name="Line 100">
              <a:extLst>
                <a:ext uri="{FF2B5EF4-FFF2-40B4-BE49-F238E27FC236}">
                  <a16:creationId xmlns:a16="http://schemas.microsoft.com/office/drawing/2014/main" id="{24C72298-E1EA-4FA2-BBD2-C969FEE01863}"/>
                </a:ext>
              </a:extLst>
            </p:cNvPr>
            <p:cNvSpPr>
              <a:spLocks noChangeShapeType="1"/>
            </p:cNvSpPr>
            <p:nvPr/>
          </p:nvSpPr>
          <p:spPr bwMode="auto">
            <a:xfrm flipH="1">
              <a:off x="5495" y="2490"/>
              <a:ext cx="6" cy="1"/>
            </a:xfrm>
            <a:prstGeom prst="line">
              <a:avLst/>
            </a:prstGeom>
            <a:grpFill/>
            <a:ln w="9525">
              <a:solidFill>
                <a:srgbClr val="FFFFFF"/>
              </a:solidFill>
              <a:round/>
              <a:headEnd/>
              <a:tailEnd/>
            </a:ln>
          </p:spPr>
          <p:txBody>
            <a:bodyPr/>
            <a:lstStyle/>
            <a:p>
              <a:endParaRPr lang="es-ES" dirty="0"/>
            </a:p>
          </p:txBody>
        </p:sp>
        <p:sp>
          <p:nvSpPr>
            <p:cNvPr id="651" name="Freeform 101">
              <a:extLst>
                <a:ext uri="{FF2B5EF4-FFF2-40B4-BE49-F238E27FC236}">
                  <a16:creationId xmlns:a16="http://schemas.microsoft.com/office/drawing/2014/main" id="{FD395C66-9CB4-4C74-B266-6299F682C0DC}"/>
                </a:ext>
              </a:extLst>
            </p:cNvPr>
            <p:cNvSpPr>
              <a:spLocks/>
            </p:cNvSpPr>
            <p:nvPr/>
          </p:nvSpPr>
          <p:spPr bwMode="auto">
            <a:xfrm>
              <a:off x="5464" y="2530"/>
              <a:ext cx="1" cy="7"/>
            </a:xfrm>
            <a:custGeom>
              <a:avLst/>
              <a:gdLst>
                <a:gd name="T0" fmla="*/ 0 w 1"/>
                <a:gd name="T1" fmla="*/ 7 h 19"/>
                <a:gd name="T2" fmla="*/ 0 w 1"/>
                <a:gd name="T3" fmla="*/ 3 h 19"/>
                <a:gd name="T4" fmla="*/ 0 w 1"/>
                <a:gd name="T5" fmla="*/ 0 h 19"/>
                <a:gd name="T6" fmla="*/ 0 60000 65536"/>
                <a:gd name="T7" fmla="*/ 0 60000 65536"/>
                <a:gd name="T8" fmla="*/ 0 60000 65536"/>
              </a:gdLst>
              <a:ahLst/>
              <a:cxnLst>
                <a:cxn ang="T6">
                  <a:pos x="T0" y="T1"/>
                </a:cxn>
                <a:cxn ang="T7">
                  <a:pos x="T2" y="T3"/>
                </a:cxn>
                <a:cxn ang="T8">
                  <a:pos x="T4" y="T5"/>
                </a:cxn>
              </a:cxnLst>
              <a:rect l="0" t="0" r="r" b="b"/>
              <a:pathLst>
                <a:path w="1" h="19">
                  <a:moveTo>
                    <a:pt x="0" y="19"/>
                  </a:moveTo>
                  <a:lnTo>
                    <a:pt x="0" y="9"/>
                  </a:lnTo>
                  <a:lnTo>
                    <a:pt x="0" y="0"/>
                  </a:lnTo>
                </a:path>
              </a:pathLst>
            </a:custGeom>
            <a:grpFill/>
            <a:ln w="9525" cmpd="sng">
              <a:solidFill>
                <a:srgbClr val="FFFFFF"/>
              </a:solidFill>
              <a:prstDash val="solid"/>
              <a:round/>
              <a:headEnd/>
              <a:tailEnd/>
            </a:ln>
          </p:spPr>
          <p:txBody>
            <a:bodyPr/>
            <a:lstStyle/>
            <a:p>
              <a:endParaRPr lang="es-ES" dirty="0"/>
            </a:p>
          </p:txBody>
        </p:sp>
        <p:sp>
          <p:nvSpPr>
            <p:cNvPr id="652" name="Line 102">
              <a:extLst>
                <a:ext uri="{FF2B5EF4-FFF2-40B4-BE49-F238E27FC236}">
                  <a16:creationId xmlns:a16="http://schemas.microsoft.com/office/drawing/2014/main" id="{06E18597-147D-4DE1-B3A1-DF18733E2D60}"/>
                </a:ext>
              </a:extLst>
            </p:cNvPr>
            <p:cNvSpPr>
              <a:spLocks noChangeShapeType="1"/>
            </p:cNvSpPr>
            <p:nvPr/>
          </p:nvSpPr>
          <p:spPr bwMode="auto">
            <a:xfrm>
              <a:off x="5464" y="2530"/>
              <a:ext cx="6" cy="1"/>
            </a:xfrm>
            <a:prstGeom prst="line">
              <a:avLst/>
            </a:prstGeom>
            <a:grpFill/>
            <a:ln w="9525">
              <a:solidFill>
                <a:srgbClr val="FFFFFF"/>
              </a:solidFill>
              <a:round/>
              <a:headEnd/>
              <a:tailEnd/>
            </a:ln>
          </p:spPr>
          <p:txBody>
            <a:bodyPr/>
            <a:lstStyle/>
            <a:p>
              <a:endParaRPr lang="es-ES" dirty="0"/>
            </a:p>
          </p:txBody>
        </p:sp>
        <p:sp>
          <p:nvSpPr>
            <p:cNvPr id="653" name="Freeform 103">
              <a:extLst>
                <a:ext uri="{FF2B5EF4-FFF2-40B4-BE49-F238E27FC236}">
                  <a16:creationId xmlns:a16="http://schemas.microsoft.com/office/drawing/2014/main" id="{67133D18-A78E-4FBB-8DC9-F1538546FDA2}"/>
                </a:ext>
              </a:extLst>
            </p:cNvPr>
            <p:cNvSpPr>
              <a:spLocks/>
            </p:cNvSpPr>
            <p:nvPr/>
          </p:nvSpPr>
          <p:spPr bwMode="auto">
            <a:xfrm>
              <a:off x="5466" y="2530"/>
              <a:ext cx="4" cy="2"/>
            </a:xfrm>
            <a:custGeom>
              <a:avLst/>
              <a:gdLst>
                <a:gd name="T0" fmla="*/ 4 w 14"/>
                <a:gd name="T1" fmla="*/ 0 h 6"/>
                <a:gd name="T2" fmla="*/ 2 w 14"/>
                <a:gd name="T3" fmla="*/ 1 h 6"/>
                <a:gd name="T4" fmla="*/ 0 w 14"/>
                <a:gd name="T5" fmla="*/ 2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7" y="3"/>
                  </a:lnTo>
                  <a:lnTo>
                    <a:pt x="0" y="6"/>
                  </a:lnTo>
                </a:path>
              </a:pathLst>
            </a:custGeom>
            <a:grpFill/>
            <a:ln w="9525" cmpd="sng">
              <a:solidFill>
                <a:srgbClr val="FFFFFF"/>
              </a:solidFill>
              <a:prstDash val="solid"/>
              <a:round/>
              <a:headEnd/>
              <a:tailEnd/>
            </a:ln>
          </p:spPr>
          <p:txBody>
            <a:bodyPr/>
            <a:lstStyle/>
            <a:p>
              <a:endParaRPr lang="es-ES" dirty="0"/>
            </a:p>
          </p:txBody>
        </p:sp>
      </p:grpSp>
      <p:sp>
        <p:nvSpPr>
          <p:cNvPr id="654" name="Freeform 104">
            <a:extLst>
              <a:ext uri="{FF2B5EF4-FFF2-40B4-BE49-F238E27FC236}">
                <a16:creationId xmlns:a16="http://schemas.microsoft.com/office/drawing/2014/main" id="{251A632A-6FF4-4B67-BEB9-2FE30EF2F59D}"/>
              </a:ext>
            </a:extLst>
          </p:cNvPr>
          <p:cNvSpPr>
            <a:spLocks/>
          </p:cNvSpPr>
          <p:nvPr>
            <p:custDataLst>
              <p:tags r:id="rId75"/>
            </p:custDataLst>
          </p:nvPr>
        </p:nvSpPr>
        <p:spPr bwMode="auto">
          <a:xfrm>
            <a:off x="12531176" y="6672272"/>
            <a:ext cx="13474" cy="121262"/>
          </a:xfrm>
          <a:custGeom>
            <a:avLst/>
            <a:gdLst>
              <a:gd name="T0" fmla="*/ 3175 w 26"/>
              <a:gd name="T1" fmla="*/ 57150 h 111"/>
              <a:gd name="T2" fmla="*/ 2198 w 26"/>
              <a:gd name="T3" fmla="*/ 53031 h 111"/>
              <a:gd name="T4" fmla="*/ 977 w 26"/>
              <a:gd name="T5" fmla="*/ 48912 h 111"/>
              <a:gd name="T6" fmla="*/ 488 w 26"/>
              <a:gd name="T7" fmla="*/ 46853 h 111"/>
              <a:gd name="T8" fmla="*/ 244 w 26"/>
              <a:gd name="T9" fmla="*/ 44793 h 111"/>
              <a:gd name="T10" fmla="*/ 0 w 26"/>
              <a:gd name="T11" fmla="*/ 41189 h 111"/>
              <a:gd name="T12" fmla="*/ 0 w 26"/>
              <a:gd name="T13" fmla="*/ 38100 h 111"/>
              <a:gd name="T14" fmla="*/ 0 w 26"/>
              <a:gd name="T15" fmla="*/ 31407 h 111"/>
              <a:gd name="T16" fmla="*/ 244 w 26"/>
              <a:gd name="T17" fmla="*/ 26258 h 111"/>
              <a:gd name="T18" fmla="*/ 733 w 26"/>
              <a:gd name="T19" fmla="*/ 21109 h 111"/>
              <a:gd name="T20" fmla="*/ 1221 w 26"/>
              <a:gd name="T21" fmla="*/ 16991 h 111"/>
              <a:gd name="T22" fmla="*/ 2198 w 26"/>
              <a:gd name="T23" fmla="*/ 12357 h 111"/>
              <a:gd name="T24" fmla="*/ 3419 w 26"/>
              <a:gd name="T25" fmla="*/ 8753 h 111"/>
              <a:gd name="T26" fmla="*/ 4885 w 26"/>
              <a:gd name="T27" fmla="*/ 4634 h 111"/>
              <a:gd name="T28" fmla="*/ 6350 w 26"/>
              <a:gd name="T29" fmla="*/ 0 h 111"/>
              <a:gd name="T30" fmla="*/ 6350 w 26"/>
              <a:gd name="T31" fmla="*/ 3089 h 111"/>
              <a:gd name="T32" fmla="*/ 6350 w 26"/>
              <a:gd name="T33" fmla="*/ 6693 h 111"/>
              <a:gd name="T34" fmla="*/ 6350 w 26"/>
              <a:gd name="T35" fmla="*/ 11327 h 111"/>
              <a:gd name="T36" fmla="*/ 6350 w 26"/>
              <a:gd name="T37" fmla="*/ 16476 h 111"/>
              <a:gd name="T38" fmla="*/ 6106 w 26"/>
              <a:gd name="T39" fmla="*/ 22654 h 111"/>
              <a:gd name="T40" fmla="*/ 5373 w 26"/>
              <a:gd name="T41" fmla="*/ 28832 h 111"/>
              <a:gd name="T42" fmla="*/ 4396 w 26"/>
              <a:gd name="T43" fmla="*/ 34496 h 111"/>
              <a:gd name="T44" fmla="*/ 3175 w 26"/>
              <a:gd name="T45" fmla="*/ 41189 h 111"/>
              <a:gd name="T46" fmla="*/ 3175 w 26"/>
              <a:gd name="T47" fmla="*/ 5715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55" name="Freeform 105">
            <a:extLst>
              <a:ext uri="{FF2B5EF4-FFF2-40B4-BE49-F238E27FC236}">
                <a16:creationId xmlns:a16="http://schemas.microsoft.com/office/drawing/2014/main" id="{C2A4D8C6-AAA4-40F5-B89D-80BA63A2FB2A}"/>
              </a:ext>
            </a:extLst>
          </p:cNvPr>
          <p:cNvSpPr>
            <a:spLocks/>
          </p:cNvSpPr>
          <p:nvPr>
            <p:custDataLst>
              <p:tags r:id="rId76"/>
            </p:custDataLst>
          </p:nvPr>
        </p:nvSpPr>
        <p:spPr bwMode="auto">
          <a:xfrm>
            <a:off x="5952738" y="11212842"/>
            <a:ext cx="114525" cy="124631"/>
          </a:xfrm>
          <a:custGeom>
            <a:avLst/>
            <a:gdLst>
              <a:gd name="T0" fmla="*/ 0 w 126"/>
              <a:gd name="T1" fmla="*/ 18000 h 62"/>
              <a:gd name="T2" fmla="*/ 4712 w 126"/>
              <a:gd name="T3" fmla="*/ 18948 h 62"/>
              <a:gd name="T4" fmla="*/ 8996 w 126"/>
              <a:gd name="T5" fmla="*/ 19895 h 62"/>
              <a:gd name="T6" fmla="*/ 12423 w 126"/>
              <a:gd name="T7" fmla="*/ 21790 h 62"/>
              <a:gd name="T8" fmla="*/ 15421 w 126"/>
              <a:gd name="T9" fmla="*/ 24632 h 62"/>
              <a:gd name="T10" fmla="*/ 21419 w 126"/>
              <a:gd name="T11" fmla="*/ 31264 h 62"/>
              <a:gd name="T12" fmla="*/ 26131 w 126"/>
              <a:gd name="T13" fmla="*/ 37895 h 62"/>
              <a:gd name="T14" fmla="*/ 29986 w 126"/>
              <a:gd name="T15" fmla="*/ 45475 h 62"/>
              <a:gd name="T16" fmla="*/ 33841 w 126"/>
              <a:gd name="T17" fmla="*/ 52106 h 62"/>
              <a:gd name="T18" fmla="*/ 35983 w 126"/>
              <a:gd name="T19" fmla="*/ 54948 h 62"/>
              <a:gd name="T20" fmla="*/ 38125 w 126"/>
              <a:gd name="T21" fmla="*/ 56843 h 62"/>
              <a:gd name="T22" fmla="*/ 40695 w 126"/>
              <a:gd name="T23" fmla="*/ 57791 h 62"/>
              <a:gd name="T24" fmla="*/ 42837 w 126"/>
              <a:gd name="T25" fmla="*/ 58738 h 62"/>
              <a:gd name="T26" fmla="*/ 44979 w 126"/>
              <a:gd name="T27" fmla="*/ 57791 h 62"/>
              <a:gd name="T28" fmla="*/ 46693 w 126"/>
              <a:gd name="T29" fmla="*/ 56843 h 62"/>
              <a:gd name="T30" fmla="*/ 48406 w 126"/>
              <a:gd name="T31" fmla="*/ 54948 h 62"/>
              <a:gd name="T32" fmla="*/ 50120 w 126"/>
              <a:gd name="T33" fmla="*/ 53054 h 62"/>
              <a:gd name="T34" fmla="*/ 52262 w 126"/>
              <a:gd name="T35" fmla="*/ 48317 h 62"/>
              <a:gd name="T36" fmla="*/ 53975 w 126"/>
              <a:gd name="T37" fmla="*/ 46422 h 62"/>
              <a:gd name="T38" fmla="*/ 47121 w 126"/>
              <a:gd name="T39" fmla="*/ 31264 h 62"/>
              <a:gd name="T40" fmla="*/ 41124 w 126"/>
              <a:gd name="T41" fmla="*/ 19895 h 62"/>
              <a:gd name="T42" fmla="*/ 38125 w 126"/>
              <a:gd name="T43" fmla="*/ 14211 h 62"/>
              <a:gd name="T44" fmla="*/ 34698 w 126"/>
              <a:gd name="T45" fmla="*/ 8526 h 62"/>
              <a:gd name="T46" fmla="*/ 30843 w 126"/>
              <a:gd name="T47" fmla="*/ 4737 h 62"/>
              <a:gd name="T48" fmla="*/ 26131 w 126"/>
              <a:gd name="T49" fmla="*/ 0 h 62"/>
              <a:gd name="T50" fmla="*/ 0 w 126"/>
              <a:gd name="T51" fmla="*/ 0 h 62"/>
              <a:gd name="T52" fmla="*/ 0 w 126"/>
              <a:gd name="T53" fmla="*/ 8526 h 62"/>
              <a:gd name="T54" fmla="*/ 0 w 126"/>
              <a:gd name="T55" fmla="*/ 1800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56" name="Freeform 106">
            <a:extLst>
              <a:ext uri="{FF2B5EF4-FFF2-40B4-BE49-F238E27FC236}">
                <a16:creationId xmlns:a16="http://schemas.microsoft.com/office/drawing/2014/main" id="{330A43DF-E40C-4113-93B1-17B5462B7A0E}"/>
              </a:ext>
            </a:extLst>
          </p:cNvPr>
          <p:cNvSpPr>
            <a:spLocks/>
          </p:cNvSpPr>
          <p:nvPr>
            <p:custDataLst>
              <p:tags r:id="rId77"/>
            </p:custDataLst>
          </p:nvPr>
        </p:nvSpPr>
        <p:spPr bwMode="auto">
          <a:xfrm>
            <a:off x="10836883" y="10869268"/>
            <a:ext cx="64000" cy="117894"/>
          </a:xfrm>
          <a:custGeom>
            <a:avLst/>
            <a:gdLst>
              <a:gd name="T0" fmla="*/ 0 w 66"/>
              <a:gd name="T1" fmla="*/ 0 h 44"/>
              <a:gd name="T2" fmla="*/ 5941 w 66"/>
              <a:gd name="T3" fmla="*/ 1263 h 44"/>
              <a:gd name="T4" fmla="*/ 10511 w 66"/>
              <a:gd name="T5" fmla="*/ 2526 h 44"/>
              <a:gd name="T6" fmla="*/ 14624 w 66"/>
              <a:gd name="T7" fmla="*/ 5051 h 44"/>
              <a:gd name="T8" fmla="*/ 17367 w 66"/>
              <a:gd name="T9" fmla="*/ 8840 h 44"/>
              <a:gd name="T10" fmla="*/ 20109 w 66"/>
              <a:gd name="T11" fmla="*/ 11365 h 44"/>
              <a:gd name="T12" fmla="*/ 22851 w 66"/>
              <a:gd name="T13" fmla="*/ 13891 h 44"/>
              <a:gd name="T14" fmla="*/ 26050 w 66"/>
              <a:gd name="T15" fmla="*/ 15154 h 44"/>
              <a:gd name="T16" fmla="*/ 30163 w 66"/>
              <a:gd name="T17" fmla="*/ 16416 h 44"/>
              <a:gd name="T18" fmla="*/ 29706 w 66"/>
              <a:gd name="T19" fmla="*/ 21468 h 44"/>
              <a:gd name="T20" fmla="*/ 28335 w 66"/>
              <a:gd name="T21" fmla="*/ 26519 h 44"/>
              <a:gd name="T22" fmla="*/ 27421 w 66"/>
              <a:gd name="T23" fmla="*/ 31570 h 44"/>
              <a:gd name="T24" fmla="*/ 26050 w 66"/>
              <a:gd name="T25" fmla="*/ 35358 h 44"/>
              <a:gd name="T26" fmla="*/ 22394 w 66"/>
              <a:gd name="T27" fmla="*/ 42935 h 44"/>
              <a:gd name="T28" fmla="*/ 18281 w 66"/>
              <a:gd name="T29" fmla="*/ 49249 h 44"/>
              <a:gd name="T30" fmla="*/ 14167 w 66"/>
              <a:gd name="T31" fmla="*/ 53037 h 44"/>
              <a:gd name="T32" fmla="*/ 9597 w 66"/>
              <a:gd name="T33" fmla="*/ 55563 h 44"/>
              <a:gd name="T34" fmla="*/ 4570 w 66"/>
              <a:gd name="T35" fmla="*/ 55563 h 44"/>
              <a:gd name="T36" fmla="*/ 0 w 66"/>
              <a:gd name="T37" fmla="*/ 54300 h 44"/>
              <a:gd name="T38" fmla="*/ 0 w 66"/>
              <a:gd name="T39" fmla="*/ 39147 h 44"/>
              <a:gd name="T40" fmla="*/ 0 w 66"/>
              <a:gd name="T41" fmla="*/ 27782 h 44"/>
              <a:gd name="T42" fmla="*/ 0 w 66"/>
              <a:gd name="T43" fmla="*/ 15154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57" name="Freeform 107">
            <a:extLst>
              <a:ext uri="{FF2B5EF4-FFF2-40B4-BE49-F238E27FC236}">
                <a16:creationId xmlns:a16="http://schemas.microsoft.com/office/drawing/2014/main" id="{A4A45975-6B5A-4A1E-8C15-67C957615C8B}"/>
              </a:ext>
            </a:extLst>
          </p:cNvPr>
          <p:cNvSpPr>
            <a:spLocks/>
          </p:cNvSpPr>
          <p:nvPr>
            <p:custDataLst>
              <p:tags r:id="rId78"/>
            </p:custDataLst>
          </p:nvPr>
        </p:nvSpPr>
        <p:spPr bwMode="auto">
          <a:xfrm>
            <a:off x="15407769" y="4017993"/>
            <a:ext cx="43788" cy="121262"/>
          </a:xfrm>
          <a:custGeom>
            <a:avLst/>
            <a:gdLst>
              <a:gd name="T0" fmla="*/ 20637 w 46"/>
              <a:gd name="T1" fmla="*/ 0 h 16"/>
              <a:gd name="T2" fmla="*/ 17945 w 46"/>
              <a:gd name="T3" fmla="*/ 25003 h 16"/>
              <a:gd name="T4" fmla="*/ 15702 w 46"/>
              <a:gd name="T5" fmla="*/ 46434 h 16"/>
              <a:gd name="T6" fmla="*/ 13908 w 46"/>
              <a:gd name="T7" fmla="*/ 50006 h 16"/>
              <a:gd name="T8" fmla="*/ 13010 w 46"/>
              <a:gd name="T9" fmla="*/ 53578 h 16"/>
              <a:gd name="T10" fmla="*/ 11664 w 46"/>
              <a:gd name="T11" fmla="*/ 57150 h 16"/>
              <a:gd name="T12" fmla="*/ 10319 w 46"/>
              <a:gd name="T13" fmla="*/ 57150 h 16"/>
              <a:gd name="T14" fmla="*/ 7178 w 46"/>
              <a:gd name="T15" fmla="*/ 50006 h 16"/>
              <a:gd name="T16" fmla="*/ 4935 w 46"/>
              <a:gd name="T17" fmla="*/ 39291 h 16"/>
              <a:gd name="T18" fmla="*/ 2243 w 46"/>
              <a:gd name="T19" fmla="*/ 21431 h 16"/>
              <a:gd name="T20" fmla="*/ 0 w 46"/>
              <a:gd name="T21" fmla="*/ 0 h 16"/>
              <a:gd name="T22" fmla="*/ 2063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58" name="Freeform 108">
            <a:extLst>
              <a:ext uri="{FF2B5EF4-FFF2-40B4-BE49-F238E27FC236}">
                <a16:creationId xmlns:a16="http://schemas.microsoft.com/office/drawing/2014/main" id="{6FEF7C4E-19E4-4776-8BB4-DE6BF74FEA5A}"/>
              </a:ext>
            </a:extLst>
          </p:cNvPr>
          <p:cNvSpPr>
            <a:spLocks/>
          </p:cNvSpPr>
          <p:nvPr>
            <p:custDataLst>
              <p:tags r:id="rId79"/>
            </p:custDataLst>
          </p:nvPr>
        </p:nvSpPr>
        <p:spPr bwMode="auto">
          <a:xfrm>
            <a:off x="15781657" y="4088730"/>
            <a:ext cx="33684" cy="121262"/>
          </a:xfrm>
          <a:custGeom>
            <a:avLst/>
            <a:gdLst>
              <a:gd name="T0" fmla="*/ 15875 w 39"/>
              <a:gd name="T1" fmla="*/ 54952 h 26"/>
              <a:gd name="T2" fmla="*/ 14654 w 39"/>
              <a:gd name="T3" fmla="*/ 57150 h 26"/>
              <a:gd name="T4" fmla="*/ 13026 w 39"/>
              <a:gd name="T5" fmla="*/ 57150 h 26"/>
              <a:gd name="T6" fmla="*/ 11397 w 39"/>
              <a:gd name="T7" fmla="*/ 57150 h 26"/>
              <a:gd name="T8" fmla="*/ 10176 w 39"/>
              <a:gd name="T9" fmla="*/ 54952 h 26"/>
              <a:gd name="T10" fmla="*/ 7327 w 39"/>
              <a:gd name="T11" fmla="*/ 48358 h 26"/>
              <a:gd name="T12" fmla="*/ 4885 w 39"/>
              <a:gd name="T13" fmla="*/ 39565 h 26"/>
              <a:gd name="T14" fmla="*/ 2849 w 39"/>
              <a:gd name="T15" fmla="*/ 28575 h 26"/>
              <a:gd name="T16" fmla="*/ 1221 w 39"/>
              <a:gd name="T17" fmla="*/ 15387 h 26"/>
              <a:gd name="T18" fmla="*/ 407 w 39"/>
              <a:gd name="T19" fmla="*/ 6594 h 26"/>
              <a:gd name="T20" fmla="*/ 0 w 39"/>
              <a:gd name="T21" fmla="*/ 0 h 26"/>
              <a:gd name="T22" fmla="*/ 4478 w 39"/>
              <a:gd name="T23" fmla="*/ 13188 h 26"/>
              <a:gd name="T24" fmla="*/ 8955 w 39"/>
              <a:gd name="T25" fmla="*/ 28575 h 26"/>
              <a:gd name="T26" fmla="*/ 13433 w 39"/>
              <a:gd name="T27" fmla="*/ 43962 h 26"/>
              <a:gd name="T28" fmla="*/ 15875 w 39"/>
              <a:gd name="T29" fmla="*/ 54952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59" name="Freeform 109">
            <a:extLst>
              <a:ext uri="{FF2B5EF4-FFF2-40B4-BE49-F238E27FC236}">
                <a16:creationId xmlns:a16="http://schemas.microsoft.com/office/drawing/2014/main" id="{482E4B17-2365-4840-8A18-C3708841BF60}"/>
              </a:ext>
            </a:extLst>
          </p:cNvPr>
          <p:cNvSpPr>
            <a:spLocks/>
          </p:cNvSpPr>
          <p:nvPr>
            <p:custDataLst>
              <p:tags r:id="rId80"/>
            </p:custDataLst>
          </p:nvPr>
        </p:nvSpPr>
        <p:spPr bwMode="auto">
          <a:xfrm>
            <a:off x="14612832" y="4577143"/>
            <a:ext cx="10104" cy="124631"/>
          </a:xfrm>
          <a:custGeom>
            <a:avLst/>
            <a:gdLst>
              <a:gd name="T0" fmla="*/ 4762 w 11"/>
              <a:gd name="T1" fmla="*/ 0 h 25"/>
              <a:gd name="T2" fmla="*/ 4762 w 11"/>
              <a:gd name="T3" fmla="*/ 11748 h 25"/>
              <a:gd name="T4" fmla="*/ 4329 w 11"/>
              <a:gd name="T5" fmla="*/ 28194 h 25"/>
              <a:gd name="T6" fmla="*/ 3896 w 11"/>
              <a:gd name="T7" fmla="*/ 46990 h 25"/>
              <a:gd name="T8" fmla="*/ 1732 w 11"/>
              <a:gd name="T9" fmla="*/ 58738 h 25"/>
              <a:gd name="T10" fmla="*/ 866 w 11"/>
              <a:gd name="T11" fmla="*/ 54039 h 25"/>
              <a:gd name="T12" fmla="*/ 433 w 11"/>
              <a:gd name="T13" fmla="*/ 46990 h 25"/>
              <a:gd name="T14" fmla="*/ 0 w 11"/>
              <a:gd name="T15" fmla="*/ 35243 h 25"/>
              <a:gd name="T16" fmla="*/ 0 w 11"/>
              <a:gd name="T17" fmla="*/ 28194 h 25"/>
              <a:gd name="T18" fmla="*/ 433 w 11"/>
              <a:gd name="T19" fmla="*/ 21146 h 25"/>
              <a:gd name="T20" fmla="*/ 1299 w 11"/>
              <a:gd name="T21" fmla="*/ 11748 h 25"/>
              <a:gd name="T22" fmla="*/ 2597 w 11"/>
              <a:gd name="T23" fmla="*/ 4699 h 25"/>
              <a:gd name="T24" fmla="*/ 4762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60" name="Freeform 110">
            <a:extLst>
              <a:ext uri="{FF2B5EF4-FFF2-40B4-BE49-F238E27FC236}">
                <a16:creationId xmlns:a16="http://schemas.microsoft.com/office/drawing/2014/main" id="{C67769C6-E137-485F-9481-6997D75393ED}"/>
              </a:ext>
            </a:extLst>
          </p:cNvPr>
          <p:cNvSpPr>
            <a:spLocks/>
          </p:cNvSpPr>
          <p:nvPr>
            <p:custDataLst>
              <p:tags r:id="rId81"/>
            </p:custDataLst>
          </p:nvPr>
        </p:nvSpPr>
        <p:spPr bwMode="auto">
          <a:xfrm>
            <a:off x="14218731" y="5769548"/>
            <a:ext cx="30316" cy="124631"/>
          </a:xfrm>
          <a:custGeom>
            <a:avLst/>
            <a:gdLst>
              <a:gd name="T0" fmla="*/ 14288 w 20"/>
              <a:gd name="T1" fmla="*/ 0 h 31"/>
              <a:gd name="T2" fmla="*/ 11430 w 20"/>
              <a:gd name="T3" fmla="*/ 22737 h 31"/>
              <a:gd name="T4" fmla="*/ 7144 w 20"/>
              <a:gd name="T5" fmla="*/ 37895 h 31"/>
              <a:gd name="T6" fmla="*/ 3572 w 20"/>
              <a:gd name="T7" fmla="*/ 49264 h 31"/>
              <a:gd name="T8" fmla="*/ 0 w 20"/>
              <a:gd name="T9" fmla="*/ 58738 h 31"/>
              <a:gd name="T10" fmla="*/ 0 w 20"/>
              <a:gd name="T11" fmla="*/ 47369 h 31"/>
              <a:gd name="T12" fmla="*/ 714 w 20"/>
              <a:gd name="T13" fmla="*/ 36001 h 31"/>
              <a:gd name="T14" fmla="*/ 1429 w 20"/>
              <a:gd name="T15" fmla="*/ 24632 h 31"/>
              <a:gd name="T16" fmla="*/ 3572 w 20"/>
              <a:gd name="T17" fmla="*/ 17053 h 31"/>
              <a:gd name="T18" fmla="*/ 5715 w 20"/>
              <a:gd name="T19" fmla="*/ 11369 h 31"/>
              <a:gd name="T20" fmla="*/ 7858 w 20"/>
              <a:gd name="T21" fmla="*/ 5684 h 31"/>
              <a:gd name="T22" fmla="*/ 11430 w 20"/>
              <a:gd name="T23" fmla="*/ 0 h 31"/>
              <a:gd name="T24" fmla="*/ 14288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61" name="Freeform 111">
            <a:extLst>
              <a:ext uri="{FF2B5EF4-FFF2-40B4-BE49-F238E27FC236}">
                <a16:creationId xmlns:a16="http://schemas.microsoft.com/office/drawing/2014/main" id="{DF177903-AB1A-48D6-B3F1-060EEE62E865}"/>
              </a:ext>
            </a:extLst>
          </p:cNvPr>
          <p:cNvSpPr>
            <a:spLocks/>
          </p:cNvSpPr>
          <p:nvPr>
            <p:custDataLst>
              <p:tags r:id="rId82"/>
            </p:custDataLst>
          </p:nvPr>
        </p:nvSpPr>
        <p:spPr bwMode="auto">
          <a:xfrm>
            <a:off x="14255785" y="5631445"/>
            <a:ext cx="33684" cy="121262"/>
          </a:xfrm>
          <a:custGeom>
            <a:avLst/>
            <a:gdLst>
              <a:gd name="T0" fmla="*/ 7938 w 26"/>
              <a:gd name="T1" fmla="*/ 57150 h 37"/>
              <a:gd name="T2" fmla="*/ 0 w 26"/>
              <a:gd name="T3" fmla="*/ 18535 h 37"/>
              <a:gd name="T4" fmla="*/ 3663 w 26"/>
              <a:gd name="T5" fmla="*/ 10812 h 37"/>
              <a:gd name="T6" fmla="*/ 7938 w 26"/>
              <a:gd name="T7" fmla="*/ 6178 h 37"/>
              <a:gd name="T8" fmla="*/ 12822 w 26"/>
              <a:gd name="T9" fmla="*/ 1545 h 37"/>
              <a:gd name="T10" fmla="*/ 15875 w 26"/>
              <a:gd name="T11" fmla="*/ 0 h 37"/>
              <a:gd name="T12" fmla="*/ 15875 w 26"/>
              <a:gd name="T13" fmla="*/ 9268 h 37"/>
              <a:gd name="T14" fmla="*/ 15264 w 26"/>
              <a:gd name="T15" fmla="*/ 16991 h 37"/>
              <a:gd name="T16" fmla="*/ 14654 w 26"/>
              <a:gd name="T17" fmla="*/ 26258 h 37"/>
              <a:gd name="T18" fmla="*/ 14043 w 26"/>
              <a:gd name="T19" fmla="*/ 32436 h 37"/>
              <a:gd name="T20" fmla="*/ 10990 w 26"/>
              <a:gd name="T21" fmla="*/ 44793 h 37"/>
              <a:gd name="T22" fmla="*/ 7938 w 26"/>
              <a:gd name="T23" fmla="*/ 57150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62" name="Freeform 112">
            <a:extLst>
              <a:ext uri="{FF2B5EF4-FFF2-40B4-BE49-F238E27FC236}">
                <a16:creationId xmlns:a16="http://schemas.microsoft.com/office/drawing/2014/main" id="{CC1AA0E1-2883-418A-9415-A0B157161A89}"/>
              </a:ext>
            </a:extLst>
          </p:cNvPr>
          <p:cNvSpPr>
            <a:spLocks/>
          </p:cNvSpPr>
          <p:nvPr>
            <p:custDataLst>
              <p:tags r:id="rId83"/>
            </p:custDataLst>
          </p:nvPr>
        </p:nvSpPr>
        <p:spPr bwMode="auto">
          <a:xfrm>
            <a:off x="14019998" y="5311449"/>
            <a:ext cx="3367" cy="127998"/>
          </a:xfrm>
          <a:custGeom>
            <a:avLst/>
            <a:gdLst>
              <a:gd name="T0" fmla="*/ 0 w 7"/>
              <a:gd name="T1" fmla="*/ 60325 h 18"/>
              <a:gd name="T2" fmla="*/ 0 w 7"/>
              <a:gd name="T3" fmla="*/ 0 h 18"/>
              <a:gd name="T4" fmla="*/ 1587 w 7"/>
              <a:gd name="T5" fmla="*/ 40217 h 18"/>
              <a:gd name="T6" fmla="*/ 0 w 7"/>
              <a:gd name="T7" fmla="*/ 60325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8">
                <a:moveTo>
                  <a:pt x="0" y="18"/>
                </a:moveTo>
                <a:lnTo>
                  <a:pt x="0" y="0"/>
                </a:lnTo>
                <a:lnTo>
                  <a:pt x="7" y="12"/>
                </a:lnTo>
                <a:lnTo>
                  <a:pt x="0" y="18"/>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63" name="Freeform 113">
            <a:extLst>
              <a:ext uri="{FF2B5EF4-FFF2-40B4-BE49-F238E27FC236}">
                <a16:creationId xmlns:a16="http://schemas.microsoft.com/office/drawing/2014/main" id="{381D13FC-4A87-4B10-A0C4-0A178FEBA110}"/>
              </a:ext>
            </a:extLst>
          </p:cNvPr>
          <p:cNvSpPr>
            <a:spLocks/>
          </p:cNvSpPr>
          <p:nvPr>
            <p:custDataLst>
              <p:tags r:id="rId84"/>
            </p:custDataLst>
          </p:nvPr>
        </p:nvSpPr>
        <p:spPr bwMode="auto">
          <a:xfrm>
            <a:off x="7340509" y="3458842"/>
            <a:ext cx="20210" cy="121262"/>
          </a:xfrm>
          <a:custGeom>
            <a:avLst/>
            <a:gdLst>
              <a:gd name="T0" fmla="*/ 0 w 33"/>
              <a:gd name="T1" fmla="*/ 22123 h 31"/>
              <a:gd name="T2" fmla="*/ 5484 w 33"/>
              <a:gd name="T3" fmla="*/ 0 h 31"/>
              <a:gd name="T4" fmla="*/ 6927 w 33"/>
              <a:gd name="T5" fmla="*/ 9218 h 31"/>
              <a:gd name="T6" fmla="*/ 8082 w 33"/>
              <a:gd name="T7" fmla="*/ 22123 h 31"/>
              <a:gd name="T8" fmla="*/ 9236 w 33"/>
              <a:gd name="T9" fmla="*/ 40558 h 31"/>
              <a:gd name="T10" fmla="*/ 9525 w 33"/>
              <a:gd name="T11" fmla="*/ 57150 h 31"/>
              <a:gd name="T12" fmla="*/ 7793 w 33"/>
              <a:gd name="T13" fmla="*/ 55306 h 31"/>
              <a:gd name="T14" fmla="*/ 6350 w 33"/>
              <a:gd name="T15" fmla="*/ 51619 h 31"/>
              <a:gd name="T16" fmla="*/ 4618 w 33"/>
              <a:gd name="T17" fmla="*/ 46089 h 31"/>
              <a:gd name="T18" fmla="*/ 3175 w 33"/>
              <a:gd name="T19" fmla="*/ 40558 h 31"/>
              <a:gd name="T20" fmla="*/ 866 w 33"/>
              <a:gd name="T21" fmla="*/ 27653 h 31"/>
              <a:gd name="T22" fmla="*/ 0 w 33"/>
              <a:gd name="T23" fmla="*/ 22123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64" name="Freeform 114">
            <a:extLst>
              <a:ext uri="{FF2B5EF4-FFF2-40B4-BE49-F238E27FC236}">
                <a16:creationId xmlns:a16="http://schemas.microsoft.com/office/drawing/2014/main" id="{DCCAC7F7-EF28-4F84-B233-91C3DB849782}"/>
              </a:ext>
            </a:extLst>
          </p:cNvPr>
          <p:cNvSpPr>
            <a:spLocks/>
          </p:cNvSpPr>
          <p:nvPr>
            <p:custDataLst>
              <p:tags r:id="rId85"/>
            </p:custDataLst>
          </p:nvPr>
        </p:nvSpPr>
        <p:spPr bwMode="auto">
          <a:xfrm>
            <a:off x="7310195" y="2967060"/>
            <a:ext cx="6737" cy="121262"/>
          </a:xfrm>
          <a:custGeom>
            <a:avLst/>
            <a:gdLst>
              <a:gd name="T0" fmla="*/ 3175 w 14"/>
              <a:gd name="T1" fmla="*/ 0 h 6"/>
              <a:gd name="T2" fmla="*/ 0 w 14"/>
              <a:gd name="T3" fmla="*/ 57150 h 6"/>
              <a:gd name="T4" fmla="*/ 3175 w 14"/>
              <a:gd name="T5" fmla="*/ 0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0" y="6"/>
                </a:lnTo>
                <a:lnTo>
                  <a:pt x="14"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65" name="Freeform 115">
            <a:extLst>
              <a:ext uri="{FF2B5EF4-FFF2-40B4-BE49-F238E27FC236}">
                <a16:creationId xmlns:a16="http://schemas.microsoft.com/office/drawing/2014/main" id="{75E6D07C-1CA6-4967-BDE8-39F83A502876}"/>
              </a:ext>
            </a:extLst>
          </p:cNvPr>
          <p:cNvSpPr>
            <a:spLocks/>
          </p:cNvSpPr>
          <p:nvPr>
            <p:custDataLst>
              <p:tags r:id="rId86"/>
            </p:custDataLst>
          </p:nvPr>
        </p:nvSpPr>
        <p:spPr bwMode="auto">
          <a:xfrm>
            <a:off x="10452888" y="6739640"/>
            <a:ext cx="53894" cy="117894"/>
          </a:xfrm>
          <a:custGeom>
            <a:avLst/>
            <a:gdLst>
              <a:gd name="T0" fmla="*/ 25400 w 59"/>
              <a:gd name="T1" fmla="*/ 10754 h 31"/>
              <a:gd name="T2" fmla="*/ 24539 w 59"/>
              <a:gd name="T3" fmla="*/ 19716 h 31"/>
              <a:gd name="T4" fmla="*/ 22817 w 59"/>
              <a:gd name="T5" fmla="*/ 26885 h 31"/>
              <a:gd name="T6" fmla="*/ 21095 w 59"/>
              <a:gd name="T7" fmla="*/ 34055 h 31"/>
              <a:gd name="T8" fmla="*/ 19373 w 59"/>
              <a:gd name="T9" fmla="*/ 43017 h 31"/>
              <a:gd name="T10" fmla="*/ 17220 w 59"/>
              <a:gd name="T11" fmla="*/ 48394 h 31"/>
              <a:gd name="T12" fmla="*/ 15498 w 59"/>
              <a:gd name="T13" fmla="*/ 51978 h 31"/>
              <a:gd name="T14" fmla="*/ 12915 w 59"/>
              <a:gd name="T15" fmla="*/ 55563 h 31"/>
              <a:gd name="T16" fmla="*/ 11193 w 59"/>
              <a:gd name="T17" fmla="*/ 55563 h 31"/>
              <a:gd name="T18" fmla="*/ 9041 w 59"/>
              <a:gd name="T19" fmla="*/ 55563 h 31"/>
              <a:gd name="T20" fmla="*/ 7319 w 59"/>
              <a:gd name="T21" fmla="*/ 53771 h 31"/>
              <a:gd name="T22" fmla="*/ 6027 w 59"/>
              <a:gd name="T23" fmla="*/ 51978 h 31"/>
              <a:gd name="T24" fmla="*/ 4736 w 59"/>
              <a:gd name="T25" fmla="*/ 48394 h 31"/>
              <a:gd name="T26" fmla="*/ 1722 w 59"/>
              <a:gd name="T27" fmla="*/ 35847 h 31"/>
              <a:gd name="T28" fmla="*/ 0 w 59"/>
              <a:gd name="T29" fmla="*/ 21508 h 31"/>
              <a:gd name="T30" fmla="*/ 431 w 59"/>
              <a:gd name="T31" fmla="*/ 16131 h 31"/>
              <a:gd name="T32" fmla="*/ 1292 w 59"/>
              <a:gd name="T33" fmla="*/ 10754 h 31"/>
              <a:gd name="T34" fmla="*/ 2153 w 59"/>
              <a:gd name="T35" fmla="*/ 7169 h 31"/>
              <a:gd name="T36" fmla="*/ 3444 w 59"/>
              <a:gd name="T37" fmla="*/ 5377 h 31"/>
              <a:gd name="T38" fmla="*/ 6888 w 59"/>
              <a:gd name="T39" fmla="*/ 1792 h 31"/>
              <a:gd name="T40" fmla="*/ 10332 w 59"/>
              <a:gd name="T41" fmla="*/ 0 h 31"/>
              <a:gd name="T42" fmla="*/ 14637 w 59"/>
              <a:gd name="T43" fmla="*/ 0 h 31"/>
              <a:gd name="T44" fmla="*/ 18081 w 59"/>
              <a:gd name="T45" fmla="*/ 3585 h 31"/>
              <a:gd name="T46" fmla="*/ 21956 w 59"/>
              <a:gd name="T47" fmla="*/ 7169 h 31"/>
              <a:gd name="T48" fmla="*/ 25400 w 59"/>
              <a:gd name="T49" fmla="*/ 10754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666" name="Freeform 116">
            <a:extLst>
              <a:ext uri="{FF2B5EF4-FFF2-40B4-BE49-F238E27FC236}">
                <a16:creationId xmlns:a16="http://schemas.microsoft.com/office/drawing/2014/main" id="{5AC88F9C-1138-461D-853D-88E3F4539901}"/>
              </a:ext>
            </a:extLst>
          </p:cNvPr>
          <p:cNvSpPr>
            <a:spLocks/>
          </p:cNvSpPr>
          <p:nvPr>
            <p:custDataLst>
              <p:tags r:id="rId87"/>
            </p:custDataLst>
          </p:nvPr>
        </p:nvSpPr>
        <p:spPr bwMode="auto">
          <a:xfrm>
            <a:off x="9823003" y="6446592"/>
            <a:ext cx="40421" cy="124629"/>
          </a:xfrm>
          <a:custGeom>
            <a:avLst/>
            <a:gdLst>
              <a:gd name="T0" fmla="*/ 5674 w 47"/>
              <a:gd name="T1" fmla="*/ 0 h 68"/>
              <a:gd name="T2" fmla="*/ 3243 w 47"/>
              <a:gd name="T3" fmla="*/ 8638 h 68"/>
              <a:gd name="T4" fmla="*/ 1621 w 47"/>
              <a:gd name="T5" fmla="*/ 16412 h 68"/>
              <a:gd name="T6" fmla="*/ 811 w 47"/>
              <a:gd name="T7" fmla="*/ 24186 h 68"/>
              <a:gd name="T8" fmla="*/ 0 w 47"/>
              <a:gd name="T9" fmla="*/ 31960 h 68"/>
              <a:gd name="T10" fmla="*/ 0 w 47"/>
              <a:gd name="T11" fmla="*/ 36279 h 68"/>
              <a:gd name="T12" fmla="*/ 811 w 47"/>
              <a:gd name="T13" fmla="*/ 40598 h 68"/>
              <a:gd name="T14" fmla="*/ 1216 w 47"/>
              <a:gd name="T15" fmla="*/ 44053 h 68"/>
              <a:gd name="T16" fmla="*/ 2027 w 47"/>
              <a:gd name="T17" fmla="*/ 47508 h 68"/>
              <a:gd name="T18" fmla="*/ 2837 w 47"/>
              <a:gd name="T19" fmla="*/ 50099 h 68"/>
              <a:gd name="T20" fmla="*/ 3648 w 47"/>
              <a:gd name="T21" fmla="*/ 51827 h 68"/>
              <a:gd name="T22" fmla="*/ 5269 w 47"/>
              <a:gd name="T23" fmla="*/ 53554 h 68"/>
              <a:gd name="T24" fmla="*/ 6485 w 47"/>
              <a:gd name="T25" fmla="*/ 55282 h 68"/>
              <a:gd name="T26" fmla="*/ 8917 w 47"/>
              <a:gd name="T27" fmla="*/ 57873 h 68"/>
              <a:gd name="T28" fmla="*/ 12565 w 47"/>
              <a:gd name="T29" fmla="*/ 58737 h 68"/>
              <a:gd name="T30" fmla="*/ 15807 w 47"/>
              <a:gd name="T31" fmla="*/ 58737 h 68"/>
              <a:gd name="T32" fmla="*/ 19050 w 47"/>
              <a:gd name="T33" fmla="*/ 58737 h 68"/>
              <a:gd name="T34" fmla="*/ 16618 w 47"/>
              <a:gd name="T35" fmla="*/ 50099 h 68"/>
              <a:gd name="T36" fmla="*/ 15402 w 47"/>
              <a:gd name="T37" fmla="*/ 41461 h 68"/>
              <a:gd name="T38" fmla="*/ 14591 w 47"/>
              <a:gd name="T39" fmla="*/ 37143 h 68"/>
              <a:gd name="T40" fmla="*/ 14186 w 47"/>
              <a:gd name="T41" fmla="*/ 32824 h 68"/>
              <a:gd name="T42" fmla="*/ 13376 w 47"/>
              <a:gd name="T43" fmla="*/ 26777 h 68"/>
              <a:gd name="T44" fmla="*/ 13376 w 47"/>
              <a:gd name="T45" fmla="*/ 21594 h 68"/>
              <a:gd name="T46" fmla="*/ 9728 w 47"/>
              <a:gd name="T47" fmla="*/ 11229 h 68"/>
              <a:gd name="T48" fmla="*/ 5674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grpSp>
        <p:nvGrpSpPr>
          <p:cNvPr id="667" name="Group 117">
            <a:extLst>
              <a:ext uri="{FF2B5EF4-FFF2-40B4-BE49-F238E27FC236}">
                <a16:creationId xmlns:a16="http://schemas.microsoft.com/office/drawing/2014/main" id="{49E5435D-1D07-4DBC-9D83-07B179BCEC39}"/>
              </a:ext>
            </a:extLst>
          </p:cNvPr>
          <p:cNvGrpSpPr>
            <a:grpSpLocks/>
          </p:cNvGrpSpPr>
          <p:nvPr>
            <p:custDataLst>
              <p:tags r:id="rId88"/>
            </p:custDataLst>
          </p:nvPr>
        </p:nvGrpSpPr>
        <p:grpSpPr bwMode="auto">
          <a:xfrm>
            <a:off x="11460033" y="6844060"/>
            <a:ext cx="97682" cy="794937"/>
            <a:chOff x="3950" y="2430"/>
            <a:chExt cx="36" cy="234"/>
          </a:xfrm>
          <a:solidFill>
            <a:schemeClr val="bg2">
              <a:lumMod val="50000"/>
              <a:alpha val="18000"/>
            </a:schemeClr>
          </a:solidFill>
        </p:grpSpPr>
        <p:sp>
          <p:nvSpPr>
            <p:cNvPr id="668" name="Freeform 118">
              <a:extLst>
                <a:ext uri="{FF2B5EF4-FFF2-40B4-BE49-F238E27FC236}">
                  <a16:creationId xmlns:a16="http://schemas.microsoft.com/office/drawing/2014/main" id="{79257A7A-481E-4AF2-A7A7-2F964C3364D9}"/>
                </a:ext>
              </a:extLst>
            </p:cNvPr>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endParaRPr lang="es-ES" dirty="0"/>
            </a:p>
          </p:txBody>
        </p:sp>
        <p:sp>
          <p:nvSpPr>
            <p:cNvPr id="669" name="Freeform 119">
              <a:extLst>
                <a:ext uri="{FF2B5EF4-FFF2-40B4-BE49-F238E27FC236}">
                  <a16:creationId xmlns:a16="http://schemas.microsoft.com/office/drawing/2014/main" id="{B95EB938-354D-4A10-BFE1-30DD6ACBB591}"/>
                </a:ext>
              </a:extLst>
            </p:cNvPr>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endParaRPr lang="es-ES" dirty="0"/>
            </a:p>
          </p:txBody>
        </p:sp>
        <p:sp>
          <p:nvSpPr>
            <p:cNvPr id="670" name="Freeform 120">
              <a:extLst>
                <a:ext uri="{FF2B5EF4-FFF2-40B4-BE49-F238E27FC236}">
                  <a16:creationId xmlns:a16="http://schemas.microsoft.com/office/drawing/2014/main" id="{288F465E-8D92-4A2F-B7A8-FA22E7EF7603}"/>
                </a:ext>
              </a:extLst>
            </p:cNvPr>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endParaRPr lang="es-ES" dirty="0"/>
            </a:p>
          </p:txBody>
        </p:sp>
        <p:sp>
          <p:nvSpPr>
            <p:cNvPr id="671" name="Rectangle 121">
              <a:extLst>
                <a:ext uri="{FF2B5EF4-FFF2-40B4-BE49-F238E27FC236}">
                  <a16:creationId xmlns:a16="http://schemas.microsoft.com/office/drawing/2014/main" id="{2CCE547F-2DEC-44F5-BB60-3B0B53E37D38}"/>
                </a:ext>
              </a:extLst>
            </p:cNvPr>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s-ES" dirty="0"/>
            </a:p>
          </p:txBody>
        </p:sp>
        <p:sp>
          <p:nvSpPr>
            <p:cNvPr id="672" name="Line 122">
              <a:extLst>
                <a:ext uri="{FF2B5EF4-FFF2-40B4-BE49-F238E27FC236}">
                  <a16:creationId xmlns:a16="http://schemas.microsoft.com/office/drawing/2014/main" id="{0F3E22BE-A84D-4DDD-8849-A909BA975422}"/>
                </a:ext>
              </a:extLst>
            </p:cNvPr>
            <p:cNvSpPr>
              <a:spLocks noChangeShapeType="1"/>
            </p:cNvSpPr>
            <p:nvPr/>
          </p:nvSpPr>
          <p:spPr bwMode="auto">
            <a:xfrm flipV="1">
              <a:off x="3972" y="2595"/>
              <a:ext cx="5" cy="4"/>
            </a:xfrm>
            <a:prstGeom prst="line">
              <a:avLst/>
            </a:prstGeom>
            <a:grpFill/>
            <a:ln w="9525">
              <a:solidFill>
                <a:srgbClr val="FFFFFF"/>
              </a:solidFill>
              <a:round/>
              <a:headEnd/>
              <a:tailEnd/>
            </a:ln>
          </p:spPr>
          <p:txBody>
            <a:bodyPr/>
            <a:lstStyle/>
            <a:p>
              <a:endParaRPr lang="es-ES" dirty="0"/>
            </a:p>
          </p:txBody>
        </p:sp>
        <p:sp>
          <p:nvSpPr>
            <p:cNvPr id="673" name="Freeform 123">
              <a:extLst>
                <a:ext uri="{FF2B5EF4-FFF2-40B4-BE49-F238E27FC236}">
                  <a16:creationId xmlns:a16="http://schemas.microsoft.com/office/drawing/2014/main" id="{CE59AB1A-D58F-4FAE-B025-36E7212B0479}"/>
                </a:ext>
              </a:extLst>
            </p:cNvPr>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grpFill/>
            <a:ln w="9525" cmpd="sng">
              <a:solidFill>
                <a:srgbClr val="FFFFFF"/>
              </a:solidFill>
              <a:prstDash val="solid"/>
              <a:round/>
              <a:headEnd/>
              <a:tailEnd/>
            </a:ln>
          </p:spPr>
          <p:txBody>
            <a:bodyPr/>
            <a:lstStyle/>
            <a:p>
              <a:endParaRPr lang="es-ES" dirty="0"/>
            </a:p>
          </p:txBody>
        </p:sp>
        <p:sp>
          <p:nvSpPr>
            <p:cNvPr id="674" name="Freeform 124">
              <a:extLst>
                <a:ext uri="{FF2B5EF4-FFF2-40B4-BE49-F238E27FC236}">
                  <a16:creationId xmlns:a16="http://schemas.microsoft.com/office/drawing/2014/main" id="{7720C59D-FA60-4299-ADD1-B2672E42C888}"/>
                </a:ext>
              </a:extLst>
            </p:cNvPr>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endParaRPr lang="es-ES" dirty="0"/>
            </a:p>
          </p:txBody>
        </p:sp>
        <p:sp>
          <p:nvSpPr>
            <p:cNvPr id="675" name="Line 125">
              <a:extLst>
                <a:ext uri="{FF2B5EF4-FFF2-40B4-BE49-F238E27FC236}">
                  <a16:creationId xmlns:a16="http://schemas.microsoft.com/office/drawing/2014/main" id="{90165EF1-A02B-4F96-B316-5FB4F2E8FF12}"/>
                </a:ext>
              </a:extLst>
            </p:cNvPr>
            <p:cNvSpPr>
              <a:spLocks noChangeShapeType="1"/>
            </p:cNvSpPr>
            <p:nvPr/>
          </p:nvSpPr>
          <p:spPr bwMode="auto">
            <a:xfrm>
              <a:off x="3981" y="2559"/>
              <a:ext cx="2" cy="1"/>
            </a:xfrm>
            <a:prstGeom prst="line">
              <a:avLst/>
            </a:prstGeom>
            <a:grpFill/>
            <a:ln w="9525">
              <a:solidFill>
                <a:srgbClr val="FFFFFF"/>
              </a:solidFill>
              <a:round/>
              <a:headEnd/>
              <a:tailEnd/>
            </a:ln>
          </p:spPr>
          <p:txBody>
            <a:bodyPr/>
            <a:lstStyle/>
            <a:p>
              <a:endParaRPr lang="es-ES" dirty="0"/>
            </a:p>
          </p:txBody>
        </p:sp>
        <p:sp>
          <p:nvSpPr>
            <p:cNvPr id="676" name="Freeform 126">
              <a:extLst>
                <a:ext uri="{FF2B5EF4-FFF2-40B4-BE49-F238E27FC236}">
                  <a16:creationId xmlns:a16="http://schemas.microsoft.com/office/drawing/2014/main" id="{29B2FDC4-10AF-440B-8DC5-F3344D11EF3B}"/>
                </a:ext>
              </a:extLst>
            </p:cNvPr>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endParaRPr lang="es-ES" dirty="0"/>
            </a:p>
          </p:txBody>
        </p:sp>
        <p:sp>
          <p:nvSpPr>
            <p:cNvPr id="677" name="Freeform 127">
              <a:extLst>
                <a:ext uri="{FF2B5EF4-FFF2-40B4-BE49-F238E27FC236}">
                  <a16:creationId xmlns:a16="http://schemas.microsoft.com/office/drawing/2014/main" id="{E6AA1EC9-2916-461A-B3A3-FB4671930E44}"/>
                </a:ext>
              </a:extLst>
            </p:cNvPr>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endParaRPr lang="es-ES" dirty="0"/>
            </a:p>
          </p:txBody>
        </p:sp>
        <p:sp>
          <p:nvSpPr>
            <p:cNvPr id="678" name="Line 128">
              <a:extLst>
                <a:ext uri="{FF2B5EF4-FFF2-40B4-BE49-F238E27FC236}">
                  <a16:creationId xmlns:a16="http://schemas.microsoft.com/office/drawing/2014/main" id="{867F98F8-A036-4E0B-9FAF-5A7416C51E8E}"/>
                </a:ext>
              </a:extLst>
            </p:cNvPr>
            <p:cNvSpPr>
              <a:spLocks noChangeShapeType="1"/>
            </p:cNvSpPr>
            <p:nvPr/>
          </p:nvSpPr>
          <p:spPr bwMode="auto">
            <a:xfrm flipV="1">
              <a:off x="3981" y="2599"/>
              <a:ext cx="1" cy="4"/>
            </a:xfrm>
            <a:prstGeom prst="line">
              <a:avLst/>
            </a:prstGeom>
            <a:grpFill/>
            <a:ln w="9525">
              <a:solidFill>
                <a:srgbClr val="FFFFFF"/>
              </a:solidFill>
              <a:round/>
              <a:headEnd/>
              <a:tailEnd/>
            </a:ln>
          </p:spPr>
          <p:txBody>
            <a:bodyPr/>
            <a:lstStyle/>
            <a:p>
              <a:endParaRPr lang="es-ES" dirty="0"/>
            </a:p>
          </p:txBody>
        </p:sp>
        <p:sp>
          <p:nvSpPr>
            <p:cNvPr id="679" name="Freeform 129">
              <a:extLst>
                <a:ext uri="{FF2B5EF4-FFF2-40B4-BE49-F238E27FC236}">
                  <a16:creationId xmlns:a16="http://schemas.microsoft.com/office/drawing/2014/main" id="{B3A309D6-E2C5-4117-ADF5-31B716E2FDDF}"/>
                </a:ext>
              </a:extLst>
            </p:cNvPr>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endParaRPr lang="es-ES" dirty="0"/>
            </a:p>
          </p:txBody>
        </p:sp>
        <p:sp>
          <p:nvSpPr>
            <p:cNvPr id="680" name="Freeform 130">
              <a:extLst>
                <a:ext uri="{FF2B5EF4-FFF2-40B4-BE49-F238E27FC236}">
                  <a16:creationId xmlns:a16="http://schemas.microsoft.com/office/drawing/2014/main" id="{8FC9BDD7-ECEA-49DA-B929-B5C77455ED57}"/>
                </a:ext>
              </a:extLst>
            </p:cNvPr>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endParaRPr lang="es-ES" dirty="0"/>
            </a:p>
          </p:txBody>
        </p:sp>
        <p:sp>
          <p:nvSpPr>
            <p:cNvPr id="681" name="Freeform 131">
              <a:extLst>
                <a:ext uri="{FF2B5EF4-FFF2-40B4-BE49-F238E27FC236}">
                  <a16:creationId xmlns:a16="http://schemas.microsoft.com/office/drawing/2014/main" id="{D6A72CAF-8749-4BC6-B044-69C07497FF5C}"/>
                </a:ext>
              </a:extLst>
            </p:cNvPr>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endParaRPr lang="es-ES" dirty="0"/>
            </a:p>
          </p:txBody>
        </p:sp>
        <p:sp>
          <p:nvSpPr>
            <p:cNvPr id="682" name="Freeform 132">
              <a:extLst>
                <a:ext uri="{FF2B5EF4-FFF2-40B4-BE49-F238E27FC236}">
                  <a16:creationId xmlns:a16="http://schemas.microsoft.com/office/drawing/2014/main" id="{392089BF-D991-4039-AEA4-AA45BF87791A}"/>
                </a:ext>
              </a:extLst>
            </p:cNvPr>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endParaRPr lang="es-ES" dirty="0"/>
            </a:p>
          </p:txBody>
        </p:sp>
        <p:sp>
          <p:nvSpPr>
            <p:cNvPr id="683" name="Freeform 133">
              <a:extLst>
                <a:ext uri="{FF2B5EF4-FFF2-40B4-BE49-F238E27FC236}">
                  <a16:creationId xmlns:a16="http://schemas.microsoft.com/office/drawing/2014/main" id="{BA1AE6D9-8CF1-4924-9746-C7C4AE82029F}"/>
                </a:ext>
              </a:extLst>
            </p:cNvPr>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endParaRPr lang="es-ES" dirty="0"/>
            </a:p>
          </p:txBody>
        </p:sp>
        <p:sp>
          <p:nvSpPr>
            <p:cNvPr id="684" name="Freeform 134">
              <a:extLst>
                <a:ext uri="{FF2B5EF4-FFF2-40B4-BE49-F238E27FC236}">
                  <a16:creationId xmlns:a16="http://schemas.microsoft.com/office/drawing/2014/main" id="{0FE908B4-F4FA-4B7A-A240-045085D978E4}"/>
                </a:ext>
              </a:extLst>
            </p:cNvPr>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endParaRPr lang="es-ES" dirty="0"/>
            </a:p>
          </p:txBody>
        </p:sp>
        <p:sp>
          <p:nvSpPr>
            <p:cNvPr id="685" name="Freeform 135">
              <a:extLst>
                <a:ext uri="{FF2B5EF4-FFF2-40B4-BE49-F238E27FC236}">
                  <a16:creationId xmlns:a16="http://schemas.microsoft.com/office/drawing/2014/main" id="{2944D8F3-D11B-43BF-A3A2-5EA9F82DE0C7}"/>
                </a:ext>
              </a:extLst>
            </p:cNvPr>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endParaRPr lang="es-ES" dirty="0"/>
            </a:p>
          </p:txBody>
        </p:sp>
        <p:sp>
          <p:nvSpPr>
            <p:cNvPr id="686" name="Rectangle 136">
              <a:extLst>
                <a:ext uri="{FF2B5EF4-FFF2-40B4-BE49-F238E27FC236}">
                  <a16:creationId xmlns:a16="http://schemas.microsoft.com/office/drawing/2014/main" id="{B521743E-34E1-4921-A949-C60A32D5450C}"/>
                </a:ext>
              </a:extLst>
            </p:cNvPr>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s-ES" dirty="0"/>
            </a:p>
          </p:txBody>
        </p:sp>
        <p:sp>
          <p:nvSpPr>
            <p:cNvPr id="687" name="Line 137">
              <a:extLst>
                <a:ext uri="{FF2B5EF4-FFF2-40B4-BE49-F238E27FC236}">
                  <a16:creationId xmlns:a16="http://schemas.microsoft.com/office/drawing/2014/main" id="{E90951B5-6DFB-4763-A0FF-C77752459514}"/>
                </a:ext>
              </a:extLst>
            </p:cNvPr>
            <p:cNvSpPr>
              <a:spLocks noChangeShapeType="1"/>
            </p:cNvSpPr>
            <p:nvPr/>
          </p:nvSpPr>
          <p:spPr bwMode="auto">
            <a:xfrm flipV="1">
              <a:off x="3972" y="2595"/>
              <a:ext cx="5" cy="4"/>
            </a:xfrm>
            <a:prstGeom prst="line">
              <a:avLst/>
            </a:prstGeom>
            <a:grpFill/>
            <a:ln w="9525">
              <a:solidFill>
                <a:srgbClr val="FFFFFF"/>
              </a:solidFill>
              <a:round/>
              <a:headEnd/>
              <a:tailEnd/>
            </a:ln>
          </p:spPr>
          <p:txBody>
            <a:bodyPr/>
            <a:lstStyle/>
            <a:p>
              <a:endParaRPr lang="es-ES" dirty="0"/>
            </a:p>
          </p:txBody>
        </p:sp>
        <p:sp>
          <p:nvSpPr>
            <p:cNvPr id="688" name="Freeform 138">
              <a:extLst>
                <a:ext uri="{FF2B5EF4-FFF2-40B4-BE49-F238E27FC236}">
                  <a16:creationId xmlns:a16="http://schemas.microsoft.com/office/drawing/2014/main" id="{64C0ACD0-C292-4B01-BE41-03634669B54E}"/>
                </a:ext>
              </a:extLst>
            </p:cNvPr>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grpFill/>
            <a:ln w="9525" cmpd="sng">
              <a:solidFill>
                <a:srgbClr val="FFFFFF"/>
              </a:solidFill>
              <a:prstDash val="solid"/>
              <a:round/>
              <a:headEnd/>
              <a:tailEnd/>
            </a:ln>
          </p:spPr>
          <p:txBody>
            <a:bodyPr/>
            <a:lstStyle/>
            <a:p>
              <a:endParaRPr lang="es-ES" dirty="0"/>
            </a:p>
          </p:txBody>
        </p:sp>
        <p:sp>
          <p:nvSpPr>
            <p:cNvPr id="689" name="Freeform 139">
              <a:extLst>
                <a:ext uri="{FF2B5EF4-FFF2-40B4-BE49-F238E27FC236}">
                  <a16:creationId xmlns:a16="http://schemas.microsoft.com/office/drawing/2014/main" id="{F4A7A646-62F4-4F38-8FAC-A7DE46E1BF6C}"/>
                </a:ext>
              </a:extLst>
            </p:cNvPr>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endParaRPr lang="es-ES" dirty="0"/>
            </a:p>
          </p:txBody>
        </p:sp>
        <p:sp>
          <p:nvSpPr>
            <p:cNvPr id="690" name="Line 140">
              <a:extLst>
                <a:ext uri="{FF2B5EF4-FFF2-40B4-BE49-F238E27FC236}">
                  <a16:creationId xmlns:a16="http://schemas.microsoft.com/office/drawing/2014/main" id="{0F07A967-542E-4D94-A708-34D1C26163A3}"/>
                </a:ext>
              </a:extLst>
            </p:cNvPr>
            <p:cNvSpPr>
              <a:spLocks noChangeShapeType="1"/>
            </p:cNvSpPr>
            <p:nvPr/>
          </p:nvSpPr>
          <p:spPr bwMode="auto">
            <a:xfrm>
              <a:off x="3981" y="2559"/>
              <a:ext cx="2" cy="1"/>
            </a:xfrm>
            <a:prstGeom prst="line">
              <a:avLst/>
            </a:prstGeom>
            <a:grpFill/>
            <a:ln w="9525">
              <a:solidFill>
                <a:srgbClr val="FFFFFF"/>
              </a:solidFill>
              <a:round/>
              <a:headEnd/>
              <a:tailEnd/>
            </a:ln>
          </p:spPr>
          <p:txBody>
            <a:bodyPr/>
            <a:lstStyle/>
            <a:p>
              <a:endParaRPr lang="es-ES" dirty="0"/>
            </a:p>
          </p:txBody>
        </p:sp>
        <p:sp>
          <p:nvSpPr>
            <p:cNvPr id="691" name="Freeform 141">
              <a:extLst>
                <a:ext uri="{FF2B5EF4-FFF2-40B4-BE49-F238E27FC236}">
                  <a16:creationId xmlns:a16="http://schemas.microsoft.com/office/drawing/2014/main" id="{FBE947CC-DC8B-4638-A813-7BA8E499A55F}"/>
                </a:ext>
              </a:extLst>
            </p:cNvPr>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endParaRPr lang="es-ES" dirty="0"/>
            </a:p>
          </p:txBody>
        </p:sp>
        <p:sp>
          <p:nvSpPr>
            <p:cNvPr id="692" name="Freeform 142">
              <a:extLst>
                <a:ext uri="{FF2B5EF4-FFF2-40B4-BE49-F238E27FC236}">
                  <a16:creationId xmlns:a16="http://schemas.microsoft.com/office/drawing/2014/main" id="{ACF18B2C-F56E-43A2-BB0A-6DB5F6BDC2AB}"/>
                </a:ext>
              </a:extLst>
            </p:cNvPr>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endParaRPr lang="es-ES" dirty="0"/>
            </a:p>
          </p:txBody>
        </p:sp>
        <p:sp>
          <p:nvSpPr>
            <p:cNvPr id="693" name="Line 143">
              <a:extLst>
                <a:ext uri="{FF2B5EF4-FFF2-40B4-BE49-F238E27FC236}">
                  <a16:creationId xmlns:a16="http://schemas.microsoft.com/office/drawing/2014/main" id="{972D8213-2DB7-4722-BB69-EDB1670E9103}"/>
                </a:ext>
              </a:extLst>
            </p:cNvPr>
            <p:cNvSpPr>
              <a:spLocks noChangeShapeType="1"/>
            </p:cNvSpPr>
            <p:nvPr/>
          </p:nvSpPr>
          <p:spPr bwMode="auto">
            <a:xfrm flipV="1">
              <a:off x="3981" y="2599"/>
              <a:ext cx="1" cy="4"/>
            </a:xfrm>
            <a:prstGeom prst="line">
              <a:avLst/>
            </a:prstGeom>
            <a:grpFill/>
            <a:ln w="9525">
              <a:solidFill>
                <a:srgbClr val="FFFFFF"/>
              </a:solidFill>
              <a:round/>
              <a:headEnd/>
              <a:tailEnd/>
            </a:ln>
          </p:spPr>
          <p:txBody>
            <a:bodyPr/>
            <a:lstStyle/>
            <a:p>
              <a:endParaRPr lang="es-ES" dirty="0"/>
            </a:p>
          </p:txBody>
        </p:sp>
        <p:sp>
          <p:nvSpPr>
            <p:cNvPr id="694" name="Freeform 144">
              <a:extLst>
                <a:ext uri="{FF2B5EF4-FFF2-40B4-BE49-F238E27FC236}">
                  <a16:creationId xmlns:a16="http://schemas.microsoft.com/office/drawing/2014/main" id="{8F1B6DBC-2EFA-4058-A478-0FF9E640A427}"/>
                </a:ext>
              </a:extLst>
            </p:cNvPr>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endParaRPr lang="es-ES" dirty="0"/>
            </a:p>
          </p:txBody>
        </p:sp>
        <p:sp>
          <p:nvSpPr>
            <p:cNvPr id="695" name="Freeform 145">
              <a:extLst>
                <a:ext uri="{FF2B5EF4-FFF2-40B4-BE49-F238E27FC236}">
                  <a16:creationId xmlns:a16="http://schemas.microsoft.com/office/drawing/2014/main" id="{0DC24BD0-66F8-43E9-B185-D613749CDF6A}"/>
                </a:ext>
              </a:extLst>
            </p:cNvPr>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endParaRPr lang="es-ES" dirty="0"/>
            </a:p>
          </p:txBody>
        </p:sp>
        <p:sp>
          <p:nvSpPr>
            <p:cNvPr id="696" name="Freeform 146">
              <a:extLst>
                <a:ext uri="{FF2B5EF4-FFF2-40B4-BE49-F238E27FC236}">
                  <a16:creationId xmlns:a16="http://schemas.microsoft.com/office/drawing/2014/main" id="{DC2E4417-4E45-41C1-8489-959E27D8956E}"/>
                </a:ext>
              </a:extLst>
            </p:cNvPr>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endParaRPr lang="es-ES" dirty="0"/>
            </a:p>
          </p:txBody>
        </p:sp>
        <p:sp>
          <p:nvSpPr>
            <p:cNvPr id="697" name="Freeform 147">
              <a:extLst>
                <a:ext uri="{FF2B5EF4-FFF2-40B4-BE49-F238E27FC236}">
                  <a16:creationId xmlns:a16="http://schemas.microsoft.com/office/drawing/2014/main" id="{328A89D2-BBF3-4FBE-BD1B-907CB78E2936}"/>
                </a:ext>
              </a:extLst>
            </p:cNvPr>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endParaRPr lang="es-ES" dirty="0"/>
            </a:p>
          </p:txBody>
        </p:sp>
        <p:sp>
          <p:nvSpPr>
            <p:cNvPr id="698" name="Freeform 148">
              <a:extLst>
                <a:ext uri="{FF2B5EF4-FFF2-40B4-BE49-F238E27FC236}">
                  <a16:creationId xmlns:a16="http://schemas.microsoft.com/office/drawing/2014/main" id="{97A3C202-4961-4509-B232-F9133C21A549}"/>
                </a:ext>
              </a:extLst>
            </p:cNvPr>
            <p:cNvSpPr>
              <a:spLocks/>
            </p:cNvSpPr>
            <p:nvPr/>
          </p:nvSpPr>
          <p:spPr bwMode="auto">
            <a:xfrm>
              <a:off x="3950" y="2430"/>
              <a:ext cx="7" cy="6"/>
            </a:xfrm>
            <a:custGeom>
              <a:avLst/>
              <a:gdLst>
                <a:gd name="T0" fmla="*/ 5 w 20"/>
                <a:gd name="T1" fmla="*/ 6 h 18"/>
                <a:gd name="T2" fmla="*/ 7 w 20"/>
                <a:gd name="T3" fmla="*/ 0 h 18"/>
                <a:gd name="T4" fmla="*/ 0 w 20"/>
                <a:gd name="T5" fmla="*/ 0 h 18"/>
                <a:gd name="T6" fmla="*/ 5 w 20"/>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8">
                  <a:moveTo>
                    <a:pt x="13" y="18"/>
                  </a:moveTo>
                  <a:lnTo>
                    <a:pt x="20" y="0"/>
                  </a:lnTo>
                  <a:lnTo>
                    <a:pt x="0" y="0"/>
                  </a:lnTo>
                  <a:lnTo>
                    <a:pt x="13" y="18"/>
                  </a:lnTo>
                </a:path>
              </a:pathLst>
            </a:custGeom>
            <a:grpFill/>
            <a:ln w="9525" cmpd="sng">
              <a:solidFill>
                <a:srgbClr val="FFFFFF"/>
              </a:solidFill>
              <a:prstDash val="solid"/>
              <a:round/>
              <a:headEnd/>
              <a:tailEnd/>
            </a:ln>
          </p:spPr>
          <p:txBody>
            <a:bodyPr/>
            <a:lstStyle/>
            <a:p>
              <a:endParaRPr lang="es-ES" dirty="0"/>
            </a:p>
          </p:txBody>
        </p:sp>
      </p:grpSp>
      <p:grpSp>
        <p:nvGrpSpPr>
          <p:cNvPr id="699" name="Group 149">
            <a:extLst>
              <a:ext uri="{FF2B5EF4-FFF2-40B4-BE49-F238E27FC236}">
                <a16:creationId xmlns:a16="http://schemas.microsoft.com/office/drawing/2014/main" id="{C8D87808-D099-47F2-B00A-AC139E1514F1}"/>
              </a:ext>
            </a:extLst>
          </p:cNvPr>
          <p:cNvGrpSpPr>
            <a:grpSpLocks/>
          </p:cNvGrpSpPr>
          <p:nvPr>
            <p:custDataLst>
              <p:tags r:id="rId89"/>
            </p:custDataLst>
          </p:nvPr>
        </p:nvGrpSpPr>
        <p:grpSpPr bwMode="auto">
          <a:xfrm>
            <a:off x="15842288" y="7905098"/>
            <a:ext cx="394101" cy="454732"/>
            <a:chOff x="5486" y="2743"/>
            <a:chExt cx="137" cy="132"/>
          </a:xfrm>
          <a:solidFill>
            <a:schemeClr val="bg2">
              <a:lumMod val="50000"/>
              <a:alpha val="18000"/>
            </a:schemeClr>
          </a:solidFill>
        </p:grpSpPr>
        <p:sp>
          <p:nvSpPr>
            <p:cNvPr id="700" name="Freeform 150">
              <a:extLst>
                <a:ext uri="{FF2B5EF4-FFF2-40B4-BE49-F238E27FC236}">
                  <a16:creationId xmlns:a16="http://schemas.microsoft.com/office/drawing/2014/main" id="{0A3E488B-29F6-40D2-BFFA-05F8048BD3C8}"/>
                </a:ext>
              </a:extLst>
            </p:cNvPr>
            <p:cNvSpPr>
              <a:spLocks/>
            </p:cNvSpPr>
            <p:nvPr/>
          </p:nvSpPr>
          <p:spPr bwMode="auto">
            <a:xfrm>
              <a:off x="5595" y="2806"/>
              <a:ext cx="13" cy="28"/>
            </a:xfrm>
            <a:custGeom>
              <a:avLst/>
              <a:gdLst>
                <a:gd name="T0" fmla="*/ 0 w 40"/>
                <a:gd name="T1" fmla="*/ 10 h 87"/>
                <a:gd name="T2" fmla="*/ 0 w 40"/>
                <a:gd name="T3" fmla="*/ 14 h 87"/>
                <a:gd name="T4" fmla="*/ 1 w 40"/>
                <a:gd name="T5" fmla="*/ 16 h 87"/>
                <a:gd name="T6" fmla="*/ 2 w 40"/>
                <a:gd name="T7" fmla="*/ 19 h 87"/>
                <a:gd name="T8" fmla="*/ 3 w 40"/>
                <a:gd name="T9" fmla="*/ 21 h 87"/>
                <a:gd name="T10" fmla="*/ 5 w 40"/>
                <a:gd name="T11" fmla="*/ 23 h 87"/>
                <a:gd name="T12" fmla="*/ 7 w 40"/>
                <a:gd name="T13" fmla="*/ 25 h 87"/>
                <a:gd name="T14" fmla="*/ 10 w 40"/>
                <a:gd name="T15" fmla="*/ 26 h 87"/>
                <a:gd name="T16" fmla="*/ 13 w 40"/>
                <a:gd name="T17" fmla="*/ 28 h 87"/>
                <a:gd name="T18" fmla="*/ 11 w 40"/>
                <a:gd name="T19" fmla="*/ 26 h 87"/>
                <a:gd name="T20" fmla="*/ 10 w 40"/>
                <a:gd name="T21" fmla="*/ 25 h 87"/>
                <a:gd name="T22" fmla="*/ 9 w 40"/>
                <a:gd name="T23" fmla="*/ 23 h 87"/>
                <a:gd name="T24" fmla="*/ 8 w 40"/>
                <a:gd name="T25" fmla="*/ 21 h 87"/>
                <a:gd name="T26" fmla="*/ 7 w 40"/>
                <a:gd name="T27" fmla="*/ 17 h 87"/>
                <a:gd name="T28" fmla="*/ 7 w 40"/>
                <a:gd name="T29" fmla="*/ 13 h 87"/>
                <a:gd name="T30" fmla="*/ 6 w 40"/>
                <a:gd name="T31" fmla="*/ 9 h 87"/>
                <a:gd name="T32" fmla="*/ 4 w 40"/>
                <a:gd name="T33" fmla="*/ 5 h 87"/>
                <a:gd name="T34" fmla="*/ 4 w 40"/>
                <a:gd name="T35" fmla="*/ 4 h 87"/>
                <a:gd name="T36" fmla="*/ 3 w 40"/>
                <a:gd name="T37" fmla="*/ 2 h 87"/>
                <a:gd name="T38" fmla="*/ 1 w 40"/>
                <a:gd name="T39" fmla="*/ 1 h 87"/>
                <a:gd name="T40" fmla="*/ 0 w 40"/>
                <a:gd name="T41" fmla="*/ 0 h 87"/>
                <a:gd name="T42" fmla="*/ 0 w 40"/>
                <a:gd name="T43" fmla="*/ 3 h 87"/>
                <a:gd name="T44" fmla="*/ 0 w 40"/>
                <a:gd name="T45" fmla="*/ 5 h 87"/>
                <a:gd name="T46" fmla="*/ 0 w 40"/>
                <a:gd name="T47" fmla="*/ 7 h 87"/>
                <a:gd name="T48" fmla="*/ 0 w 40"/>
                <a:gd name="T49" fmla="*/ 1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9525" cmpd="sng">
              <a:solidFill>
                <a:srgbClr val="FFFFFF"/>
              </a:solidFill>
              <a:prstDash val="solid"/>
              <a:round/>
              <a:headEnd/>
              <a:tailEnd/>
            </a:ln>
          </p:spPr>
          <p:txBody>
            <a:bodyPr/>
            <a:lstStyle/>
            <a:p>
              <a:endParaRPr lang="es-ES" dirty="0"/>
            </a:p>
          </p:txBody>
        </p:sp>
        <p:sp>
          <p:nvSpPr>
            <p:cNvPr id="701" name="Freeform 151">
              <a:extLst>
                <a:ext uri="{FF2B5EF4-FFF2-40B4-BE49-F238E27FC236}">
                  <a16:creationId xmlns:a16="http://schemas.microsoft.com/office/drawing/2014/main" id="{5B677CD0-5D7E-41AB-A4F8-638B8EF8C3ED}"/>
                </a:ext>
              </a:extLst>
            </p:cNvPr>
            <p:cNvSpPr>
              <a:spLocks/>
            </p:cNvSpPr>
            <p:nvPr/>
          </p:nvSpPr>
          <p:spPr bwMode="auto">
            <a:xfrm>
              <a:off x="5603" y="2842"/>
              <a:ext cx="20" cy="12"/>
            </a:xfrm>
            <a:custGeom>
              <a:avLst/>
              <a:gdLst>
                <a:gd name="T0" fmla="*/ 0 w 61"/>
                <a:gd name="T1" fmla="*/ 10 h 37"/>
                <a:gd name="T2" fmla="*/ 6 w 61"/>
                <a:gd name="T3" fmla="*/ 10 h 37"/>
                <a:gd name="T4" fmla="*/ 11 w 61"/>
                <a:gd name="T5" fmla="*/ 11 h 37"/>
                <a:gd name="T6" fmla="*/ 16 w 61"/>
                <a:gd name="T7" fmla="*/ 12 h 37"/>
                <a:gd name="T8" fmla="*/ 20 w 61"/>
                <a:gd name="T9" fmla="*/ 12 h 37"/>
                <a:gd name="T10" fmla="*/ 18 w 61"/>
                <a:gd name="T11" fmla="*/ 9 h 37"/>
                <a:gd name="T12" fmla="*/ 16 w 61"/>
                <a:gd name="T13" fmla="*/ 7 h 37"/>
                <a:gd name="T14" fmla="*/ 14 w 61"/>
                <a:gd name="T15" fmla="*/ 6 h 37"/>
                <a:gd name="T16" fmla="*/ 11 w 61"/>
                <a:gd name="T17" fmla="*/ 4 h 37"/>
                <a:gd name="T18" fmla="*/ 9 w 61"/>
                <a:gd name="T19" fmla="*/ 3 h 37"/>
                <a:gd name="T20" fmla="*/ 6 w 61"/>
                <a:gd name="T21" fmla="*/ 2 h 37"/>
                <a:gd name="T22" fmla="*/ 3 w 61"/>
                <a:gd name="T23" fmla="*/ 1 h 37"/>
                <a:gd name="T24" fmla="*/ 0 w 61"/>
                <a:gd name="T25" fmla="*/ 0 h 37"/>
                <a:gd name="T26" fmla="*/ 0 w 61"/>
                <a:gd name="T27" fmla="*/ 1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9525" cmpd="sng">
              <a:solidFill>
                <a:srgbClr val="FFFFFF"/>
              </a:solidFill>
              <a:prstDash val="solid"/>
              <a:round/>
              <a:headEnd/>
              <a:tailEnd/>
            </a:ln>
          </p:spPr>
          <p:txBody>
            <a:bodyPr/>
            <a:lstStyle/>
            <a:p>
              <a:endParaRPr lang="es-ES" dirty="0"/>
            </a:p>
          </p:txBody>
        </p:sp>
        <p:sp>
          <p:nvSpPr>
            <p:cNvPr id="702" name="Freeform 152">
              <a:extLst>
                <a:ext uri="{FF2B5EF4-FFF2-40B4-BE49-F238E27FC236}">
                  <a16:creationId xmlns:a16="http://schemas.microsoft.com/office/drawing/2014/main" id="{F31E7482-6771-4D81-8482-2182ABC6BE14}"/>
                </a:ext>
              </a:extLst>
            </p:cNvPr>
            <p:cNvSpPr>
              <a:spLocks/>
            </p:cNvSpPr>
            <p:nvPr/>
          </p:nvSpPr>
          <p:spPr bwMode="auto">
            <a:xfrm>
              <a:off x="5568" y="2865"/>
              <a:ext cx="13" cy="10"/>
            </a:xfrm>
            <a:custGeom>
              <a:avLst/>
              <a:gdLst>
                <a:gd name="T0" fmla="*/ 13 w 40"/>
                <a:gd name="T1" fmla="*/ 10 h 30"/>
                <a:gd name="T2" fmla="*/ 11 w 40"/>
                <a:gd name="T3" fmla="*/ 9 h 30"/>
                <a:gd name="T4" fmla="*/ 8 w 40"/>
                <a:gd name="T5" fmla="*/ 8 h 30"/>
                <a:gd name="T6" fmla="*/ 7 w 40"/>
                <a:gd name="T7" fmla="*/ 7 h 30"/>
                <a:gd name="T8" fmla="*/ 5 w 40"/>
                <a:gd name="T9" fmla="*/ 6 h 30"/>
                <a:gd name="T10" fmla="*/ 4 w 40"/>
                <a:gd name="T11" fmla="*/ 5 h 30"/>
                <a:gd name="T12" fmla="*/ 2 w 40"/>
                <a:gd name="T13" fmla="*/ 4 h 30"/>
                <a:gd name="T14" fmla="*/ 1 w 40"/>
                <a:gd name="T15" fmla="*/ 2 h 30"/>
                <a:gd name="T16" fmla="*/ 0 w 40"/>
                <a:gd name="T17" fmla="*/ 0 h 30"/>
                <a:gd name="T18" fmla="*/ 3 w 40"/>
                <a:gd name="T19" fmla="*/ 1 h 30"/>
                <a:gd name="T20" fmla="*/ 5 w 40"/>
                <a:gd name="T21" fmla="*/ 2 h 30"/>
                <a:gd name="T22" fmla="*/ 7 w 40"/>
                <a:gd name="T23" fmla="*/ 3 h 30"/>
                <a:gd name="T24" fmla="*/ 9 w 40"/>
                <a:gd name="T25" fmla="*/ 5 h 30"/>
                <a:gd name="T26" fmla="*/ 11 w 40"/>
                <a:gd name="T27" fmla="*/ 6 h 30"/>
                <a:gd name="T28" fmla="*/ 12 w 40"/>
                <a:gd name="T29" fmla="*/ 8 h 30"/>
                <a:gd name="T30" fmla="*/ 13 w 40"/>
                <a:gd name="T31" fmla="*/ 9 h 30"/>
                <a:gd name="T32" fmla="*/ 13 w 40"/>
                <a:gd name="T33" fmla="*/ 1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9525" cmpd="sng">
              <a:solidFill>
                <a:srgbClr val="FFFFFF"/>
              </a:solidFill>
              <a:prstDash val="solid"/>
              <a:round/>
              <a:headEnd/>
              <a:tailEnd/>
            </a:ln>
          </p:spPr>
          <p:txBody>
            <a:bodyPr/>
            <a:lstStyle/>
            <a:p>
              <a:endParaRPr lang="es-ES" dirty="0"/>
            </a:p>
          </p:txBody>
        </p:sp>
        <p:sp>
          <p:nvSpPr>
            <p:cNvPr id="703" name="Freeform 153">
              <a:extLst>
                <a:ext uri="{FF2B5EF4-FFF2-40B4-BE49-F238E27FC236}">
                  <a16:creationId xmlns:a16="http://schemas.microsoft.com/office/drawing/2014/main" id="{74920F2C-6D59-44C1-A9C1-0008A7F60CDE}"/>
                </a:ext>
              </a:extLst>
            </p:cNvPr>
            <p:cNvSpPr>
              <a:spLocks/>
            </p:cNvSpPr>
            <p:nvPr/>
          </p:nvSpPr>
          <p:spPr bwMode="auto">
            <a:xfrm>
              <a:off x="5515" y="2789"/>
              <a:ext cx="24" cy="26"/>
            </a:xfrm>
            <a:custGeom>
              <a:avLst/>
              <a:gdLst>
                <a:gd name="T0" fmla="*/ 24 w 74"/>
                <a:gd name="T1" fmla="*/ 26 h 80"/>
                <a:gd name="T2" fmla="*/ 23 w 74"/>
                <a:gd name="T3" fmla="*/ 24 h 80"/>
                <a:gd name="T4" fmla="*/ 23 w 74"/>
                <a:gd name="T5" fmla="*/ 21 h 80"/>
                <a:gd name="T6" fmla="*/ 22 w 74"/>
                <a:gd name="T7" fmla="*/ 20 h 80"/>
                <a:gd name="T8" fmla="*/ 21 w 74"/>
                <a:gd name="T9" fmla="*/ 17 h 80"/>
                <a:gd name="T10" fmla="*/ 19 w 74"/>
                <a:gd name="T11" fmla="*/ 14 h 80"/>
                <a:gd name="T12" fmla="*/ 16 w 74"/>
                <a:gd name="T13" fmla="*/ 11 h 80"/>
                <a:gd name="T14" fmla="*/ 12 w 74"/>
                <a:gd name="T15" fmla="*/ 8 h 80"/>
                <a:gd name="T16" fmla="*/ 9 w 74"/>
                <a:gd name="T17" fmla="*/ 6 h 80"/>
                <a:gd name="T18" fmla="*/ 6 w 74"/>
                <a:gd name="T19" fmla="*/ 3 h 80"/>
                <a:gd name="T20" fmla="*/ 4 w 74"/>
                <a:gd name="T21" fmla="*/ 0 h 80"/>
                <a:gd name="T22" fmla="*/ 3 w 74"/>
                <a:gd name="T23" fmla="*/ 2 h 80"/>
                <a:gd name="T24" fmla="*/ 1 w 74"/>
                <a:gd name="T25" fmla="*/ 3 h 80"/>
                <a:gd name="T26" fmla="*/ 0 w 74"/>
                <a:gd name="T27" fmla="*/ 5 h 80"/>
                <a:gd name="T28" fmla="*/ 0 w 74"/>
                <a:gd name="T29" fmla="*/ 6 h 80"/>
                <a:gd name="T30" fmla="*/ 0 w 74"/>
                <a:gd name="T31" fmla="*/ 8 h 80"/>
                <a:gd name="T32" fmla="*/ 1 w 74"/>
                <a:gd name="T33" fmla="*/ 10 h 80"/>
                <a:gd name="T34" fmla="*/ 1 w 74"/>
                <a:gd name="T35" fmla="*/ 12 h 80"/>
                <a:gd name="T36" fmla="*/ 2 w 74"/>
                <a:gd name="T37" fmla="*/ 13 h 80"/>
                <a:gd name="T38" fmla="*/ 3 w 74"/>
                <a:gd name="T39" fmla="*/ 15 h 80"/>
                <a:gd name="T40" fmla="*/ 5 w 74"/>
                <a:gd name="T41" fmla="*/ 17 h 80"/>
                <a:gd name="T42" fmla="*/ 6 w 74"/>
                <a:gd name="T43" fmla="*/ 18 h 80"/>
                <a:gd name="T44" fmla="*/ 8 w 74"/>
                <a:gd name="T45" fmla="*/ 20 h 80"/>
                <a:gd name="T46" fmla="*/ 10 w 74"/>
                <a:gd name="T47" fmla="*/ 21 h 80"/>
                <a:gd name="T48" fmla="*/ 11 w 74"/>
                <a:gd name="T49" fmla="*/ 22 h 80"/>
                <a:gd name="T50" fmla="*/ 14 w 74"/>
                <a:gd name="T51" fmla="*/ 23 h 80"/>
                <a:gd name="T52" fmla="*/ 15 w 74"/>
                <a:gd name="T53" fmla="*/ 24 h 80"/>
                <a:gd name="T54" fmla="*/ 18 w 74"/>
                <a:gd name="T55" fmla="*/ 25 h 80"/>
                <a:gd name="T56" fmla="*/ 19 w 74"/>
                <a:gd name="T57" fmla="*/ 26 h 80"/>
                <a:gd name="T58" fmla="*/ 22 w 74"/>
                <a:gd name="T59" fmla="*/ 26 h 80"/>
                <a:gd name="T60" fmla="*/ 24 w 74"/>
                <a:gd name="T61" fmla="*/ 26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9525" cmpd="sng">
              <a:solidFill>
                <a:srgbClr val="FFFFFF"/>
              </a:solidFill>
              <a:prstDash val="solid"/>
              <a:round/>
              <a:headEnd/>
              <a:tailEnd/>
            </a:ln>
          </p:spPr>
          <p:txBody>
            <a:bodyPr/>
            <a:lstStyle/>
            <a:p>
              <a:endParaRPr lang="es-ES" dirty="0"/>
            </a:p>
          </p:txBody>
        </p:sp>
        <p:sp>
          <p:nvSpPr>
            <p:cNvPr id="704" name="Freeform 154">
              <a:extLst>
                <a:ext uri="{FF2B5EF4-FFF2-40B4-BE49-F238E27FC236}">
                  <a16:creationId xmlns:a16="http://schemas.microsoft.com/office/drawing/2014/main" id="{0F4B6629-D0CD-4D81-A8D3-DECE6D4BDE47}"/>
                </a:ext>
              </a:extLst>
            </p:cNvPr>
            <p:cNvSpPr>
              <a:spLocks/>
            </p:cNvSpPr>
            <p:nvPr/>
          </p:nvSpPr>
          <p:spPr bwMode="auto">
            <a:xfrm>
              <a:off x="5555" y="2785"/>
              <a:ext cx="26" cy="27"/>
            </a:xfrm>
            <a:custGeom>
              <a:avLst/>
              <a:gdLst>
                <a:gd name="T0" fmla="*/ 16 w 86"/>
                <a:gd name="T1" fmla="*/ 27 h 80"/>
                <a:gd name="T2" fmla="*/ 26 w 86"/>
                <a:gd name="T3" fmla="*/ 27 h 80"/>
                <a:gd name="T4" fmla="*/ 26 w 86"/>
                <a:gd name="T5" fmla="*/ 21 h 80"/>
                <a:gd name="T6" fmla="*/ 24 w 86"/>
                <a:gd name="T7" fmla="*/ 20 h 80"/>
                <a:gd name="T8" fmla="*/ 22 w 86"/>
                <a:gd name="T9" fmla="*/ 19 h 80"/>
                <a:gd name="T10" fmla="*/ 20 w 86"/>
                <a:gd name="T11" fmla="*/ 18 h 80"/>
                <a:gd name="T12" fmla="*/ 18 w 86"/>
                <a:gd name="T13" fmla="*/ 17 h 80"/>
                <a:gd name="T14" fmla="*/ 15 w 86"/>
                <a:gd name="T15" fmla="*/ 14 h 80"/>
                <a:gd name="T16" fmla="*/ 13 w 86"/>
                <a:gd name="T17" fmla="*/ 11 h 80"/>
                <a:gd name="T18" fmla="*/ 10 w 86"/>
                <a:gd name="T19" fmla="*/ 8 h 80"/>
                <a:gd name="T20" fmla="*/ 7 w 86"/>
                <a:gd name="T21" fmla="*/ 5 h 80"/>
                <a:gd name="T22" fmla="*/ 4 w 86"/>
                <a:gd name="T23" fmla="*/ 2 h 80"/>
                <a:gd name="T24" fmla="*/ 0 w 86"/>
                <a:gd name="T25" fmla="*/ 0 h 80"/>
                <a:gd name="T26" fmla="*/ 0 w 86"/>
                <a:gd name="T27" fmla="*/ 3 h 80"/>
                <a:gd name="T28" fmla="*/ 2 w 86"/>
                <a:gd name="T29" fmla="*/ 7 h 80"/>
                <a:gd name="T30" fmla="*/ 3 w 86"/>
                <a:gd name="T31" fmla="*/ 11 h 80"/>
                <a:gd name="T32" fmla="*/ 5 w 86"/>
                <a:gd name="T33" fmla="*/ 15 h 80"/>
                <a:gd name="T34" fmla="*/ 8 w 86"/>
                <a:gd name="T35" fmla="*/ 19 h 80"/>
                <a:gd name="T36" fmla="*/ 11 w 86"/>
                <a:gd name="T37" fmla="*/ 23 h 80"/>
                <a:gd name="T38" fmla="*/ 12 w 86"/>
                <a:gd name="T39" fmla="*/ 24 h 80"/>
                <a:gd name="T40" fmla="*/ 14 w 86"/>
                <a:gd name="T41" fmla="*/ 26 h 80"/>
                <a:gd name="T42" fmla="*/ 15 w 86"/>
                <a:gd name="T43" fmla="*/ 27 h 80"/>
                <a:gd name="T44" fmla="*/ 16 w 86"/>
                <a:gd name="T45" fmla="*/ 27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9525" cmpd="sng">
              <a:solidFill>
                <a:srgbClr val="FFFFFF"/>
              </a:solidFill>
              <a:prstDash val="solid"/>
              <a:round/>
              <a:headEnd/>
              <a:tailEnd/>
            </a:ln>
          </p:spPr>
          <p:txBody>
            <a:bodyPr/>
            <a:lstStyle/>
            <a:p>
              <a:endParaRPr lang="es-ES" dirty="0"/>
            </a:p>
          </p:txBody>
        </p:sp>
        <p:sp>
          <p:nvSpPr>
            <p:cNvPr id="705" name="Freeform 155">
              <a:extLst>
                <a:ext uri="{FF2B5EF4-FFF2-40B4-BE49-F238E27FC236}">
                  <a16:creationId xmlns:a16="http://schemas.microsoft.com/office/drawing/2014/main" id="{61A8CBB2-190C-4199-BDE0-4AA9AC16F27B}"/>
                </a:ext>
              </a:extLst>
            </p:cNvPr>
            <p:cNvSpPr>
              <a:spLocks/>
            </p:cNvSpPr>
            <p:nvPr/>
          </p:nvSpPr>
          <p:spPr bwMode="auto">
            <a:xfrm>
              <a:off x="5570" y="2825"/>
              <a:ext cx="25" cy="11"/>
            </a:xfrm>
            <a:custGeom>
              <a:avLst/>
              <a:gdLst>
                <a:gd name="T0" fmla="*/ 0 w 74"/>
                <a:gd name="T1" fmla="*/ 2 h 31"/>
                <a:gd name="T2" fmla="*/ 1 w 74"/>
                <a:gd name="T3" fmla="*/ 4 h 31"/>
                <a:gd name="T4" fmla="*/ 2 w 74"/>
                <a:gd name="T5" fmla="*/ 5 h 31"/>
                <a:gd name="T6" fmla="*/ 3 w 74"/>
                <a:gd name="T7" fmla="*/ 6 h 31"/>
                <a:gd name="T8" fmla="*/ 5 w 74"/>
                <a:gd name="T9" fmla="*/ 7 h 31"/>
                <a:gd name="T10" fmla="*/ 6 w 74"/>
                <a:gd name="T11" fmla="*/ 9 h 31"/>
                <a:gd name="T12" fmla="*/ 8 w 74"/>
                <a:gd name="T13" fmla="*/ 9 h 31"/>
                <a:gd name="T14" fmla="*/ 10 w 74"/>
                <a:gd name="T15" fmla="*/ 10 h 31"/>
                <a:gd name="T16" fmla="*/ 11 w 74"/>
                <a:gd name="T17" fmla="*/ 10 h 31"/>
                <a:gd name="T18" fmla="*/ 16 w 74"/>
                <a:gd name="T19" fmla="*/ 11 h 31"/>
                <a:gd name="T20" fmla="*/ 20 w 74"/>
                <a:gd name="T21" fmla="*/ 11 h 31"/>
                <a:gd name="T22" fmla="*/ 21 w 74"/>
                <a:gd name="T23" fmla="*/ 11 h 31"/>
                <a:gd name="T24" fmla="*/ 23 w 74"/>
                <a:gd name="T25" fmla="*/ 10 h 31"/>
                <a:gd name="T26" fmla="*/ 24 w 74"/>
                <a:gd name="T27" fmla="*/ 10 h 31"/>
                <a:gd name="T28" fmla="*/ 25 w 74"/>
                <a:gd name="T29" fmla="*/ 9 h 31"/>
                <a:gd name="T30" fmla="*/ 22 w 74"/>
                <a:gd name="T31" fmla="*/ 6 h 31"/>
                <a:gd name="T32" fmla="*/ 19 w 74"/>
                <a:gd name="T33" fmla="*/ 5 h 31"/>
                <a:gd name="T34" fmla="*/ 17 w 74"/>
                <a:gd name="T35" fmla="*/ 4 h 31"/>
                <a:gd name="T36" fmla="*/ 16 w 74"/>
                <a:gd name="T37" fmla="*/ 3 h 31"/>
                <a:gd name="T38" fmla="*/ 15 w 74"/>
                <a:gd name="T39" fmla="*/ 2 h 31"/>
                <a:gd name="T40" fmla="*/ 14 w 74"/>
                <a:gd name="T41" fmla="*/ 0 h 31"/>
                <a:gd name="T42" fmla="*/ 11 w 74"/>
                <a:gd name="T43" fmla="*/ 0 h 31"/>
                <a:gd name="T44" fmla="*/ 9 w 74"/>
                <a:gd name="T45" fmla="*/ 0 h 31"/>
                <a:gd name="T46" fmla="*/ 7 w 74"/>
                <a:gd name="T47" fmla="*/ 0 h 31"/>
                <a:gd name="T48" fmla="*/ 6 w 74"/>
                <a:gd name="T49" fmla="*/ 0 h 31"/>
                <a:gd name="T50" fmla="*/ 5 w 74"/>
                <a:gd name="T51" fmla="*/ 0 h 31"/>
                <a:gd name="T52" fmla="*/ 3 w 74"/>
                <a:gd name="T53" fmla="*/ 0 h 31"/>
                <a:gd name="T54" fmla="*/ 2 w 74"/>
                <a:gd name="T55" fmla="*/ 1 h 31"/>
                <a:gd name="T56" fmla="*/ 0 w 74"/>
                <a:gd name="T57" fmla="*/ 2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9525" cmpd="sng">
              <a:solidFill>
                <a:srgbClr val="FFFFFF"/>
              </a:solidFill>
              <a:prstDash val="solid"/>
              <a:round/>
              <a:headEnd/>
              <a:tailEnd/>
            </a:ln>
          </p:spPr>
          <p:txBody>
            <a:bodyPr/>
            <a:lstStyle/>
            <a:p>
              <a:endParaRPr lang="es-ES" dirty="0"/>
            </a:p>
          </p:txBody>
        </p:sp>
        <p:sp>
          <p:nvSpPr>
            <p:cNvPr id="706" name="Freeform 156">
              <a:extLst>
                <a:ext uri="{FF2B5EF4-FFF2-40B4-BE49-F238E27FC236}">
                  <a16:creationId xmlns:a16="http://schemas.microsoft.com/office/drawing/2014/main" id="{92EB13E0-8DB4-489F-A536-92C35F53DE7C}"/>
                </a:ext>
              </a:extLst>
            </p:cNvPr>
            <p:cNvSpPr>
              <a:spLocks/>
            </p:cNvSpPr>
            <p:nvPr/>
          </p:nvSpPr>
          <p:spPr bwMode="auto">
            <a:xfrm>
              <a:off x="5562" y="2819"/>
              <a:ext cx="6" cy="1"/>
            </a:xfrm>
            <a:custGeom>
              <a:avLst/>
              <a:gdLst>
                <a:gd name="T0" fmla="*/ 6 w 20"/>
                <a:gd name="T1" fmla="*/ 0 h 1"/>
                <a:gd name="T2" fmla="*/ 0 w 20"/>
                <a:gd name="T3" fmla="*/ 0 h 1"/>
                <a:gd name="T4" fmla="*/ 3 w 20"/>
                <a:gd name="T5" fmla="*/ 0 h 1"/>
                <a:gd name="T6" fmla="*/ 6 w 20"/>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
                  <a:moveTo>
                    <a:pt x="20" y="0"/>
                  </a:moveTo>
                  <a:lnTo>
                    <a:pt x="0" y="0"/>
                  </a:lnTo>
                  <a:lnTo>
                    <a:pt x="10" y="0"/>
                  </a:lnTo>
                  <a:lnTo>
                    <a:pt x="20" y="0"/>
                  </a:lnTo>
                </a:path>
              </a:pathLst>
            </a:custGeom>
            <a:grpFill/>
            <a:ln w="9525" cmpd="sng">
              <a:solidFill>
                <a:srgbClr val="FFFFFF"/>
              </a:solidFill>
              <a:prstDash val="solid"/>
              <a:round/>
              <a:headEnd/>
              <a:tailEnd/>
            </a:ln>
          </p:spPr>
          <p:txBody>
            <a:bodyPr/>
            <a:lstStyle/>
            <a:p>
              <a:endParaRPr lang="es-ES" dirty="0"/>
            </a:p>
          </p:txBody>
        </p:sp>
        <p:sp>
          <p:nvSpPr>
            <p:cNvPr id="707" name="Freeform 157">
              <a:extLst>
                <a:ext uri="{FF2B5EF4-FFF2-40B4-BE49-F238E27FC236}">
                  <a16:creationId xmlns:a16="http://schemas.microsoft.com/office/drawing/2014/main" id="{237F9FB3-8260-4423-87C8-FD3B78EE46CA}"/>
                </a:ext>
              </a:extLst>
            </p:cNvPr>
            <p:cNvSpPr>
              <a:spLocks/>
            </p:cNvSpPr>
            <p:nvPr/>
          </p:nvSpPr>
          <p:spPr bwMode="auto">
            <a:xfrm>
              <a:off x="5509" y="2769"/>
              <a:ext cx="32" cy="21"/>
            </a:xfrm>
            <a:custGeom>
              <a:avLst/>
              <a:gdLst>
                <a:gd name="T0" fmla="*/ 2 w 100"/>
                <a:gd name="T1" fmla="*/ 8 h 65"/>
                <a:gd name="T2" fmla="*/ 11 w 100"/>
                <a:gd name="T3" fmla="*/ 13 h 65"/>
                <a:gd name="T4" fmla="*/ 20 w 100"/>
                <a:gd name="T5" fmla="*/ 18 h 65"/>
                <a:gd name="T6" fmla="*/ 23 w 100"/>
                <a:gd name="T7" fmla="*/ 19 h 65"/>
                <a:gd name="T8" fmla="*/ 27 w 100"/>
                <a:gd name="T9" fmla="*/ 21 h 65"/>
                <a:gd name="T10" fmla="*/ 28 w 100"/>
                <a:gd name="T11" fmla="*/ 21 h 65"/>
                <a:gd name="T12" fmla="*/ 29 w 100"/>
                <a:gd name="T13" fmla="*/ 21 h 65"/>
                <a:gd name="T14" fmla="*/ 31 w 100"/>
                <a:gd name="T15" fmla="*/ 21 h 65"/>
                <a:gd name="T16" fmla="*/ 32 w 100"/>
                <a:gd name="T17" fmla="*/ 20 h 65"/>
                <a:gd name="T18" fmla="*/ 30 w 100"/>
                <a:gd name="T19" fmla="*/ 19 h 65"/>
                <a:gd name="T20" fmla="*/ 28 w 100"/>
                <a:gd name="T21" fmla="*/ 18 h 65"/>
                <a:gd name="T22" fmla="*/ 27 w 100"/>
                <a:gd name="T23" fmla="*/ 17 h 65"/>
                <a:gd name="T24" fmla="*/ 25 w 100"/>
                <a:gd name="T25" fmla="*/ 15 h 65"/>
                <a:gd name="T26" fmla="*/ 21 w 100"/>
                <a:gd name="T27" fmla="*/ 11 h 65"/>
                <a:gd name="T28" fmla="*/ 18 w 100"/>
                <a:gd name="T29" fmla="*/ 7 h 65"/>
                <a:gd name="T30" fmla="*/ 17 w 100"/>
                <a:gd name="T31" fmla="*/ 5 h 65"/>
                <a:gd name="T32" fmla="*/ 15 w 100"/>
                <a:gd name="T33" fmla="*/ 3 h 65"/>
                <a:gd name="T34" fmla="*/ 13 w 100"/>
                <a:gd name="T35" fmla="*/ 1 h 65"/>
                <a:gd name="T36" fmla="*/ 11 w 100"/>
                <a:gd name="T37" fmla="*/ 0 h 65"/>
                <a:gd name="T38" fmla="*/ 9 w 100"/>
                <a:gd name="T39" fmla="*/ 0 h 65"/>
                <a:gd name="T40" fmla="*/ 6 w 100"/>
                <a:gd name="T41" fmla="*/ 0 h 65"/>
                <a:gd name="T42" fmla="*/ 3 w 100"/>
                <a:gd name="T43" fmla="*/ 1 h 65"/>
                <a:gd name="T44" fmla="*/ 0 w 100"/>
                <a:gd name="T45" fmla="*/ 2 h 65"/>
                <a:gd name="T46" fmla="*/ 2 w 100"/>
                <a:gd name="T47" fmla="*/ 8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9525" cmpd="sng">
              <a:solidFill>
                <a:srgbClr val="FFFFFF"/>
              </a:solidFill>
              <a:prstDash val="solid"/>
              <a:round/>
              <a:headEnd/>
              <a:tailEnd/>
            </a:ln>
          </p:spPr>
          <p:txBody>
            <a:bodyPr/>
            <a:lstStyle/>
            <a:p>
              <a:endParaRPr lang="es-ES" dirty="0"/>
            </a:p>
          </p:txBody>
        </p:sp>
        <p:sp>
          <p:nvSpPr>
            <p:cNvPr id="708" name="Freeform 158">
              <a:extLst>
                <a:ext uri="{FF2B5EF4-FFF2-40B4-BE49-F238E27FC236}">
                  <a16:creationId xmlns:a16="http://schemas.microsoft.com/office/drawing/2014/main" id="{F9D6846D-73B1-4493-84EF-FA79E6BE1CAB}"/>
                </a:ext>
              </a:extLst>
            </p:cNvPr>
            <p:cNvSpPr>
              <a:spLocks/>
            </p:cNvSpPr>
            <p:nvPr/>
          </p:nvSpPr>
          <p:spPr bwMode="auto">
            <a:xfrm>
              <a:off x="5486" y="2743"/>
              <a:ext cx="24" cy="34"/>
            </a:xfrm>
            <a:custGeom>
              <a:avLst/>
              <a:gdLst>
                <a:gd name="T0" fmla="*/ 22 w 79"/>
                <a:gd name="T1" fmla="*/ 28 h 104"/>
                <a:gd name="T2" fmla="*/ 17 w 79"/>
                <a:gd name="T3" fmla="*/ 20 h 104"/>
                <a:gd name="T4" fmla="*/ 13 w 79"/>
                <a:gd name="T5" fmla="*/ 13 h 104"/>
                <a:gd name="T6" fmla="*/ 9 w 79"/>
                <a:gd name="T7" fmla="*/ 7 h 104"/>
                <a:gd name="T8" fmla="*/ 4 w 79"/>
                <a:gd name="T9" fmla="*/ 0 h 104"/>
                <a:gd name="T10" fmla="*/ 2 w 79"/>
                <a:gd name="T11" fmla="*/ 5 h 104"/>
                <a:gd name="T12" fmla="*/ 1 w 79"/>
                <a:gd name="T13" fmla="*/ 11 h 104"/>
                <a:gd name="T14" fmla="*/ 0 w 79"/>
                <a:gd name="T15" fmla="*/ 13 h 104"/>
                <a:gd name="T16" fmla="*/ 0 w 79"/>
                <a:gd name="T17" fmla="*/ 16 h 104"/>
                <a:gd name="T18" fmla="*/ 0 w 79"/>
                <a:gd name="T19" fmla="*/ 18 h 104"/>
                <a:gd name="T20" fmla="*/ 0 w 79"/>
                <a:gd name="T21" fmla="*/ 20 h 104"/>
                <a:gd name="T22" fmla="*/ 0 w 79"/>
                <a:gd name="T23" fmla="*/ 22 h 104"/>
                <a:gd name="T24" fmla="*/ 1 w 79"/>
                <a:gd name="T25" fmla="*/ 24 h 104"/>
                <a:gd name="T26" fmla="*/ 2 w 79"/>
                <a:gd name="T27" fmla="*/ 26 h 104"/>
                <a:gd name="T28" fmla="*/ 3 w 79"/>
                <a:gd name="T29" fmla="*/ 27 h 104"/>
                <a:gd name="T30" fmla="*/ 4 w 79"/>
                <a:gd name="T31" fmla="*/ 29 h 104"/>
                <a:gd name="T32" fmla="*/ 6 w 79"/>
                <a:gd name="T33" fmla="*/ 29 h 104"/>
                <a:gd name="T34" fmla="*/ 8 w 79"/>
                <a:gd name="T35" fmla="*/ 30 h 104"/>
                <a:gd name="T36" fmla="*/ 10 w 79"/>
                <a:gd name="T37" fmla="*/ 30 h 104"/>
                <a:gd name="T38" fmla="*/ 13 w 79"/>
                <a:gd name="T39" fmla="*/ 30 h 104"/>
                <a:gd name="T40" fmla="*/ 16 w 79"/>
                <a:gd name="T41" fmla="*/ 31 h 104"/>
                <a:gd name="T42" fmla="*/ 20 w 79"/>
                <a:gd name="T43" fmla="*/ 33 h 104"/>
                <a:gd name="T44" fmla="*/ 24 w 79"/>
                <a:gd name="T45" fmla="*/ 34 h 104"/>
                <a:gd name="T46" fmla="*/ 22 w 79"/>
                <a:gd name="T47" fmla="*/ 28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9525" cmpd="sng">
              <a:solidFill>
                <a:srgbClr val="FFFFFF"/>
              </a:solidFill>
              <a:prstDash val="solid"/>
              <a:round/>
              <a:headEnd/>
              <a:tailEnd/>
            </a:ln>
          </p:spPr>
          <p:txBody>
            <a:bodyPr/>
            <a:lstStyle/>
            <a:p>
              <a:endParaRPr lang="es-ES" dirty="0"/>
            </a:p>
          </p:txBody>
        </p:sp>
      </p:grpSp>
      <p:sp>
        <p:nvSpPr>
          <p:cNvPr id="709" name="Freeform 159">
            <a:extLst>
              <a:ext uri="{FF2B5EF4-FFF2-40B4-BE49-F238E27FC236}">
                <a16:creationId xmlns:a16="http://schemas.microsoft.com/office/drawing/2014/main" id="{E1F6303D-0F7A-454E-8E97-02F8FB4A0C7C}"/>
              </a:ext>
            </a:extLst>
          </p:cNvPr>
          <p:cNvSpPr>
            <a:spLocks/>
          </p:cNvSpPr>
          <p:nvPr>
            <p:custDataLst>
              <p:tags r:id="rId90"/>
            </p:custDataLst>
          </p:nvPr>
        </p:nvSpPr>
        <p:spPr bwMode="auto">
          <a:xfrm>
            <a:off x="8088288" y="7349317"/>
            <a:ext cx="23580" cy="117892"/>
          </a:xfrm>
          <a:custGeom>
            <a:avLst/>
            <a:gdLst>
              <a:gd name="T0" fmla="*/ 11113 w 27"/>
              <a:gd name="T1" fmla="*/ 0 h 19"/>
              <a:gd name="T2" fmla="*/ 11113 w 27"/>
              <a:gd name="T3" fmla="*/ 35092 h 19"/>
              <a:gd name="T4" fmla="*/ 11113 w 27"/>
              <a:gd name="T5" fmla="*/ 55562 h 19"/>
              <a:gd name="T6" fmla="*/ 3704 w 27"/>
              <a:gd name="T7" fmla="*/ 55562 h 19"/>
              <a:gd name="T8" fmla="*/ 0 w 27"/>
              <a:gd name="T9" fmla="*/ 55562 h 19"/>
              <a:gd name="T10" fmla="*/ 3704 w 27"/>
              <a:gd name="T11" fmla="*/ 35092 h 19"/>
              <a:gd name="T12" fmla="*/ 11113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10" name="Freeform 160">
            <a:extLst>
              <a:ext uri="{FF2B5EF4-FFF2-40B4-BE49-F238E27FC236}">
                <a16:creationId xmlns:a16="http://schemas.microsoft.com/office/drawing/2014/main" id="{6228F449-5339-48B6-B15F-27E4FCCA7053}"/>
              </a:ext>
            </a:extLst>
          </p:cNvPr>
          <p:cNvSpPr>
            <a:spLocks/>
          </p:cNvSpPr>
          <p:nvPr>
            <p:custDataLst>
              <p:tags r:id="rId91"/>
            </p:custDataLst>
          </p:nvPr>
        </p:nvSpPr>
        <p:spPr bwMode="auto">
          <a:xfrm>
            <a:off x="7926606" y="7645734"/>
            <a:ext cx="30316" cy="121262"/>
          </a:xfrm>
          <a:custGeom>
            <a:avLst/>
            <a:gdLst>
              <a:gd name="T0" fmla="*/ 0 w 39"/>
              <a:gd name="T1" fmla="*/ 0 h 35"/>
              <a:gd name="T2" fmla="*/ 14288 w 39"/>
              <a:gd name="T3" fmla="*/ 0 h 35"/>
              <a:gd name="T4" fmla="*/ 13189 w 39"/>
              <a:gd name="T5" fmla="*/ 14696 h 35"/>
              <a:gd name="T6" fmla="*/ 12090 w 39"/>
              <a:gd name="T7" fmla="*/ 31024 h 35"/>
              <a:gd name="T8" fmla="*/ 9892 w 39"/>
              <a:gd name="T9" fmla="*/ 45720 h 35"/>
              <a:gd name="T10" fmla="*/ 8060 w 39"/>
              <a:gd name="T11" fmla="*/ 55517 h 35"/>
              <a:gd name="T12" fmla="*/ 6961 w 39"/>
              <a:gd name="T13" fmla="*/ 57150 h 35"/>
              <a:gd name="T14" fmla="*/ 5862 w 39"/>
              <a:gd name="T15" fmla="*/ 57150 h 35"/>
              <a:gd name="T16" fmla="*/ 4763 w 39"/>
              <a:gd name="T17" fmla="*/ 55517 h 35"/>
              <a:gd name="T18" fmla="*/ 4030 w 39"/>
              <a:gd name="T19" fmla="*/ 50619 h 35"/>
              <a:gd name="T20" fmla="*/ 2565 w 39"/>
              <a:gd name="T21" fmla="*/ 42454 h 35"/>
              <a:gd name="T22" fmla="*/ 1832 w 39"/>
              <a:gd name="T23" fmla="*/ 32657 h 35"/>
              <a:gd name="T24" fmla="*/ 733 w 39"/>
              <a:gd name="T25" fmla="*/ 1796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11" name="Freeform 161">
            <a:extLst>
              <a:ext uri="{FF2B5EF4-FFF2-40B4-BE49-F238E27FC236}">
                <a16:creationId xmlns:a16="http://schemas.microsoft.com/office/drawing/2014/main" id="{E67D381F-054C-4255-9F68-CC3585CB85D0}"/>
              </a:ext>
            </a:extLst>
          </p:cNvPr>
          <p:cNvSpPr>
            <a:spLocks/>
          </p:cNvSpPr>
          <p:nvPr>
            <p:custDataLst>
              <p:tags r:id="rId92"/>
            </p:custDataLst>
          </p:nvPr>
        </p:nvSpPr>
        <p:spPr bwMode="auto">
          <a:xfrm>
            <a:off x="11742977" y="4095466"/>
            <a:ext cx="1546083" cy="703989"/>
          </a:xfrm>
          <a:custGeom>
            <a:avLst/>
            <a:gdLst>
              <a:gd name="T0" fmla="*/ 13813 w 1688"/>
              <a:gd name="T1" fmla="*/ 113756 h 630"/>
              <a:gd name="T2" fmla="*/ 37124 w 1688"/>
              <a:gd name="T3" fmla="*/ 131135 h 630"/>
              <a:gd name="T4" fmla="*/ 66909 w 1688"/>
              <a:gd name="T5" fmla="*/ 139035 h 630"/>
              <a:gd name="T6" fmla="*/ 82449 w 1688"/>
              <a:gd name="T7" fmla="*/ 147988 h 630"/>
              <a:gd name="T8" fmla="*/ 102738 w 1688"/>
              <a:gd name="T9" fmla="*/ 174320 h 630"/>
              <a:gd name="T10" fmla="*/ 109213 w 1688"/>
              <a:gd name="T11" fmla="*/ 183799 h 630"/>
              <a:gd name="T12" fmla="*/ 109645 w 1688"/>
              <a:gd name="T13" fmla="*/ 203285 h 630"/>
              <a:gd name="T14" fmla="*/ 117846 w 1688"/>
              <a:gd name="T15" fmla="*/ 214872 h 630"/>
              <a:gd name="T16" fmla="*/ 147200 w 1688"/>
              <a:gd name="T17" fmla="*/ 219085 h 630"/>
              <a:gd name="T18" fmla="*/ 199864 w 1688"/>
              <a:gd name="T19" fmla="*/ 238044 h 630"/>
              <a:gd name="T20" fmla="*/ 235693 w 1688"/>
              <a:gd name="T21" fmla="*/ 246997 h 630"/>
              <a:gd name="T22" fmla="*/ 248211 w 1688"/>
              <a:gd name="T23" fmla="*/ 268589 h 630"/>
              <a:gd name="T24" fmla="*/ 268500 w 1688"/>
              <a:gd name="T25" fmla="*/ 285442 h 630"/>
              <a:gd name="T26" fmla="*/ 289220 w 1688"/>
              <a:gd name="T27" fmla="*/ 292289 h 630"/>
              <a:gd name="T28" fmla="*/ 395843 w 1688"/>
              <a:gd name="T29" fmla="*/ 303348 h 630"/>
              <a:gd name="T30" fmla="*/ 447644 w 1688"/>
              <a:gd name="T31" fmla="*/ 323361 h 630"/>
              <a:gd name="T32" fmla="*/ 482177 w 1688"/>
              <a:gd name="T33" fmla="*/ 331787 h 630"/>
              <a:gd name="T34" fmla="*/ 499444 w 1688"/>
              <a:gd name="T35" fmla="*/ 322834 h 630"/>
              <a:gd name="T36" fmla="*/ 580167 w 1688"/>
              <a:gd name="T37" fmla="*/ 297028 h 630"/>
              <a:gd name="T38" fmla="*/ 602182 w 1688"/>
              <a:gd name="T39" fmla="*/ 268589 h 630"/>
              <a:gd name="T40" fmla="*/ 605636 w 1688"/>
              <a:gd name="T41" fmla="*/ 254370 h 630"/>
              <a:gd name="T42" fmla="*/ 598297 w 1688"/>
              <a:gd name="T43" fmla="*/ 239624 h 630"/>
              <a:gd name="T44" fmla="*/ 591390 w 1688"/>
              <a:gd name="T45" fmla="*/ 218558 h 630"/>
              <a:gd name="T46" fmla="*/ 647076 w 1688"/>
              <a:gd name="T47" fmla="*/ 207499 h 630"/>
              <a:gd name="T48" fmla="*/ 688085 w 1688"/>
              <a:gd name="T49" fmla="*/ 180640 h 630"/>
              <a:gd name="T50" fmla="*/ 712690 w 1688"/>
              <a:gd name="T51" fmla="*/ 171160 h 630"/>
              <a:gd name="T52" fmla="*/ 728662 w 1688"/>
              <a:gd name="T53" fmla="*/ 156414 h 630"/>
              <a:gd name="T54" fmla="*/ 714849 w 1688"/>
              <a:gd name="T55" fmla="*/ 146934 h 630"/>
              <a:gd name="T56" fmla="*/ 698877 w 1688"/>
              <a:gd name="T57" fmla="*/ 132715 h 630"/>
              <a:gd name="T58" fmla="*/ 683336 w 1688"/>
              <a:gd name="T59" fmla="*/ 130608 h 630"/>
              <a:gd name="T60" fmla="*/ 670386 w 1688"/>
              <a:gd name="T61" fmla="*/ 135875 h 630"/>
              <a:gd name="T62" fmla="*/ 646213 w 1688"/>
              <a:gd name="T63" fmla="*/ 134821 h 630"/>
              <a:gd name="T64" fmla="*/ 628946 w 1688"/>
              <a:gd name="T65" fmla="*/ 123762 h 630"/>
              <a:gd name="T66" fmla="*/ 619017 w 1688"/>
              <a:gd name="T67" fmla="*/ 98483 h 630"/>
              <a:gd name="T68" fmla="*/ 590095 w 1688"/>
              <a:gd name="T69" fmla="*/ 65304 h 630"/>
              <a:gd name="T70" fmla="*/ 555130 w 1688"/>
              <a:gd name="T71" fmla="*/ 63198 h 630"/>
              <a:gd name="T72" fmla="*/ 543906 w 1688"/>
              <a:gd name="T73" fmla="*/ 77417 h 630"/>
              <a:gd name="T74" fmla="*/ 533546 w 1688"/>
              <a:gd name="T75" fmla="*/ 86897 h 630"/>
              <a:gd name="T76" fmla="*/ 504193 w 1688"/>
              <a:gd name="T77" fmla="*/ 87950 h 630"/>
              <a:gd name="T78" fmla="*/ 450665 w 1688"/>
              <a:gd name="T79" fmla="*/ 87950 h 630"/>
              <a:gd name="T80" fmla="*/ 425628 w 1688"/>
              <a:gd name="T81" fmla="*/ 73730 h 630"/>
              <a:gd name="T82" fmla="*/ 398001 w 1688"/>
              <a:gd name="T83" fmla="*/ 56878 h 630"/>
              <a:gd name="T84" fmla="*/ 367784 w 1688"/>
              <a:gd name="T85" fmla="*/ 52665 h 630"/>
              <a:gd name="T86" fmla="*/ 345769 w 1688"/>
              <a:gd name="T87" fmla="*/ 60038 h 630"/>
              <a:gd name="T88" fmla="*/ 319437 w 1688"/>
              <a:gd name="T89" fmla="*/ 61091 h 630"/>
              <a:gd name="T90" fmla="*/ 298717 w 1688"/>
              <a:gd name="T91" fmla="*/ 53191 h 630"/>
              <a:gd name="T92" fmla="*/ 285767 w 1688"/>
              <a:gd name="T93" fmla="*/ 35812 h 630"/>
              <a:gd name="T94" fmla="*/ 192526 w 1688"/>
              <a:gd name="T95" fmla="*/ 3687 h 630"/>
              <a:gd name="T96" fmla="*/ 192526 w 1688"/>
              <a:gd name="T97" fmla="*/ 23172 h 630"/>
              <a:gd name="T98" fmla="*/ 203317 w 1688"/>
              <a:gd name="T99" fmla="*/ 41605 h 630"/>
              <a:gd name="T100" fmla="*/ 211519 w 1688"/>
              <a:gd name="T101" fmla="*/ 55824 h 630"/>
              <a:gd name="T102" fmla="*/ 132523 w 1688"/>
              <a:gd name="T103" fmla="*/ 64251 h 630"/>
              <a:gd name="T104" fmla="*/ 126912 w 1688"/>
              <a:gd name="T105" fmla="*/ 45818 h 630"/>
              <a:gd name="T106" fmla="*/ 97126 w 1688"/>
              <a:gd name="T107" fmla="*/ 51085 h 630"/>
              <a:gd name="T108" fmla="*/ 79859 w 1688"/>
              <a:gd name="T109" fmla="*/ 46345 h 630"/>
              <a:gd name="T110" fmla="*/ 59571 w 1688"/>
              <a:gd name="T111" fmla="*/ 51085 h 630"/>
              <a:gd name="T112" fmla="*/ 29354 w 1688"/>
              <a:gd name="T113" fmla="*/ 75310 h 630"/>
              <a:gd name="T114" fmla="*/ 13382 w 1688"/>
              <a:gd name="T115" fmla="*/ 79524 h 630"/>
              <a:gd name="T116" fmla="*/ 1727 w 1688"/>
              <a:gd name="T117" fmla="*/ 89003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12" name="Freeform 162">
            <a:extLst>
              <a:ext uri="{FF2B5EF4-FFF2-40B4-BE49-F238E27FC236}">
                <a16:creationId xmlns:a16="http://schemas.microsoft.com/office/drawing/2014/main" id="{DABF2A9A-D7FB-43CC-813D-AA5BDA8D9EE1}"/>
              </a:ext>
            </a:extLst>
          </p:cNvPr>
          <p:cNvSpPr>
            <a:spLocks/>
          </p:cNvSpPr>
          <p:nvPr>
            <p:custDataLst>
              <p:tags r:id="rId93"/>
            </p:custDataLst>
          </p:nvPr>
        </p:nvSpPr>
        <p:spPr bwMode="auto">
          <a:xfrm>
            <a:off x="3948556" y="8268882"/>
            <a:ext cx="697253" cy="882514"/>
          </a:xfrm>
          <a:custGeom>
            <a:avLst/>
            <a:gdLst>
              <a:gd name="T0" fmla="*/ 11272 w 758"/>
              <a:gd name="T1" fmla="*/ 41854 h 795"/>
              <a:gd name="T2" fmla="*/ 21243 w 758"/>
              <a:gd name="T3" fmla="*/ 46039 h 795"/>
              <a:gd name="T4" fmla="*/ 31214 w 758"/>
              <a:gd name="T5" fmla="*/ 56503 h 795"/>
              <a:gd name="T6" fmla="*/ 38150 w 758"/>
              <a:gd name="T7" fmla="*/ 70106 h 795"/>
              <a:gd name="T8" fmla="*/ 40318 w 758"/>
              <a:gd name="T9" fmla="*/ 88417 h 795"/>
              <a:gd name="T10" fmla="*/ 36416 w 758"/>
              <a:gd name="T11" fmla="*/ 97311 h 795"/>
              <a:gd name="T12" fmla="*/ 35116 w 758"/>
              <a:gd name="T13" fmla="*/ 107251 h 795"/>
              <a:gd name="T14" fmla="*/ 38150 w 758"/>
              <a:gd name="T15" fmla="*/ 125562 h 795"/>
              <a:gd name="T16" fmla="*/ 41185 w 758"/>
              <a:gd name="T17" fmla="*/ 145443 h 795"/>
              <a:gd name="T18" fmla="*/ 35983 w 758"/>
              <a:gd name="T19" fmla="*/ 161138 h 795"/>
              <a:gd name="T20" fmla="*/ 35116 w 758"/>
              <a:gd name="T21" fmla="*/ 184158 h 795"/>
              <a:gd name="T22" fmla="*/ 40318 w 758"/>
              <a:gd name="T23" fmla="*/ 204039 h 795"/>
              <a:gd name="T24" fmla="*/ 42919 w 758"/>
              <a:gd name="T25" fmla="*/ 217118 h 795"/>
              <a:gd name="T26" fmla="*/ 33815 w 758"/>
              <a:gd name="T27" fmla="*/ 239091 h 795"/>
              <a:gd name="T28" fmla="*/ 48988 w 758"/>
              <a:gd name="T29" fmla="*/ 276760 h 795"/>
              <a:gd name="T30" fmla="*/ 59826 w 758"/>
              <a:gd name="T31" fmla="*/ 301873 h 795"/>
              <a:gd name="T32" fmla="*/ 63295 w 758"/>
              <a:gd name="T33" fmla="*/ 325416 h 795"/>
              <a:gd name="T34" fmla="*/ 65896 w 758"/>
              <a:gd name="T35" fmla="*/ 344773 h 795"/>
              <a:gd name="T36" fmla="*/ 81069 w 758"/>
              <a:gd name="T37" fmla="*/ 386104 h 795"/>
              <a:gd name="T38" fmla="*/ 92774 w 758"/>
              <a:gd name="T39" fmla="*/ 409124 h 795"/>
              <a:gd name="T40" fmla="*/ 99711 w 758"/>
              <a:gd name="T41" fmla="*/ 415402 h 795"/>
              <a:gd name="T42" fmla="*/ 108815 w 758"/>
              <a:gd name="T43" fmla="*/ 413309 h 795"/>
              <a:gd name="T44" fmla="*/ 125289 w 758"/>
              <a:gd name="T45" fmla="*/ 398137 h 795"/>
              <a:gd name="T46" fmla="*/ 140462 w 758"/>
              <a:gd name="T47" fmla="*/ 390289 h 795"/>
              <a:gd name="T48" fmla="*/ 153901 w 758"/>
              <a:gd name="T49" fmla="*/ 391336 h 795"/>
              <a:gd name="T50" fmla="*/ 168208 w 758"/>
              <a:gd name="T51" fmla="*/ 402846 h 795"/>
              <a:gd name="T52" fmla="*/ 181213 w 758"/>
              <a:gd name="T53" fmla="*/ 408077 h 795"/>
              <a:gd name="T54" fmla="*/ 189450 w 758"/>
              <a:gd name="T55" fmla="*/ 396567 h 795"/>
              <a:gd name="T56" fmla="*/ 207225 w 758"/>
              <a:gd name="T57" fmla="*/ 389766 h 795"/>
              <a:gd name="T58" fmla="*/ 227601 w 758"/>
              <a:gd name="T59" fmla="*/ 325416 h 795"/>
              <a:gd name="T60" fmla="*/ 233670 w 758"/>
              <a:gd name="T61" fmla="*/ 313906 h 795"/>
              <a:gd name="T62" fmla="*/ 249277 w 758"/>
              <a:gd name="T63" fmla="*/ 305535 h 795"/>
              <a:gd name="T64" fmla="*/ 288294 w 758"/>
              <a:gd name="T65" fmla="*/ 299780 h 795"/>
              <a:gd name="T66" fmla="*/ 297832 w 758"/>
              <a:gd name="T67" fmla="*/ 302919 h 795"/>
              <a:gd name="T68" fmla="*/ 305202 w 758"/>
              <a:gd name="T69" fmla="*/ 306058 h 795"/>
              <a:gd name="T70" fmla="*/ 322543 w 758"/>
              <a:gd name="T71" fmla="*/ 299780 h 795"/>
              <a:gd name="T72" fmla="*/ 328178 w 758"/>
              <a:gd name="T73" fmla="*/ 283038 h 795"/>
              <a:gd name="T74" fmla="*/ 326011 w 758"/>
              <a:gd name="T75" fmla="*/ 261065 h 795"/>
              <a:gd name="T76" fmla="*/ 314739 w 758"/>
              <a:gd name="T77" fmla="*/ 241707 h 795"/>
              <a:gd name="T78" fmla="*/ 307803 w 758"/>
              <a:gd name="T79" fmla="*/ 227582 h 795"/>
              <a:gd name="T80" fmla="*/ 290895 w 758"/>
              <a:gd name="T81" fmla="*/ 209794 h 795"/>
              <a:gd name="T82" fmla="*/ 274421 w 758"/>
              <a:gd name="T83" fmla="*/ 208747 h 795"/>
              <a:gd name="T84" fmla="*/ 262283 w 758"/>
              <a:gd name="T85" fmla="*/ 197761 h 795"/>
              <a:gd name="T86" fmla="*/ 255780 w 758"/>
              <a:gd name="T87" fmla="*/ 182588 h 795"/>
              <a:gd name="T88" fmla="*/ 253612 w 758"/>
              <a:gd name="T89" fmla="*/ 162708 h 795"/>
              <a:gd name="T90" fmla="*/ 252745 w 758"/>
              <a:gd name="T91" fmla="*/ 140734 h 795"/>
              <a:gd name="T92" fmla="*/ 242774 w 758"/>
              <a:gd name="T93" fmla="*/ 126609 h 795"/>
              <a:gd name="T94" fmla="*/ 218063 w 758"/>
              <a:gd name="T95" fmla="*/ 107251 h 795"/>
              <a:gd name="T96" fmla="*/ 190751 w 758"/>
              <a:gd name="T97" fmla="*/ 93125 h 795"/>
              <a:gd name="T98" fmla="*/ 169942 w 758"/>
              <a:gd name="T99" fmla="*/ 87370 h 795"/>
              <a:gd name="T100" fmla="*/ 155635 w 758"/>
              <a:gd name="T101" fmla="*/ 84231 h 795"/>
              <a:gd name="T102" fmla="*/ 143063 w 758"/>
              <a:gd name="T103" fmla="*/ 75861 h 795"/>
              <a:gd name="T104" fmla="*/ 133092 w 758"/>
              <a:gd name="T105" fmla="*/ 63827 h 795"/>
              <a:gd name="T106" fmla="*/ 126589 w 758"/>
              <a:gd name="T107" fmla="*/ 48132 h 795"/>
              <a:gd name="T108" fmla="*/ 120953 w 758"/>
              <a:gd name="T109" fmla="*/ 9940 h 795"/>
              <a:gd name="T110" fmla="*/ 113150 w 758"/>
              <a:gd name="T111" fmla="*/ 1570 h 795"/>
              <a:gd name="T112" fmla="*/ 98410 w 758"/>
              <a:gd name="T113" fmla="*/ 1570 h 795"/>
              <a:gd name="T114" fmla="*/ 75000 w 758"/>
              <a:gd name="T115" fmla="*/ 15695 h 795"/>
              <a:gd name="T116" fmla="*/ 51589 w 758"/>
              <a:gd name="T117" fmla="*/ 34530 h 795"/>
              <a:gd name="T118" fmla="*/ 0 w 758"/>
              <a:gd name="T119" fmla="*/ 41854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713" name="Freeform 163">
            <a:extLst>
              <a:ext uri="{FF2B5EF4-FFF2-40B4-BE49-F238E27FC236}">
                <a16:creationId xmlns:a16="http://schemas.microsoft.com/office/drawing/2014/main" id="{0F181305-E002-46A0-AFE0-0EC31D96AEA0}"/>
              </a:ext>
            </a:extLst>
          </p:cNvPr>
          <p:cNvSpPr>
            <a:spLocks/>
          </p:cNvSpPr>
          <p:nvPr>
            <p:custDataLst>
              <p:tags r:id="rId94"/>
            </p:custDataLst>
          </p:nvPr>
        </p:nvSpPr>
        <p:spPr bwMode="auto">
          <a:xfrm>
            <a:off x="4403286" y="7059636"/>
            <a:ext cx="252629" cy="458099"/>
          </a:xfrm>
          <a:custGeom>
            <a:avLst/>
            <a:gdLst>
              <a:gd name="T0" fmla="*/ 98129 w 273"/>
              <a:gd name="T1" fmla="*/ 73010 h 414"/>
              <a:gd name="T2" fmla="*/ 92895 w 273"/>
              <a:gd name="T3" fmla="*/ 69359 h 414"/>
              <a:gd name="T4" fmla="*/ 87662 w 273"/>
              <a:gd name="T5" fmla="*/ 63101 h 414"/>
              <a:gd name="T6" fmla="*/ 82864 w 273"/>
              <a:gd name="T7" fmla="*/ 54757 h 414"/>
              <a:gd name="T8" fmla="*/ 79811 w 273"/>
              <a:gd name="T9" fmla="*/ 50064 h 414"/>
              <a:gd name="T10" fmla="*/ 76759 w 273"/>
              <a:gd name="T11" fmla="*/ 48499 h 414"/>
              <a:gd name="T12" fmla="*/ 72833 w 273"/>
              <a:gd name="T13" fmla="*/ 49021 h 414"/>
              <a:gd name="T14" fmla="*/ 70217 w 273"/>
              <a:gd name="T15" fmla="*/ 52671 h 414"/>
              <a:gd name="T16" fmla="*/ 66728 w 273"/>
              <a:gd name="T17" fmla="*/ 44849 h 414"/>
              <a:gd name="T18" fmla="*/ 61930 w 273"/>
              <a:gd name="T19" fmla="*/ 28161 h 414"/>
              <a:gd name="T20" fmla="*/ 57569 w 273"/>
              <a:gd name="T21" fmla="*/ 18774 h 414"/>
              <a:gd name="T22" fmla="*/ 53644 w 273"/>
              <a:gd name="T23" fmla="*/ 13037 h 414"/>
              <a:gd name="T24" fmla="*/ 48410 w 273"/>
              <a:gd name="T25" fmla="*/ 7301 h 414"/>
              <a:gd name="T26" fmla="*/ 41868 w 273"/>
              <a:gd name="T27" fmla="*/ 2607 h 414"/>
              <a:gd name="T28" fmla="*/ 34890 w 273"/>
              <a:gd name="T29" fmla="*/ 3650 h 414"/>
              <a:gd name="T30" fmla="*/ 30093 w 273"/>
              <a:gd name="T31" fmla="*/ 9908 h 414"/>
              <a:gd name="T32" fmla="*/ 27476 w 273"/>
              <a:gd name="T33" fmla="*/ 13037 h 414"/>
              <a:gd name="T34" fmla="*/ 24859 w 273"/>
              <a:gd name="T35" fmla="*/ 16688 h 414"/>
              <a:gd name="T36" fmla="*/ 24423 w 273"/>
              <a:gd name="T37" fmla="*/ 21903 h 414"/>
              <a:gd name="T38" fmla="*/ 25295 w 273"/>
              <a:gd name="T39" fmla="*/ 30768 h 414"/>
              <a:gd name="T40" fmla="*/ 22679 w 273"/>
              <a:gd name="T41" fmla="*/ 40677 h 414"/>
              <a:gd name="T42" fmla="*/ 14392 w 273"/>
              <a:gd name="T43" fmla="*/ 46935 h 414"/>
              <a:gd name="T44" fmla="*/ 7414 w 273"/>
              <a:gd name="T45" fmla="*/ 54236 h 414"/>
              <a:gd name="T46" fmla="*/ 1745 w 273"/>
              <a:gd name="T47" fmla="*/ 61537 h 414"/>
              <a:gd name="T48" fmla="*/ 17445 w 273"/>
              <a:gd name="T49" fmla="*/ 103257 h 414"/>
              <a:gd name="T50" fmla="*/ 31837 w 273"/>
              <a:gd name="T51" fmla="*/ 106907 h 414"/>
              <a:gd name="T52" fmla="*/ 36635 w 273"/>
              <a:gd name="T53" fmla="*/ 109514 h 414"/>
              <a:gd name="T54" fmla="*/ 40560 w 273"/>
              <a:gd name="T55" fmla="*/ 113686 h 414"/>
              <a:gd name="T56" fmla="*/ 43177 w 273"/>
              <a:gd name="T57" fmla="*/ 117858 h 414"/>
              <a:gd name="T58" fmla="*/ 44921 w 273"/>
              <a:gd name="T59" fmla="*/ 123595 h 414"/>
              <a:gd name="T60" fmla="*/ 46230 w 273"/>
              <a:gd name="T61" fmla="*/ 138197 h 414"/>
              <a:gd name="T62" fmla="*/ 44921 w 273"/>
              <a:gd name="T63" fmla="*/ 145498 h 414"/>
              <a:gd name="T64" fmla="*/ 41868 w 273"/>
              <a:gd name="T65" fmla="*/ 152799 h 414"/>
              <a:gd name="T66" fmla="*/ 38815 w 273"/>
              <a:gd name="T67" fmla="*/ 160100 h 414"/>
              <a:gd name="T68" fmla="*/ 37507 w 273"/>
              <a:gd name="T69" fmla="*/ 167401 h 414"/>
              <a:gd name="T70" fmla="*/ 39688 w 273"/>
              <a:gd name="T71" fmla="*/ 178874 h 414"/>
              <a:gd name="T72" fmla="*/ 46666 w 273"/>
              <a:gd name="T73" fmla="*/ 195040 h 414"/>
              <a:gd name="T74" fmla="*/ 51027 w 273"/>
              <a:gd name="T75" fmla="*/ 202863 h 414"/>
              <a:gd name="T76" fmla="*/ 56261 w 273"/>
              <a:gd name="T77" fmla="*/ 209121 h 414"/>
              <a:gd name="T78" fmla="*/ 61494 w 273"/>
              <a:gd name="T79" fmla="*/ 214336 h 414"/>
              <a:gd name="T80" fmla="*/ 66728 w 273"/>
              <a:gd name="T81" fmla="*/ 215900 h 414"/>
              <a:gd name="T82" fmla="*/ 93768 w 273"/>
              <a:gd name="T83" fmla="*/ 207556 h 414"/>
              <a:gd name="T84" fmla="*/ 111213 w 273"/>
              <a:gd name="T85" fmla="*/ 200777 h 414"/>
              <a:gd name="T86" fmla="*/ 116446 w 273"/>
              <a:gd name="T87" fmla="*/ 196605 h 414"/>
              <a:gd name="T88" fmla="*/ 119063 w 273"/>
              <a:gd name="T89" fmla="*/ 192954 h 414"/>
              <a:gd name="T90" fmla="*/ 117318 w 273"/>
              <a:gd name="T91" fmla="*/ 183567 h 414"/>
              <a:gd name="T92" fmla="*/ 114702 w 273"/>
              <a:gd name="T93" fmla="*/ 174702 h 414"/>
              <a:gd name="T94" fmla="*/ 105543 w 273"/>
              <a:gd name="T95" fmla="*/ 161143 h 414"/>
              <a:gd name="T96" fmla="*/ 96820 w 273"/>
              <a:gd name="T97" fmla="*/ 147062 h 414"/>
              <a:gd name="T98" fmla="*/ 93768 w 273"/>
              <a:gd name="T99" fmla="*/ 138718 h 414"/>
              <a:gd name="T100" fmla="*/ 92459 w 273"/>
              <a:gd name="T101" fmla="*/ 128810 h 414"/>
              <a:gd name="T102" fmla="*/ 93768 w 273"/>
              <a:gd name="T103" fmla="*/ 112122 h 414"/>
              <a:gd name="T104" fmla="*/ 96820 w 273"/>
              <a:gd name="T105" fmla="*/ 99085 h 414"/>
              <a:gd name="T106" fmla="*/ 100309 w 273"/>
              <a:gd name="T107" fmla="*/ 87090 h 414"/>
              <a:gd name="T108" fmla="*/ 101182 w 273"/>
              <a:gd name="T109" fmla="*/ 74053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grpSp>
        <p:nvGrpSpPr>
          <p:cNvPr id="714" name="Group 164">
            <a:extLst>
              <a:ext uri="{FF2B5EF4-FFF2-40B4-BE49-F238E27FC236}">
                <a16:creationId xmlns:a16="http://schemas.microsoft.com/office/drawing/2014/main" id="{CAEF67BB-CB67-4600-A1C9-725B7A8CC0EA}"/>
              </a:ext>
            </a:extLst>
          </p:cNvPr>
          <p:cNvGrpSpPr>
            <a:grpSpLocks/>
          </p:cNvGrpSpPr>
          <p:nvPr>
            <p:custDataLst>
              <p:tags r:id="rId95"/>
            </p:custDataLst>
          </p:nvPr>
        </p:nvGrpSpPr>
        <p:grpSpPr bwMode="auto">
          <a:xfrm>
            <a:off x="3796978" y="6709325"/>
            <a:ext cx="687149" cy="852198"/>
            <a:chOff x="1486" y="2412"/>
            <a:chExt cx="244" cy="256"/>
          </a:xfrm>
          <a:solidFill>
            <a:schemeClr val="bg2">
              <a:lumMod val="50000"/>
              <a:alpha val="18000"/>
            </a:schemeClr>
          </a:solidFill>
        </p:grpSpPr>
        <p:sp>
          <p:nvSpPr>
            <p:cNvPr id="715" name="Freeform 165">
              <a:extLst>
                <a:ext uri="{FF2B5EF4-FFF2-40B4-BE49-F238E27FC236}">
                  <a16:creationId xmlns:a16="http://schemas.microsoft.com/office/drawing/2014/main" id="{EF83C2B6-8727-4477-823D-67D25AC49D41}"/>
                </a:ext>
              </a:extLst>
            </p:cNvPr>
            <p:cNvSpPr>
              <a:spLocks/>
            </p:cNvSpPr>
            <p:nvPr/>
          </p:nvSpPr>
          <p:spPr bwMode="auto">
            <a:xfrm>
              <a:off x="1639" y="2457"/>
              <a:ext cx="18" cy="7"/>
            </a:xfrm>
            <a:custGeom>
              <a:avLst/>
              <a:gdLst>
                <a:gd name="T0" fmla="*/ 0 w 54"/>
                <a:gd name="T1" fmla="*/ 0 h 22"/>
                <a:gd name="T2" fmla="*/ 0 w 54"/>
                <a:gd name="T3" fmla="*/ 6 h 22"/>
                <a:gd name="T4" fmla="*/ 2 w 54"/>
                <a:gd name="T5" fmla="*/ 6 h 22"/>
                <a:gd name="T6" fmla="*/ 3 w 54"/>
                <a:gd name="T7" fmla="*/ 7 h 22"/>
                <a:gd name="T8" fmla="*/ 5 w 54"/>
                <a:gd name="T9" fmla="*/ 7 h 22"/>
                <a:gd name="T10" fmla="*/ 7 w 54"/>
                <a:gd name="T11" fmla="*/ 7 h 22"/>
                <a:gd name="T12" fmla="*/ 8 w 54"/>
                <a:gd name="T13" fmla="*/ 7 h 22"/>
                <a:gd name="T14" fmla="*/ 9 w 54"/>
                <a:gd name="T15" fmla="*/ 7 h 22"/>
                <a:gd name="T16" fmla="*/ 10 w 54"/>
                <a:gd name="T17" fmla="*/ 6 h 22"/>
                <a:gd name="T18" fmla="*/ 11 w 54"/>
                <a:gd name="T19" fmla="*/ 6 h 22"/>
                <a:gd name="T20" fmla="*/ 12 w 54"/>
                <a:gd name="T21" fmla="*/ 5 h 22"/>
                <a:gd name="T22" fmla="*/ 14 w 54"/>
                <a:gd name="T23" fmla="*/ 4 h 22"/>
                <a:gd name="T24" fmla="*/ 16 w 54"/>
                <a:gd name="T25" fmla="*/ 3 h 22"/>
                <a:gd name="T26" fmla="*/ 18 w 54"/>
                <a:gd name="T27" fmla="*/ 2 h 22"/>
                <a:gd name="T28" fmla="*/ 12 w 54"/>
                <a:gd name="T29" fmla="*/ 2 h 22"/>
                <a:gd name="T30" fmla="*/ 7 w 54"/>
                <a:gd name="T31" fmla="*/ 1 h 22"/>
                <a:gd name="T32" fmla="*/ 2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716" name="Freeform 166">
              <a:extLst>
                <a:ext uri="{FF2B5EF4-FFF2-40B4-BE49-F238E27FC236}">
                  <a16:creationId xmlns:a16="http://schemas.microsoft.com/office/drawing/2014/main" id="{94FC20FA-3C2B-47B6-9DCE-C41DAA991B90}"/>
                </a:ext>
              </a:extLst>
            </p:cNvPr>
            <p:cNvSpPr>
              <a:spLocks/>
            </p:cNvSpPr>
            <p:nvPr/>
          </p:nvSpPr>
          <p:spPr bwMode="auto">
            <a:xfrm>
              <a:off x="1526" y="2412"/>
              <a:ext cx="2" cy="8"/>
            </a:xfrm>
            <a:custGeom>
              <a:avLst/>
              <a:gdLst>
                <a:gd name="T0" fmla="*/ 2 w 6"/>
                <a:gd name="T1" fmla="*/ 8 h 24"/>
                <a:gd name="T2" fmla="*/ 2 w 6"/>
                <a:gd name="T3" fmla="*/ 0 h 24"/>
                <a:gd name="T4" fmla="*/ 1 w 6"/>
                <a:gd name="T5" fmla="*/ 0 h 24"/>
                <a:gd name="T6" fmla="*/ 0 w 6"/>
                <a:gd name="T7" fmla="*/ 1 h 24"/>
                <a:gd name="T8" fmla="*/ 0 w 6"/>
                <a:gd name="T9" fmla="*/ 2 h 24"/>
                <a:gd name="T10" fmla="*/ 0 w 6"/>
                <a:gd name="T11" fmla="*/ 4 h 24"/>
                <a:gd name="T12" fmla="*/ 0 w 6"/>
                <a:gd name="T13" fmla="*/ 5 h 24"/>
                <a:gd name="T14" fmla="*/ 0 w 6"/>
                <a:gd name="T15" fmla="*/ 7 h 24"/>
                <a:gd name="T16" fmla="*/ 1 w 6"/>
                <a:gd name="T17" fmla="*/ 8 h 24"/>
                <a:gd name="T18" fmla="*/ 2 w 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717" name="Freeform 167">
              <a:extLst>
                <a:ext uri="{FF2B5EF4-FFF2-40B4-BE49-F238E27FC236}">
                  <a16:creationId xmlns:a16="http://schemas.microsoft.com/office/drawing/2014/main" id="{1231B88A-A324-4AFD-974D-A37B65C84558}"/>
                </a:ext>
              </a:extLst>
            </p:cNvPr>
            <p:cNvSpPr>
              <a:spLocks/>
            </p:cNvSpPr>
            <p:nvPr/>
          </p:nvSpPr>
          <p:spPr bwMode="auto">
            <a:xfrm>
              <a:off x="1557" y="2438"/>
              <a:ext cx="8" cy="4"/>
            </a:xfrm>
            <a:custGeom>
              <a:avLst/>
              <a:gdLst>
                <a:gd name="T0" fmla="*/ 0 w 27"/>
                <a:gd name="T1" fmla="*/ 4 h 12"/>
                <a:gd name="T2" fmla="*/ 8 w 27"/>
                <a:gd name="T3" fmla="*/ 4 h 12"/>
                <a:gd name="T4" fmla="*/ 4 w 27"/>
                <a:gd name="T5" fmla="*/ 0 h 12"/>
                <a:gd name="T6" fmla="*/ 0 w 27"/>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12">
                  <a:moveTo>
                    <a:pt x="0" y="12"/>
                  </a:moveTo>
                  <a:lnTo>
                    <a:pt x="27" y="12"/>
                  </a:lnTo>
                  <a:lnTo>
                    <a:pt x="14" y="0"/>
                  </a:lnTo>
                  <a:lnTo>
                    <a:pt x="0"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718" name="Freeform 168">
              <a:extLst>
                <a:ext uri="{FF2B5EF4-FFF2-40B4-BE49-F238E27FC236}">
                  <a16:creationId xmlns:a16="http://schemas.microsoft.com/office/drawing/2014/main" id="{80812A5D-3496-4BB0-A7A0-36CB4F0A9AA3}"/>
                </a:ext>
              </a:extLst>
            </p:cNvPr>
            <p:cNvSpPr>
              <a:spLocks/>
            </p:cNvSpPr>
            <p:nvPr/>
          </p:nvSpPr>
          <p:spPr bwMode="auto">
            <a:xfrm>
              <a:off x="1486" y="2444"/>
              <a:ext cx="244" cy="224"/>
            </a:xfrm>
            <a:custGeom>
              <a:avLst/>
              <a:gdLst>
                <a:gd name="T0" fmla="*/ 3 w 743"/>
                <a:gd name="T1" fmla="*/ 69 h 672"/>
                <a:gd name="T2" fmla="*/ 16 w 743"/>
                <a:gd name="T3" fmla="*/ 89 h 672"/>
                <a:gd name="T4" fmla="*/ 40 w 743"/>
                <a:gd name="T5" fmla="*/ 98 h 672"/>
                <a:gd name="T6" fmla="*/ 55 w 743"/>
                <a:gd name="T7" fmla="*/ 105 h 672"/>
                <a:gd name="T8" fmla="*/ 65 w 743"/>
                <a:gd name="T9" fmla="*/ 115 h 672"/>
                <a:gd name="T10" fmla="*/ 97 w 743"/>
                <a:gd name="T11" fmla="*/ 126 h 672"/>
                <a:gd name="T12" fmla="*/ 94 w 743"/>
                <a:gd name="T13" fmla="*/ 140 h 672"/>
                <a:gd name="T14" fmla="*/ 102 w 743"/>
                <a:gd name="T15" fmla="*/ 171 h 672"/>
                <a:gd name="T16" fmla="*/ 100 w 743"/>
                <a:gd name="T17" fmla="*/ 178 h 672"/>
                <a:gd name="T18" fmla="*/ 99 w 743"/>
                <a:gd name="T19" fmla="*/ 189 h 672"/>
                <a:gd name="T20" fmla="*/ 108 w 743"/>
                <a:gd name="T21" fmla="*/ 206 h 672"/>
                <a:gd name="T22" fmla="*/ 122 w 743"/>
                <a:gd name="T23" fmla="*/ 220 h 672"/>
                <a:gd name="T24" fmla="*/ 136 w 743"/>
                <a:gd name="T25" fmla="*/ 224 h 672"/>
                <a:gd name="T26" fmla="*/ 153 w 743"/>
                <a:gd name="T27" fmla="*/ 218 h 672"/>
                <a:gd name="T28" fmla="*/ 166 w 743"/>
                <a:gd name="T29" fmla="*/ 206 h 672"/>
                <a:gd name="T30" fmla="*/ 172 w 743"/>
                <a:gd name="T31" fmla="*/ 195 h 672"/>
                <a:gd name="T32" fmla="*/ 157 w 743"/>
                <a:gd name="T33" fmla="*/ 156 h 672"/>
                <a:gd name="T34" fmla="*/ 189 w 743"/>
                <a:gd name="T35" fmla="*/ 167 h 672"/>
                <a:gd name="T36" fmla="*/ 197 w 743"/>
                <a:gd name="T37" fmla="*/ 159 h 672"/>
                <a:gd name="T38" fmla="*/ 214 w 743"/>
                <a:gd name="T39" fmla="*/ 148 h 672"/>
                <a:gd name="T40" fmla="*/ 220 w 743"/>
                <a:gd name="T41" fmla="*/ 147 h 672"/>
                <a:gd name="T42" fmla="*/ 225 w 743"/>
                <a:gd name="T43" fmla="*/ 145 h 672"/>
                <a:gd name="T44" fmla="*/ 219 w 743"/>
                <a:gd name="T45" fmla="*/ 109 h 672"/>
                <a:gd name="T46" fmla="*/ 233 w 743"/>
                <a:gd name="T47" fmla="*/ 98 h 672"/>
                <a:gd name="T48" fmla="*/ 234 w 743"/>
                <a:gd name="T49" fmla="*/ 84 h 672"/>
                <a:gd name="T50" fmla="*/ 238 w 743"/>
                <a:gd name="T51" fmla="*/ 78 h 672"/>
                <a:gd name="T52" fmla="*/ 239 w 743"/>
                <a:gd name="T53" fmla="*/ 71 h 672"/>
                <a:gd name="T54" fmla="*/ 230 w 743"/>
                <a:gd name="T55" fmla="*/ 65 h 672"/>
                <a:gd name="T56" fmla="*/ 225 w 743"/>
                <a:gd name="T57" fmla="*/ 56 h 672"/>
                <a:gd name="T58" fmla="*/ 220 w 743"/>
                <a:gd name="T59" fmla="*/ 48 h 672"/>
                <a:gd name="T60" fmla="*/ 210 w 743"/>
                <a:gd name="T61" fmla="*/ 51 h 672"/>
                <a:gd name="T62" fmla="*/ 207 w 743"/>
                <a:gd name="T63" fmla="*/ 45 h 672"/>
                <a:gd name="T64" fmla="*/ 198 w 743"/>
                <a:gd name="T65" fmla="*/ 38 h 672"/>
                <a:gd name="T66" fmla="*/ 192 w 743"/>
                <a:gd name="T67" fmla="*/ 32 h 672"/>
                <a:gd name="T68" fmla="*/ 176 w 743"/>
                <a:gd name="T69" fmla="*/ 25 h 672"/>
                <a:gd name="T70" fmla="*/ 161 w 743"/>
                <a:gd name="T71" fmla="*/ 29 h 672"/>
                <a:gd name="T72" fmla="*/ 155 w 743"/>
                <a:gd name="T73" fmla="*/ 34 h 672"/>
                <a:gd name="T74" fmla="*/ 143 w 743"/>
                <a:gd name="T75" fmla="*/ 39 h 672"/>
                <a:gd name="T76" fmla="*/ 137 w 743"/>
                <a:gd name="T77" fmla="*/ 35 h 672"/>
                <a:gd name="T78" fmla="*/ 129 w 743"/>
                <a:gd name="T79" fmla="*/ 34 h 672"/>
                <a:gd name="T80" fmla="*/ 118 w 743"/>
                <a:gd name="T81" fmla="*/ 28 h 672"/>
                <a:gd name="T82" fmla="*/ 104 w 743"/>
                <a:gd name="T83" fmla="*/ 28 h 672"/>
                <a:gd name="T84" fmla="*/ 96 w 743"/>
                <a:gd name="T85" fmla="*/ 31 h 672"/>
                <a:gd name="T86" fmla="*/ 83 w 743"/>
                <a:gd name="T87" fmla="*/ 31 h 672"/>
                <a:gd name="T88" fmla="*/ 77 w 743"/>
                <a:gd name="T89" fmla="*/ 17 h 672"/>
                <a:gd name="T90" fmla="*/ 59 w 743"/>
                <a:gd name="T91" fmla="*/ 7 h 672"/>
                <a:gd name="T92" fmla="*/ 49 w 743"/>
                <a:gd name="T93" fmla="*/ 3 h 672"/>
                <a:gd name="T94" fmla="*/ 45 w 743"/>
                <a:gd name="T95" fmla="*/ 15 h 672"/>
                <a:gd name="T96" fmla="*/ 39 w 743"/>
                <a:gd name="T97" fmla="*/ 23 h 672"/>
                <a:gd name="T98" fmla="*/ 39 w 743"/>
                <a:gd name="T99" fmla="*/ 46 h 672"/>
                <a:gd name="T100" fmla="*/ 34 w 743"/>
                <a:gd name="T101" fmla="*/ 65 h 672"/>
                <a:gd name="T102" fmla="*/ 29 w 743"/>
                <a:gd name="T103" fmla="*/ 63 h 672"/>
                <a:gd name="T104" fmla="*/ 23 w 743"/>
                <a:gd name="T105" fmla="*/ 61 h 672"/>
                <a:gd name="T106" fmla="*/ 19 w 743"/>
                <a:gd name="T107" fmla="*/ 56 h 672"/>
                <a:gd name="T108" fmla="*/ 17 w 743"/>
                <a:gd name="T109" fmla="*/ 40 h 672"/>
                <a:gd name="T110" fmla="*/ 24 w 743"/>
                <a:gd name="T111" fmla="*/ 20 h 672"/>
                <a:gd name="T112" fmla="*/ 32 w 743"/>
                <a:gd name="T113" fmla="*/ 5 h 672"/>
                <a:gd name="T114" fmla="*/ 17 w 743"/>
                <a:gd name="T115" fmla="*/ 10 h 672"/>
                <a:gd name="T116" fmla="*/ 5 w 743"/>
                <a:gd name="T117" fmla="*/ 23 h 672"/>
                <a:gd name="T118" fmla="*/ 0 w 743"/>
                <a:gd name="T119" fmla="*/ 4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grpSp>
      <p:sp>
        <p:nvSpPr>
          <p:cNvPr id="719" name="Freeform 169">
            <a:extLst>
              <a:ext uri="{FF2B5EF4-FFF2-40B4-BE49-F238E27FC236}">
                <a16:creationId xmlns:a16="http://schemas.microsoft.com/office/drawing/2014/main" id="{14975C41-2ABA-4F7C-B4A7-AE86111B1326}"/>
              </a:ext>
            </a:extLst>
          </p:cNvPr>
          <p:cNvSpPr>
            <a:spLocks/>
          </p:cNvSpPr>
          <p:nvPr>
            <p:custDataLst>
              <p:tags r:id="rId96"/>
            </p:custDataLst>
          </p:nvPr>
        </p:nvSpPr>
        <p:spPr bwMode="auto">
          <a:xfrm>
            <a:off x="14451150" y="9976649"/>
            <a:ext cx="67368" cy="23578"/>
          </a:xfrm>
          <a:custGeom>
            <a:avLst/>
            <a:gdLst>
              <a:gd name="T0" fmla="*/ 0 w 79"/>
              <a:gd name="T1" fmla="*/ 11112 h 23"/>
              <a:gd name="T2" fmla="*/ 8842 w 79"/>
              <a:gd name="T3" fmla="*/ 6281 h 23"/>
              <a:gd name="T4" fmla="*/ 18085 w 79"/>
              <a:gd name="T5" fmla="*/ 1933 h 23"/>
              <a:gd name="T6" fmla="*/ 22506 w 79"/>
              <a:gd name="T7" fmla="*/ 483 h 23"/>
              <a:gd name="T8" fmla="*/ 26123 w 79"/>
              <a:gd name="T9" fmla="*/ 0 h 23"/>
              <a:gd name="T10" fmla="*/ 27731 w 79"/>
              <a:gd name="T11" fmla="*/ 0 h 23"/>
              <a:gd name="T12" fmla="*/ 29741 w 79"/>
              <a:gd name="T13" fmla="*/ 483 h 23"/>
              <a:gd name="T14" fmla="*/ 30946 w 79"/>
              <a:gd name="T15" fmla="*/ 966 h 23"/>
              <a:gd name="T16" fmla="*/ 31750 w 79"/>
              <a:gd name="T17" fmla="*/ 1933 h 23"/>
              <a:gd name="T18" fmla="*/ 30946 w 79"/>
              <a:gd name="T19" fmla="*/ 3865 h 23"/>
              <a:gd name="T20" fmla="*/ 30142 w 79"/>
              <a:gd name="T21" fmla="*/ 6281 h 23"/>
              <a:gd name="T22" fmla="*/ 28937 w 79"/>
              <a:gd name="T23" fmla="*/ 7730 h 23"/>
              <a:gd name="T24" fmla="*/ 27329 w 79"/>
              <a:gd name="T25" fmla="*/ 9179 h 23"/>
              <a:gd name="T26" fmla="*/ 25722 w 79"/>
              <a:gd name="T27" fmla="*/ 10146 h 23"/>
              <a:gd name="T28" fmla="*/ 23712 w 79"/>
              <a:gd name="T29" fmla="*/ 10629 h 23"/>
              <a:gd name="T30" fmla="*/ 21301 w 79"/>
              <a:gd name="T31" fmla="*/ 11112 h 23"/>
              <a:gd name="T32" fmla="*/ 18487 w 79"/>
              <a:gd name="T33" fmla="*/ 11112 h 23"/>
              <a:gd name="T34" fmla="*/ 14870 w 79"/>
              <a:gd name="T35" fmla="*/ 11112 h 23"/>
              <a:gd name="T36" fmla="*/ 12861 w 79"/>
              <a:gd name="T37" fmla="*/ 10146 h 23"/>
              <a:gd name="T38" fmla="*/ 10449 w 79"/>
              <a:gd name="T39" fmla="*/ 9663 h 23"/>
              <a:gd name="T40" fmla="*/ 9244 w 79"/>
              <a:gd name="T41" fmla="*/ 9179 h 23"/>
              <a:gd name="T42" fmla="*/ 7636 w 79"/>
              <a:gd name="T43" fmla="*/ 8696 h 23"/>
              <a:gd name="T44" fmla="*/ 5627 w 79"/>
              <a:gd name="T45" fmla="*/ 8696 h 23"/>
              <a:gd name="T46" fmla="*/ 3617 w 79"/>
              <a:gd name="T47" fmla="*/ 9663 h 23"/>
              <a:gd name="T48" fmla="*/ 0 w 79"/>
              <a:gd name="T49" fmla="*/ 11112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20" name="Freeform 170">
            <a:extLst>
              <a:ext uri="{FF2B5EF4-FFF2-40B4-BE49-F238E27FC236}">
                <a16:creationId xmlns:a16="http://schemas.microsoft.com/office/drawing/2014/main" id="{3795CCB8-CAA9-4877-995A-385E4B791369}"/>
              </a:ext>
            </a:extLst>
          </p:cNvPr>
          <p:cNvSpPr>
            <a:spLocks/>
          </p:cNvSpPr>
          <p:nvPr>
            <p:custDataLst>
              <p:tags r:id="rId97"/>
            </p:custDataLst>
          </p:nvPr>
        </p:nvSpPr>
        <p:spPr bwMode="auto">
          <a:xfrm>
            <a:off x="14697041" y="10259593"/>
            <a:ext cx="3369" cy="10104"/>
          </a:xfrm>
          <a:custGeom>
            <a:avLst/>
            <a:gdLst>
              <a:gd name="T0" fmla="*/ 0 w 1588"/>
              <a:gd name="T1" fmla="*/ 0 h 6"/>
              <a:gd name="T2" fmla="*/ 0 w 1588"/>
              <a:gd name="T3" fmla="*/ 4762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21" name="Line 171">
            <a:extLst>
              <a:ext uri="{FF2B5EF4-FFF2-40B4-BE49-F238E27FC236}">
                <a16:creationId xmlns:a16="http://schemas.microsoft.com/office/drawing/2014/main" id="{BD7CA24D-8127-4A07-A3D2-619F23CA9951}"/>
              </a:ext>
            </a:extLst>
          </p:cNvPr>
          <p:cNvSpPr>
            <a:spLocks noChangeShapeType="1"/>
          </p:cNvSpPr>
          <p:nvPr>
            <p:custDataLst>
              <p:tags r:id="rId98"/>
            </p:custDataLst>
          </p:nvPr>
        </p:nvSpPr>
        <p:spPr bwMode="auto">
          <a:xfrm flipV="1">
            <a:off x="14889039" y="10256223"/>
            <a:ext cx="3367" cy="2694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s-ES" dirty="0"/>
          </a:p>
        </p:txBody>
      </p:sp>
      <p:sp>
        <p:nvSpPr>
          <p:cNvPr id="722" name="Freeform 172">
            <a:extLst>
              <a:ext uri="{FF2B5EF4-FFF2-40B4-BE49-F238E27FC236}">
                <a16:creationId xmlns:a16="http://schemas.microsoft.com/office/drawing/2014/main" id="{5BEB1E31-6600-459B-89A4-270ED787408A}"/>
              </a:ext>
            </a:extLst>
          </p:cNvPr>
          <p:cNvSpPr>
            <a:spLocks/>
          </p:cNvSpPr>
          <p:nvPr>
            <p:custDataLst>
              <p:tags r:id="rId99"/>
            </p:custDataLst>
          </p:nvPr>
        </p:nvSpPr>
        <p:spPr bwMode="auto">
          <a:xfrm>
            <a:off x="14889039" y="10256223"/>
            <a:ext cx="6737" cy="33684"/>
          </a:xfrm>
          <a:custGeom>
            <a:avLst/>
            <a:gdLst>
              <a:gd name="T0" fmla="*/ 0 w 5"/>
              <a:gd name="T1" fmla="*/ 0 h 30"/>
              <a:gd name="T2" fmla="*/ 1270 w 5"/>
              <a:gd name="T3" fmla="*/ 529 h 30"/>
              <a:gd name="T4" fmla="*/ 2540 w 5"/>
              <a:gd name="T5" fmla="*/ 2117 h 30"/>
              <a:gd name="T6" fmla="*/ 3175 w 5"/>
              <a:gd name="T7" fmla="*/ 4233 h 30"/>
              <a:gd name="T8" fmla="*/ 3175 w 5"/>
              <a:gd name="T9" fmla="*/ 6879 h 30"/>
              <a:gd name="T10" fmla="*/ 3175 w 5"/>
              <a:gd name="T11" fmla="*/ 9525 h 30"/>
              <a:gd name="T12" fmla="*/ 2540 w 5"/>
              <a:gd name="T13" fmla="*/ 12171 h 30"/>
              <a:gd name="T14" fmla="*/ 1270 w 5"/>
              <a:gd name="T15" fmla="*/ 14287 h 30"/>
              <a:gd name="T16" fmla="*/ 0 w 5"/>
              <a:gd name="T17" fmla="*/ 15875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23" name="Freeform 173">
            <a:extLst>
              <a:ext uri="{FF2B5EF4-FFF2-40B4-BE49-F238E27FC236}">
                <a16:creationId xmlns:a16="http://schemas.microsoft.com/office/drawing/2014/main" id="{58024E84-15C6-4ACF-937D-56785FF6454C}"/>
              </a:ext>
            </a:extLst>
          </p:cNvPr>
          <p:cNvSpPr>
            <a:spLocks/>
          </p:cNvSpPr>
          <p:nvPr>
            <p:custDataLst>
              <p:tags r:id="rId100"/>
            </p:custDataLst>
          </p:nvPr>
        </p:nvSpPr>
        <p:spPr bwMode="auto">
          <a:xfrm>
            <a:off x="15522294" y="9131186"/>
            <a:ext cx="47157" cy="60631"/>
          </a:xfrm>
          <a:custGeom>
            <a:avLst/>
            <a:gdLst>
              <a:gd name="T0" fmla="*/ 0 w 53"/>
              <a:gd name="T1" fmla="*/ 6235 h 55"/>
              <a:gd name="T2" fmla="*/ 419 w 53"/>
              <a:gd name="T3" fmla="*/ 8832 h 55"/>
              <a:gd name="T4" fmla="*/ 2097 w 53"/>
              <a:gd name="T5" fmla="*/ 11430 h 55"/>
              <a:gd name="T6" fmla="*/ 3774 w 53"/>
              <a:gd name="T7" fmla="*/ 14028 h 55"/>
              <a:gd name="T8" fmla="*/ 6290 w 53"/>
              <a:gd name="T9" fmla="*/ 17145 h 55"/>
              <a:gd name="T10" fmla="*/ 10903 w 53"/>
              <a:gd name="T11" fmla="*/ 22860 h 55"/>
              <a:gd name="T12" fmla="*/ 13838 w 53"/>
              <a:gd name="T13" fmla="*/ 28575 h 55"/>
              <a:gd name="T14" fmla="*/ 22225 w 53"/>
              <a:gd name="T15" fmla="*/ 28575 h 55"/>
              <a:gd name="T16" fmla="*/ 16774 w 53"/>
              <a:gd name="T17" fmla="*/ 21301 h 55"/>
              <a:gd name="T18" fmla="*/ 11742 w 53"/>
              <a:gd name="T19" fmla="*/ 15067 h 55"/>
              <a:gd name="T20" fmla="*/ 9645 w 53"/>
              <a:gd name="T21" fmla="*/ 11950 h 55"/>
              <a:gd name="T22" fmla="*/ 7967 w 53"/>
              <a:gd name="T23" fmla="*/ 8313 h 55"/>
              <a:gd name="T24" fmla="*/ 6709 w 53"/>
              <a:gd name="T25" fmla="*/ 4156 h 55"/>
              <a:gd name="T26" fmla="*/ 5871 w 53"/>
              <a:gd name="T27" fmla="*/ 0 h 55"/>
              <a:gd name="T28" fmla="*/ 2935 w 53"/>
              <a:gd name="T29" fmla="*/ 3117 h 55"/>
              <a:gd name="T30" fmla="*/ 0 w 53"/>
              <a:gd name="T31" fmla="*/ 6235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24" name="Freeform 174">
            <a:extLst>
              <a:ext uri="{FF2B5EF4-FFF2-40B4-BE49-F238E27FC236}">
                <a16:creationId xmlns:a16="http://schemas.microsoft.com/office/drawing/2014/main" id="{8896BE9D-2FC0-47F5-9DFB-79FD8D8F2B18}"/>
              </a:ext>
            </a:extLst>
          </p:cNvPr>
          <p:cNvSpPr>
            <a:spLocks/>
          </p:cNvSpPr>
          <p:nvPr>
            <p:custDataLst>
              <p:tags r:id="rId101"/>
            </p:custDataLst>
          </p:nvPr>
        </p:nvSpPr>
        <p:spPr bwMode="auto">
          <a:xfrm>
            <a:off x="15535767" y="8976241"/>
            <a:ext cx="57261" cy="84210"/>
          </a:xfrm>
          <a:custGeom>
            <a:avLst/>
            <a:gdLst>
              <a:gd name="T0" fmla="*/ 0 w 65"/>
              <a:gd name="T1" fmla="*/ 16934 h 75"/>
              <a:gd name="T2" fmla="*/ 3737 w 65"/>
              <a:gd name="T3" fmla="*/ 22754 h 75"/>
              <a:gd name="T4" fmla="*/ 8304 w 65"/>
              <a:gd name="T5" fmla="*/ 29105 h 75"/>
              <a:gd name="T6" fmla="*/ 10795 w 65"/>
              <a:gd name="T7" fmla="*/ 32280 h 75"/>
              <a:gd name="T8" fmla="*/ 13286 w 65"/>
              <a:gd name="T9" fmla="*/ 35455 h 75"/>
              <a:gd name="T10" fmla="*/ 16192 w 65"/>
              <a:gd name="T11" fmla="*/ 37571 h 75"/>
              <a:gd name="T12" fmla="*/ 19098 w 65"/>
              <a:gd name="T13" fmla="*/ 39688 h 75"/>
              <a:gd name="T14" fmla="*/ 21174 w 65"/>
              <a:gd name="T15" fmla="*/ 32280 h 75"/>
              <a:gd name="T16" fmla="*/ 24081 w 65"/>
              <a:gd name="T17" fmla="*/ 25400 h 75"/>
              <a:gd name="T18" fmla="*/ 25326 w 65"/>
              <a:gd name="T19" fmla="*/ 22225 h 75"/>
              <a:gd name="T20" fmla="*/ 26157 w 65"/>
              <a:gd name="T21" fmla="*/ 19050 h 75"/>
              <a:gd name="T22" fmla="*/ 26987 w 65"/>
              <a:gd name="T23" fmla="*/ 16404 h 75"/>
              <a:gd name="T24" fmla="*/ 26987 w 65"/>
              <a:gd name="T25" fmla="*/ 13759 h 75"/>
              <a:gd name="T26" fmla="*/ 26987 w 65"/>
              <a:gd name="T27" fmla="*/ 11113 h 75"/>
              <a:gd name="T28" fmla="*/ 26157 w 65"/>
              <a:gd name="T29" fmla="*/ 9525 h 75"/>
              <a:gd name="T30" fmla="*/ 25326 w 65"/>
              <a:gd name="T31" fmla="*/ 6879 h 75"/>
              <a:gd name="T32" fmla="*/ 24081 w 65"/>
              <a:gd name="T33" fmla="*/ 5292 h 75"/>
              <a:gd name="T34" fmla="*/ 21174 w 65"/>
              <a:gd name="T35" fmla="*/ 2646 h 75"/>
              <a:gd name="T36" fmla="*/ 19098 w 65"/>
              <a:gd name="T37" fmla="*/ 0 h 75"/>
              <a:gd name="T38" fmla="*/ 14116 w 65"/>
              <a:gd name="T39" fmla="*/ 0 h 75"/>
              <a:gd name="T40" fmla="*/ 10795 w 65"/>
              <a:gd name="T41" fmla="*/ 0 h 75"/>
              <a:gd name="T42" fmla="*/ 10380 w 65"/>
              <a:gd name="T43" fmla="*/ 1058 h 75"/>
              <a:gd name="T44" fmla="*/ 9964 w 65"/>
              <a:gd name="T45" fmla="*/ 3704 h 75"/>
              <a:gd name="T46" fmla="*/ 9549 w 65"/>
              <a:gd name="T47" fmla="*/ 4763 h 75"/>
              <a:gd name="T48" fmla="*/ 9549 w 65"/>
              <a:gd name="T49" fmla="*/ 5821 h 75"/>
              <a:gd name="T50" fmla="*/ 9964 w 65"/>
              <a:gd name="T51" fmla="*/ 6350 h 75"/>
              <a:gd name="T52" fmla="*/ 10795 w 65"/>
              <a:gd name="T53" fmla="*/ 6879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25" name="Freeform 175">
            <a:extLst>
              <a:ext uri="{FF2B5EF4-FFF2-40B4-BE49-F238E27FC236}">
                <a16:creationId xmlns:a16="http://schemas.microsoft.com/office/drawing/2014/main" id="{C0C8B936-FBDE-4C51-9287-664DA698339C}"/>
              </a:ext>
            </a:extLst>
          </p:cNvPr>
          <p:cNvSpPr>
            <a:spLocks/>
          </p:cNvSpPr>
          <p:nvPr>
            <p:custDataLst>
              <p:tags r:id="rId102"/>
            </p:custDataLst>
          </p:nvPr>
        </p:nvSpPr>
        <p:spPr bwMode="auto">
          <a:xfrm>
            <a:off x="15485240" y="8925716"/>
            <a:ext cx="37053" cy="63998"/>
          </a:xfrm>
          <a:custGeom>
            <a:avLst/>
            <a:gdLst>
              <a:gd name="T0" fmla="*/ 0 w 40"/>
              <a:gd name="T1" fmla="*/ 30162 h 62"/>
              <a:gd name="T2" fmla="*/ 1310 w 40"/>
              <a:gd name="T3" fmla="*/ 25297 h 62"/>
              <a:gd name="T4" fmla="*/ 3056 w 40"/>
              <a:gd name="T5" fmla="*/ 20919 h 62"/>
              <a:gd name="T6" fmla="*/ 5239 w 40"/>
              <a:gd name="T7" fmla="*/ 16054 h 62"/>
              <a:gd name="T8" fmla="*/ 7422 w 40"/>
              <a:gd name="T9" fmla="*/ 12162 h 62"/>
              <a:gd name="T10" fmla="*/ 10041 w 40"/>
              <a:gd name="T11" fmla="*/ 8270 h 62"/>
              <a:gd name="T12" fmla="*/ 12661 w 40"/>
              <a:gd name="T13" fmla="*/ 4378 h 62"/>
              <a:gd name="T14" fmla="*/ 15280 w 40"/>
              <a:gd name="T15" fmla="*/ 1459 h 62"/>
              <a:gd name="T16" fmla="*/ 17463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26" name="Freeform 176">
            <a:extLst>
              <a:ext uri="{FF2B5EF4-FFF2-40B4-BE49-F238E27FC236}">
                <a16:creationId xmlns:a16="http://schemas.microsoft.com/office/drawing/2014/main" id="{BA60DF04-BD9E-45B4-BCD2-69A70CCDDB03}"/>
              </a:ext>
            </a:extLst>
          </p:cNvPr>
          <p:cNvSpPr>
            <a:spLocks/>
          </p:cNvSpPr>
          <p:nvPr>
            <p:custDataLst>
              <p:tags r:id="rId103"/>
            </p:custDataLst>
          </p:nvPr>
        </p:nvSpPr>
        <p:spPr bwMode="auto">
          <a:xfrm>
            <a:off x="15313454" y="8666350"/>
            <a:ext cx="144839" cy="293050"/>
          </a:xfrm>
          <a:custGeom>
            <a:avLst/>
            <a:gdLst>
              <a:gd name="T0" fmla="*/ 68262 w 159"/>
              <a:gd name="T1" fmla="*/ 138113 h 259"/>
              <a:gd name="T2" fmla="*/ 68262 w 159"/>
              <a:gd name="T3" fmla="*/ 133847 h 259"/>
              <a:gd name="T4" fmla="*/ 68262 w 159"/>
              <a:gd name="T5" fmla="*/ 130114 h 259"/>
              <a:gd name="T6" fmla="*/ 68262 w 159"/>
              <a:gd name="T7" fmla="*/ 125848 h 259"/>
              <a:gd name="T8" fmla="*/ 68262 w 159"/>
              <a:gd name="T9" fmla="*/ 121582 h 259"/>
              <a:gd name="T10" fmla="*/ 68262 w 159"/>
              <a:gd name="T11" fmla="*/ 119449 h 259"/>
              <a:gd name="T12" fmla="*/ 67833 w 159"/>
              <a:gd name="T13" fmla="*/ 116783 h 259"/>
              <a:gd name="T14" fmla="*/ 66974 w 159"/>
              <a:gd name="T15" fmla="*/ 114650 h 259"/>
              <a:gd name="T16" fmla="*/ 65686 w 159"/>
              <a:gd name="T17" fmla="*/ 111984 h 259"/>
              <a:gd name="T18" fmla="*/ 62252 w 159"/>
              <a:gd name="T19" fmla="*/ 107717 h 259"/>
              <a:gd name="T20" fmla="*/ 57958 w 159"/>
              <a:gd name="T21" fmla="*/ 103985 h 259"/>
              <a:gd name="T22" fmla="*/ 53236 w 159"/>
              <a:gd name="T23" fmla="*/ 100785 h 259"/>
              <a:gd name="T24" fmla="*/ 48084 w 159"/>
              <a:gd name="T25" fmla="*/ 98119 h 259"/>
              <a:gd name="T26" fmla="*/ 42503 w 159"/>
              <a:gd name="T27" fmla="*/ 95986 h 259"/>
              <a:gd name="T28" fmla="*/ 37351 w 159"/>
              <a:gd name="T29" fmla="*/ 95453 h 259"/>
              <a:gd name="T30" fmla="*/ 36492 w 159"/>
              <a:gd name="T31" fmla="*/ 94919 h 259"/>
              <a:gd name="T32" fmla="*/ 35204 w 159"/>
              <a:gd name="T33" fmla="*/ 94386 h 259"/>
              <a:gd name="T34" fmla="*/ 34775 w 159"/>
              <a:gd name="T35" fmla="*/ 93320 h 259"/>
              <a:gd name="T36" fmla="*/ 34346 w 159"/>
              <a:gd name="T37" fmla="*/ 92253 h 259"/>
              <a:gd name="T38" fmla="*/ 34346 w 159"/>
              <a:gd name="T39" fmla="*/ 89054 h 259"/>
              <a:gd name="T40" fmla="*/ 34775 w 159"/>
              <a:gd name="T41" fmla="*/ 85854 h 259"/>
              <a:gd name="T42" fmla="*/ 36492 w 159"/>
              <a:gd name="T43" fmla="*/ 78922 h 259"/>
              <a:gd name="T44" fmla="*/ 37351 w 159"/>
              <a:gd name="T45" fmla="*/ 75722 h 259"/>
              <a:gd name="T46" fmla="*/ 31340 w 159"/>
              <a:gd name="T47" fmla="*/ 75189 h 259"/>
              <a:gd name="T48" fmla="*/ 25330 w 159"/>
              <a:gd name="T49" fmla="*/ 74122 h 259"/>
              <a:gd name="T50" fmla="*/ 20607 w 159"/>
              <a:gd name="T51" fmla="*/ 71989 h 259"/>
              <a:gd name="T52" fmla="*/ 17173 w 159"/>
              <a:gd name="T53" fmla="*/ 68790 h 259"/>
              <a:gd name="T54" fmla="*/ 13309 w 159"/>
              <a:gd name="T55" fmla="*/ 64524 h 259"/>
              <a:gd name="T56" fmla="*/ 10304 w 159"/>
              <a:gd name="T57" fmla="*/ 60258 h 259"/>
              <a:gd name="T58" fmla="*/ 7728 w 159"/>
              <a:gd name="T59" fmla="*/ 55459 h 259"/>
              <a:gd name="T60" fmla="*/ 5581 w 159"/>
              <a:gd name="T61" fmla="*/ 50126 h 259"/>
              <a:gd name="T62" fmla="*/ 3864 w 159"/>
              <a:gd name="T63" fmla="*/ 44793 h 259"/>
              <a:gd name="T64" fmla="*/ 3005 w 159"/>
              <a:gd name="T65" fmla="*/ 38928 h 259"/>
              <a:gd name="T66" fmla="*/ 2147 w 159"/>
              <a:gd name="T67" fmla="*/ 31995 h 259"/>
              <a:gd name="T68" fmla="*/ 859 w 159"/>
              <a:gd name="T69" fmla="*/ 25596 h 259"/>
              <a:gd name="T70" fmla="*/ 0 w 159"/>
              <a:gd name="T71" fmla="*/ 13331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27" name="Line 177">
            <a:extLst>
              <a:ext uri="{FF2B5EF4-FFF2-40B4-BE49-F238E27FC236}">
                <a16:creationId xmlns:a16="http://schemas.microsoft.com/office/drawing/2014/main" id="{90DCDD9E-351E-43D9-8B54-415539EFDB89}"/>
              </a:ext>
            </a:extLst>
          </p:cNvPr>
          <p:cNvSpPr>
            <a:spLocks noChangeShapeType="1"/>
          </p:cNvSpPr>
          <p:nvPr>
            <p:custDataLst>
              <p:tags r:id="rId104"/>
            </p:custDataLst>
          </p:nvPr>
        </p:nvSpPr>
        <p:spPr bwMode="auto">
          <a:xfrm flipH="1" flipV="1">
            <a:off x="15299981" y="8595616"/>
            <a:ext cx="13474" cy="7073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s-ES" dirty="0"/>
          </a:p>
        </p:txBody>
      </p:sp>
      <p:sp>
        <p:nvSpPr>
          <p:cNvPr id="728" name="Freeform 178">
            <a:extLst>
              <a:ext uri="{FF2B5EF4-FFF2-40B4-BE49-F238E27FC236}">
                <a16:creationId xmlns:a16="http://schemas.microsoft.com/office/drawing/2014/main" id="{090D3EFE-986B-4E10-AB9C-DF89592AD590}"/>
              </a:ext>
            </a:extLst>
          </p:cNvPr>
          <p:cNvSpPr>
            <a:spLocks/>
          </p:cNvSpPr>
          <p:nvPr>
            <p:custDataLst>
              <p:tags r:id="rId105"/>
            </p:custDataLst>
          </p:nvPr>
        </p:nvSpPr>
        <p:spPr bwMode="auto">
          <a:xfrm>
            <a:off x="15299981" y="8561932"/>
            <a:ext cx="13474" cy="33684"/>
          </a:xfrm>
          <a:custGeom>
            <a:avLst/>
            <a:gdLst>
              <a:gd name="T0" fmla="*/ 0 w 13"/>
              <a:gd name="T1" fmla="*/ 15875 h 25"/>
              <a:gd name="T2" fmla="*/ 488 w 13"/>
              <a:gd name="T3" fmla="*/ 12065 h 25"/>
              <a:gd name="T4" fmla="*/ 1954 w 13"/>
              <a:gd name="T5" fmla="*/ 8255 h 25"/>
              <a:gd name="T6" fmla="*/ 3908 w 13"/>
              <a:gd name="T7" fmla="*/ 3810 h 25"/>
              <a:gd name="T8" fmla="*/ 6350 w 13"/>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5">
                <a:moveTo>
                  <a:pt x="0" y="25"/>
                </a:moveTo>
                <a:lnTo>
                  <a:pt x="1" y="19"/>
                </a:lnTo>
                <a:lnTo>
                  <a:pt x="4" y="13"/>
                </a:lnTo>
                <a:lnTo>
                  <a:pt x="8" y="6"/>
                </a:lnTo>
                <a:lnTo>
                  <a:pt x="13"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29" name="Line 179">
            <a:extLst>
              <a:ext uri="{FF2B5EF4-FFF2-40B4-BE49-F238E27FC236}">
                <a16:creationId xmlns:a16="http://schemas.microsoft.com/office/drawing/2014/main" id="{7EA9A416-9003-443E-9145-7A19B60BD8A2}"/>
              </a:ext>
            </a:extLst>
          </p:cNvPr>
          <p:cNvSpPr>
            <a:spLocks noChangeShapeType="1"/>
          </p:cNvSpPr>
          <p:nvPr>
            <p:custDataLst>
              <p:tags r:id="rId106"/>
            </p:custDataLst>
          </p:nvPr>
        </p:nvSpPr>
        <p:spPr bwMode="auto">
          <a:xfrm flipV="1">
            <a:off x="15313454" y="8534985"/>
            <a:ext cx="0" cy="2694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s-ES" dirty="0"/>
          </a:p>
        </p:txBody>
      </p:sp>
      <p:sp>
        <p:nvSpPr>
          <p:cNvPr id="730" name="Freeform 180">
            <a:extLst>
              <a:ext uri="{FF2B5EF4-FFF2-40B4-BE49-F238E27FC236}">
                <a16:creationId xmlns:a16="http://schemas.microsoft.com/office/drawing/2014/main" id="{47BCAC6A-C37B-410D-A7A1-EA96105567F4}"/>
              </a:ext>
            </a:extLst>
          </p:cNvPr>
          <p:cNvSpPr>
            <a:spLocks/>
          </p:cNvSpPr>
          <p:nvPr>
            <p:custDataLst>
              <p:tags r:id="rId107"/>
            </p:custDataLst>
          </p:nvPr>
        </p:nvSpPr>
        <p:spPr bwMode="auto">
          <a:xfrm>
            <a:off x="15215770" y="8393513"/>
            <a:ext cx="97684" cy="141472"/>
          </a:xfrm>
          <a:custGeom>
            <a:avLst/>
            <a:gdLst>
              <a:gd name="T0" fmla="*/ 46038 w 100"/>
              <a:gd name="T1" fmla="*/ 66675 h 123"/>
              <a:gd name="T2" fmla="*/ 41434 w 100"/>
              <a:gd name="T3" fmla="*/ 66133 h 123"/>
              <a:gd name="T4" fmla="*/ 34989 w 100"/>
              <a:gd name="T5" fmla="*/ 64507 h 123"/>
              <a:gd name="T6" fmla="*/ 27623 w 100"/>
              <a:gd name="T7" fmla="*/ 61796 h 123"/>
              <a:gd name="T8" fmla="*/ 19796 w 100"/>
              <a:gd name="T9" fmla="*/ 58002 h 123"/>
              <a:gd name="T10" fmla="*/ 15653 w 100"/>
              <a:gd name="T11" fmla="*/ 55834 h 123"/>
              <a:gd name="T12" fmla="*/ 12430 w 100"/>
              <a:gd name="T13" fmla="*/ 53665 h 123"/>
              <a:gd name="T14" fmla="*/ 9208 w 100"/>
              <a:gd name="T15" fmla="*/ 50955 h 123"/>
              <a:gd name="T16" fmla="*/ 5985 w 100"/>
              <a:gd name="T17" fmla="*/ 48245 h 123"/>
              <a:gd name="T18" fmla="*/ 3683 w 100"/>
              <a:gd name="T19" fmla="*/ 45534 h 123"/>
              <a:gd name="T20" fmla="*/ 1842 w 100"/>
              <a:gd name="T21" fmla="*/ 42824 h 123"/>
              <a:gd name="T22" fmla="*/ 460 w 100"/>
              <a:gd name="T23" fmla="*/ 39571 h 123"/>
              <a:gd name="T24" fmla="*/ 0 w 100"/>
              <a:gd name="T25" fmla="*/ 36861 h 123"/>
              <a:gd name="T26" fmla="*/ 921 w 100"/>
              <a:gd name="T27" fmla="*/ 29814 h 123"/>
              <a:gd name="T28" fmla="*/ 3223 w 100"/>
              <a:gd name="T29" fmla="*/ 19515 h 123"/>
              <a:gd name="T30" fmla="*/ 5064 w 100"/>
              <a:gd name="T31" fmla="*/ 9215 h 123"/>
              <a:gd name="T32" fmla="*/ 5985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31" name="Freeform 181">
            <a:extLst>
              <a:ext uri="{FF2B5EF4-FFF2-40B4-BE49-F238E27FC236}">
                <a16:creationId xmlns:a16="http://schemas.microsoft.com/office/drawing/2014/main" id="{475CF413-9C21-4755-B33D-9A852CF02720}"/>
              </a:ext>
            </a:extLst>
          </p:cNvPr>
          <p:cNvSpPr>
            <a:spLocks/>
          </p:cNvSpPr>
          <p:nvPr>
            <p:custDataLst>
              <p:tags r:id="rId108"/>
            </p:custDataLst>
          </p:nvPr>
        </p:nvSpPr>
        <p:spPr bwMode="auto">
          <a:xfrm>
            <a:off x="15246087" y="8272252"/>
            <a:ext cx="3367" cy="107788"/>
          </a:xfrm>
          <a:custGeom>
            <a:avLst/>
            <a:gdLst>
              <a:gd name="T0" fmla="*/ 1587 w 5"/>
              <a:gd name="T1" fmla="*/ 0 h 99"/>
              <a:gd name="T2" fmla="*/ 1270 w 5"/>
              <a:gd name="T3" fmla="*/ 17446 h 99"/>
              <a:gd name="T4" fmla="*/ 317 w 5"/>
              <a:gd name="T5" fmla="*/ 30275 h 99"/>
              <a:gd name="T6" fmla="*/ 0 w 5"/>
              <a:gd name="T7" fmla="*/ 35406 h 99"/>
              <a:gd name="T8" fmla="*/ 0 w 5"/>
              <a:gd name="T9" fmla="*/ 40024 h 99"/>
              <a:gd name="T10" fmla="*/ 635 w 5"/>
              <a:gd name="T11" fmla="*/ 44642 h 99"/>
              <a:gd name="T12" fmla="*/ 1587 w 5"/>
              <a:gd name="T13" fmla="*/ 50800 h 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99">
                <a:moveTo>
                  <a:pt x="5" y="0"/>
                </a:moveTo>
                <a:lnTo>
                  <a:pt x="4" y="34"/>
                </a:lnTo>
                <a:lnTo>
                  <a:pt x="1" y="59"/>
                </a:lnTo>
                <a:lnTo>
                  <a:pt x="0" y="69"/>
                </a:lnTo>
                <a:lnTo>
                  <a:pt x="0" y="78"/>
                </a:lnTo>
                <a:lnTo>
                  <a:pt x="2" y="87"/>
                </a:lnTo>
                <a:lnTo>
                  <a:pt x="5" y="99"/>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32" name="Freeform 182">
            <a:extLst>
              <a:ext uri="{FF2B5EF4-FFF2-40B4-BE49-F238E27FC236}">
                <a16:creationId xmlns:a16="http://schemas.microsoft.com/office/drawing/2014/main" id="{277F35CE-8F7A-43A2-89FB-D7BB38900FE4}"/>
              </a:ext>
            </a:extLst>
          </p:cNvPr>
          <p:cNvSpPr>
            <a:spLocks/>
          </p:cNvSpPr>
          <p:nvPr>
            <p:custDataLst>
              <p:tags r:id="rId109"/>
            </p:custDataLst>
          </p:nvPr>
        </p:nvSpPr>
        <p:spPr bwMode="auto">
          <a:xfrm>
            <a:off x="15259560" y="8258778"/>
            <a:ext cx="16841" cy="77472"/>
          </a:xfrm>
          <a:custGeom>
            <a:avLst/>
            <a:gdLst>
              <a:gd name="T0" fmla="*/ 7937 w 14"/>
              <a:gd name="T1" fmla="*/ 0 h 68"/>
              <a:gd name="T2" fmla="*/ 4535 w 14"/>
              <a:gd name="T3" fmla="*/ 8591 h 68"/>
              <a:gd name="T4" fmla="*/ 2268 w 14"/>
              <a:gd name="T5" fmla="*/ 17719 h 68"/>
              <a:gd name="T6" fmla="*/ 1134 w 14"/>
              <a:gd name="T7" fmla="*/ 27921 h 68"/>
              <a:gd name="T8" fmla="*/ 0 w 14"/>
              <a:gd name="T9" fmla="*/ 36512 h 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8">
                <a:moveTo>
                  <a:pt x="14" y="0"/>
                </a:moveTo>
                <a:lnTo>
                  <a:pt x="8" y="16"/>
                </a:lnTo>
                <a:lnTo>
                  <a:pt x="4" y="33"/>
                </a:lnTo>
                <a:lnTo>
                  <a:pt x="2" y="52"/>
                </a:lnTo>
                <a:lnTo>
                  <a:pt x="0" y="68"/>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33" name="Freeform 183">
            <a:extLst>
              <a:ext uri="{FF2B5EF4-FFF2-40B4-BE49-F238E27FC236}">
                <a16:creationId xmlns:a16="http://schemas.microsoft.com/office/drawing/2014/main" id="{418906BF-3BFE-417C-B942-53DDE6435744}"/>
              </a:ext>
            </a:extLst>
          </p:cNvPr>
          <p:cNvSpPr>
            <a:spLocks/>
          </p:cNvSpPr>
          <p:nvPr>
            <p:custDataLst>
              <p:tags r:id="rId110"/>
            </p:custDataLst>
          </p:nvPr>
        </p:nvSpPr>
        <p:spPr bwMode="auto">
          <a:xfrm>
            <a:off x="15293244" y="8218358"/>
            <a:ext cx="3367" cy="47157"/>
          </a:xfrm>
          <a:custGeom>
            <a:avLst/>
            <a:gdLst>
              <a:gd name="T0" fmla="*/ 0 w 1587"/>
              <a:gd name="T1" fmla="*/ 0 h 43"/>
              <a:gd name="T2" fmla="*/ 0 w 1587"/>
              <a:gd name="T3" fmla="*/ 6719 h 43"/>
              <a:gd name="T4" fmla="*/ 0 w 1587"/>
              <a:gd name="T5" fmla="*/ 13438 h 43"/>
              <a:gd name="T6" fmla="*/ 0 w 1587"/>
              <a:gd name="T7" fmla="*/ 19124 h 43"/>
              <a:gd name="T8" fmla="*/ 0 w 1587"/>
              <a:gd name="T9" fmla="*/ 22225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43">
                <a:moveTo>
                  <a:pt x="0" y="0"/>
                </a:moveTo>
                <a:lnTo>
                  <a:pt x="0" y="13"/>
                </a:lnTo>
                <a:lnTo>
                  <a:pt x="0" y="26"/>
                </a:lnTo>
                <a:lnTo>
                  <a:pt x="0" y="37"/>
                </a:lnTo>
                <a:lnTo>
                  <a:pt x="0" y="43"/>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34" name="Line 184">
            <a:extLst>
              <a:ext uri="{FF2B5EF4-FFF2-40B4-BE49-F238E27FC236}">
                <a16:creationId xmlns:a16="http://schemas.microsoft.com/office/drawing/2014/main" id="{999CA2A2-373C-4E6B-9402-0B57154FC828}"/>
              </a:ext>
            </a:extLst>
          </p:cNvPr>
          <p:cNvSpPr>
            <a:spLocks noChangeShapeType="1"/>
          </p:cNvSpPr>
          <p:nvPr>
            <p:custDataLst>
              <p:tags r:id="rId111"/>
            </p:custDataLst>
          </p:nvPr>
        </p:nvSpPr>
        <p:spPr bwMode="auto">
          <a:xfrm flipV="1">
            <a:off x="15293244" y="8258778"/>
            <a:ext cx="3367" cy="673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s-ES" dirty="0"/>
          </a:p>
        </p:txBody>
      </p:sp>
      <p:sp>
        <p:nvSpPr>
          <p:cNvPr id="735" name="Freeform 185">
            <a:extLst>
              <a:ext uri="{FF2B5EF4-FFF2-40B4-BE49-F238E27FC236}">
                <a16:creationId xmlns:a16="http://schemas.microsoft.com/office/drawing/2014/main" id="{9650D49F-4A23-4DB6-96F4-655419C9D150}"/>
              </a:ext>
            </a:extLst>
          </p:cNvPr>
          <p:cNvSpPr>
            <a:spLocks/>
          </p:cNvSpPr>
          <p:nvPr>
            <p:custDataLst>
              <p:tags r:id="rId112"/>
            </p:custDataLst>
          </p:nvPr>
        </p:nvSpPr>
        <p:spPr bwMode="auto">
          <a:xfrm>
            <a:off x="15259560" y="8225094"/>
            <a:ext cx="3367" cy="33684"/>
          </a:xfrm>
          <a:custGeom>
            <a:avLst/>
            <a:gdLst>
              <a:gd name="T0" fmla="*/ 0 w 1587"/>
              <a:gd name="T1" fmla="*/ 15875 h 31"/>
              <a:gd name="T2" fmla="*/ 0 w 1587"/>
              <a:gd name="T3" fmla="*/ 11266 h 31"/>
              <a:gd name="T4" fmla="*/ 0 w 1587"/>
              <a:gd name="T5" fmla="*/ 7681 h 31"/>
              <a:gd name="T6" fmla="*/ 0 w 1587"/>
              <a:gd name="T7" fmla="*/ 4097 h 31"/>
              <a:gd name="T8" fmla="*/ 0 w 158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31">
                <a:moveTo>
                  <a:pt x="0" y="31"/>
                </a:moveTo>
                <a:lnTo>
                  <a:pt x="0" y="22"/>
                </a:lnTo>
                <a:lnTo>
                  <a:pt x="0" y="15"/>
                </a:lnTo>
                <a:lnTo>
                  <a:pt x="0" y="8"/>
                </a:lnTo>
                <a:lnTo>
                  <a:pt x="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36" name="Freeform 186">
            <a:extLst>
              <a:ext uri="{FF2B5EF4-FFF2-40B4-BE49-F238E27FC236}">
                <a16:creationId xmlns:a16="http://schemas.microsoft.com/office/drawing/2014/main" id="{E93728FF-0838-4691-AF8D-D0EF32961504}"/>
              </a:ext>
            </a:extLst>
          </p:cNvPr>
          <p:cNvSpPr>
            <a:spLocks/>
          </p:cNvSpPr>
          <p:nvPr>
            <p:custDataLst>
              <p:tags r:id="rId113"/>
            </p:custDataLst>
          </p:nvPr>
        </p:nvSpPr>
        <p:spPr bwMode="auto">
          <a:xfrm>
            <a:off x="14666726" y="10323591"/>
            <a:ext cx="205470" cy="185262"/>
          </a:xfrm>
          <a:custGeom>
            <a:avLst/>
            <a:gdLst>
              <a:gd name="T0" fmla="*/ 8177 w 225"/>
              <a:gd name="T1" fmla="*/ 82608 h 167"/>
              <a:gd name="T2" fmla="*/ 3013 w 225"/>
              <a:gd name="T3" fmla="*/ 74242 h 167"/>
              <a:gd name="T4" fmla="*/ 0 w 225"/>
              <a:gd name="T5" fmla="*/ 67968 h 167"/>
              <a:gd name="T6" fmla="*/ 430 w 225"/>
              <a:gd name="T7" fmla="*/ 56466 h 167"/>
              <a:gd name="T8" fmla="*/ 4734 w 225"/>
              <a:gd name="T9" fmla="*/ 35553 h 167"/>
              <a:gd name="T10" fmla="*/ 10329 w 225"/>
              <a:gd name="T11" fmla="*/ 20390 h 167"/>
              <a:gd name="T12" fmla="*/ 14633 w 225"/>
              <a:gd name="T13" fmla="*/ 10979 h 167"/>
              <a:gd name="T14" fmla="*/ 18937 w 225"/>
              <a:gd name="T15" fmla="*/ 4705 h 167"/>
              <a:gd name="T16" fmla="*/ 23241 w 225"/>
              <a:gd name="T17" fmla="*/ 523 h 167"/>
              <a:gd name="T18" fmla="*/ 27975 w 225"/>
              <a:gd name="T19" fmla="*/ 523 h 167"/>
              <a:gd name="T20" fmla="*/ 32709 w 225"/>
              <a:gd name="T21" fmla="*/ 1568 h 167"/>
              <a:gd name="T22" fmla="*/ 37874 w 225"/>
              <a:gd name="T23" fmla="*/ 4183 h 167"/>
              <a:gd name="T24" fmla="*/ 43039 w 225"/>
              <a:gd name="T25" fmla="*/ 8888 h 167"/>
              <a:gd name="T26" fmla="*/ 48203 w 225"/>
              <a:gd name="T27" fmla="*/ 12548 h 167"/>
              <a:gd name="T28" fmla="*/ 55089 w 225"/>
              <a:gd name="T29" fmla="*/ 12548 h 167"/>
              <a:gd name="T30" fmla="*/ 62406 w 225"/>
              <a:gd name="T31" fmla="*/ 9934 h 167"/>
              <a:gd name="T32" fmla="*/ 71014 w 225"/>
              <a:gd name="T33" fmla="*/ 3660 h 167"/>
              <a:gd name="T34" fmla="*/ 96837 w 225"/>
              <a:gd name="T35" fmla="*/ 0 h 167"/>
              <a:gd name="T36" fmla="*/ 92533 w 225"/>
              <a:gd name="T37" fmla="*/ 11502 h 167"/>
              <a:gd name="T38" fmla="*/ 86508 w 225"/>
              <a:gd name="T39" fmla="*/ 21436 h 167"/>
              <a:gd name="T40" fmla="*/ 72305 w 225"/>
              <a:gd name="T41" fmla="*/ 37644 h 167"/>
              <a:gd name="T42" fmla="*/ 59393 w 225"/>
              <a:gd name="T43" fmla="*/ 52283 h 167"/>
              <a:gd name="T44" fmla="*/ 55520 w 225"/>
              <a:gd name="T45" fmla="*/ 59603 h 167"/>
              <a:gd name="T46" fmla="*/ 54229 w 225"/>
              <a:gd name="T47" fmla="*/ 67968 h 167"/>
              <a:gd name="T48" fmla="*/ 52938 w 225"/>
              <a:gd name="T49" fmla="*/ 65877 h 167"/>
              <a:gd name="T50" fmla="*/ 51646 w 225"/>
              <a:gd name="T51" fmla="*/ 61171 h 167"/>
              <a:gd name="T52" fmla="*/ 45621 w 225"/>
              <a:gd name="T53" fmla="*/ 63263 h 167"/>
              <a:gd name="T54" fmla="*/ 41748 w 225"/>
              <a:gd name="T55" fmla="*/ 66923 h 167"/>
              <a:gd name="T56" fmla="*/ 34431 w 225"/>
              <a:gd name="T57" fmla="*/ 75811 h 167"/>
              <a:gd name="T58" fmla="*/ 30557 w 225"/>
              <a:gd name="T59" fmla="*/ 79993 h 167"/>
              <a:gd name="T60" fmla="*/ 25823 w 225"/>
              <a:gd name="T61" fmla="*/ 83653 h 167"/>
              <a:gd name="T62" fmla="*/ 19798 w 225"/>
              <a:gd name="T63" fmla="*/ 86267 h 167"/>
              <a:gd name="T64" fmla="*/ 11190 w 225"/>
              <a:gd name="T65" fmla="*/ 87313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37" name="Freeform 187">
            <a:extLst>
              <a:ext uri="{FF2B5EF4-FFF2-40B4-BE49-F238E27FC236}">
                <a16:creationId xmlns:a16="http://schemas.microsoft.com/office/drawing/2014/main" id="{C8C6EA8F-C500-4A07-B56A-11FCC69C7F94}"/>
              </a:ext>
            </a:extLst>
          </p:cNvPr>
          <p:cNvSpPr>
            <a:spLocks/>
          </p:cNvSpPr>
          <p:nvPr>
            <p:custDataLst>
              <p:tags r:id="rId114"/>
            </p:custDataLst>
          </p:nvPr>
        </p:nvSpPr>
        <p:spPr bwMode="auto">
          <a:xfrm>
            <a:off x="14959774" y="8666350"/>
            <a:ext cx="6737" cy="37053"/>
          </a:xfrm>
          <a:custGeom>
            <a:avLst/>
            <a:gdLst>
              <a:gd name="T0" fmla="*/ 0 w 7"/>
              <a:gd name="T1" fmla="*/ 17463 h 31"/>
              <a:gd name="T2" fmla="*/ 2268 w 7"/>
              <a:gd name="T3" fmla="*/ 12393 h 31"/>
              <a:gd name="T4" fmla="*/ 2721 w 7"/>
              <a:gd name="T5" fmla="*/ 7323 h 31"/>
              <a:gd name="T6" fmla="*/ 3175 w 7"/>
              <a:gd name="T7" fmla="*/ 3380 h 31"/>
              <a:gd name="T8" fmla="*/ 3175 w 7"/>
              <a:gd name="T9" fmla="*/ 0 h 31"/>
              <a:gd name="T10" fmla="*/ 2721 w 7"/>
              <a:gd name="T11" fmla="*/ 3380 h 31"/>
              <a:gd name="T12" fmla="*/ 1814 w 7"/>
              <a:gd name="T13" fmla="*/ 7323 h 31"/>
              <a:gd name="T14" fmla="*/ 454 w 7"/>
              <a:gd name="T15" fmla="*/ 12393 h 31"/>
              <a:gd name="T16" fmla="*/ 0 w 7"/>
              <a:gd name="T17" fmla="*/ 17463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38" name="Freeform 188">
            <a:extLst>
              <a:ext uri="{FF2B5EF4-FFF2-40B4-BE49-F238E27FC236}">
                <a16:creationId xmlns:a16="http://schemas.microsoft.com/office/drawing/2014/main" id="{6EBE4DD6-1732-408C-8B34-A56C8F3DC536}"/>
              </a:ext>
            </a:extLst>
          </p:cNvPr>
          <p:cNvSpPr>
            <a:spLocks/>
          </p:cNvSpPr>
          <p:nvPr>
            <p:custDataLst>
              <p:tags r:id="rId115"/>
            </p:custDataLst>
          </p:nvPr>
        </p:nvSpPr>
        <p:spPr bwMode="auto">
          <a:xfrm>
            <a:off x="14818302" y="8501301"/>
            <a:ext cx="33684" cy="33684"/>
          </a:xfrm>
          <a:custGeom>
            <a:avLst/>
            <a:gdLst>
              <a:gd name="T0" fmla="*/ 15875 w 33"/>
              <a:gd name="T1" fmla="*/ 15875 h 31"/>
              <a:gd name="T2" fmla="*/ 15875 w 33"/>
              <a:gd name="T3" fmla="*/ 0 h 31"/>
              <a:gd name="T4" fmla="*/ 12989 w 33"/>
              <a:gd name="T5" fmla="*/ 0 h 31"/>
              <a:gd name="T6" fmla="*/ 10583 w 33"/>
              <a:gd name="T7" fmla="*/ 1024 h 31"/>
              <a:gd name="T8" fmla="*/ 7697 w 33"/>
              <a:gd name="T9" fmla="*/ 2560 h 31"/>
              <a:gd name="T10" fmla="*/ 5292 w 33"/>
              <a:gd name="T11" fmla="*/ 4097 h 31"/>
              <a:gd name="T12" fmla="*/ 2886 w 33"/>
              <a:gd name="T13" fmla="*/ 6145 h 31"/>
              <a:gd name="T14" fmla="*/ 1443 w 33"/>
              <a:gd name="T15" fmla="*/ 8194 h 31"/>
              <a:gd name="T16" fmla="*/ 481 w 33"/>
              <a:gd name="T17" fmla="*/ 10754 h 31"/>
              <a:gd name="T18" fmla="*/ 0 w 33"/>
              <a:gd name="T19" fmla="*/ 12802 h 31"/>
              <a:gd name="T20" fmla="*/ 481 w 33"/>
              <a:gd name="T21" fmla="*/ 13827 h 31"/>
              <a:gd name="T22" fmla="*/ 1443 w 33"/>
              <a:gd name="T23" fmla="*/ 14851 h 31"/>
              <a:gd name="T24" fmla="*/ 2886 w 33"/>
              <a:gd name="T25" fmla="*/ 15363 h 31"/>
              <a:gd name="T26" fmla="*/ 5292 w 33"/>
              <a:gd name="T27" fmla="*/ 15363 h 31"/>
              <a:gd name="T28" fmla="*/ 10583 w 33"/>
              <a:gd name="T29" fmla="*/ 15875 h 31"/>
              <a:gd name="T30" fmla="*/ 15875 w 33"/>
              <a:gd name="T31" fmla="*/ 15875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39" name="Freeform 189">
            <a:extLst>
              <a:ext uri="{FF2B5EF4-FFF2-40B4-BE49-F238E27FC236}">
                <a16:creationId xmlns:a16="http://schemas.microsoft.com/office/drawing/2014/main" id="{0451BDF7-BFAB-401F-9569-15D3292DCDAB}"/>
              </a:ext>
            </a:extLst>
          </p:cNvPr>
          <p:cNvSpPr>
            <a:spLocks/>
          </p:cNvSpPr>
          <p:nvPr>
            <p:custDataLst>
              <p:tags r:id="rId116"/>
            </p:custDataLst>
          </p:nvPr>
        </p:nvSpPr>
        <p:spPr bwMode="auto">
          <a:xfrm>
            <a:off x="14851986" y="8316039"/>
            <a:ext cx="6737" cy="20210"/>
          </a:xfrm>
          <a:custGeom>
            <a:avLst/>
            <a:gdLst>
              <a:gd name="T0" fmla="*/ 0 w 13"/>
              <a:gd name="T1" fmla="*/ 9525 h 19"/>
              <a:gd name="T2" fmla="*/ 488 w 13"/>
              <a:gd name="T3" fmla="*/ 9024 h 19"/>
              <a:gd name="T4" fmla="*/ 1221 w 13"/>
              <a:gd name="T5" fmla="*/ 8522 h 19"/>
              <a:gd name="T6" fmla="*/ 1710 w 13"/>
              <a:gd name="T7" fmla="*/ 7520 h 19"/>
              <a:gd name="T8" fmla="*/ 1954 w 13"/>
              <a:gd name="T9" fmla="*/ 6016 h 19"/>
              <a:gd name="T10" fmla="*/ 2931 w 13"/>
              <a:gd name="T11" fmla="*/ 3008 h 19"/>
              <a:gd name="T12" fmla="*/ 3175 w 13"/>
              <a:gd name="T13" fmla="*/ 0 h 19"/>
              <a:gd name="T14" fmla="*/ 0 w 13"/>
              <a:gd name="T15" fmla="*/ 9525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40" name="Freeform 190">
            <a:extLst>
              <a:ext uri="{FF2B5EF4-FFF2-40B4-BE49-F238E27FC236}">
                <a16:creationId xmlns:a16="http://schemas.microsoft.com/office/drawing/2014/main" id="{1C005B7C-EEF5-480E-876F-F02A8FEB2116}"/>
              </a:ext>
            </a:extLst>
          </p:cNvPr>
          <p:cNvSpPr>
            <a:spLocks/>
          </p:cNvSpPr>
          <p:nvPr>
            <p:custDataLst>
              <p:tags r:id="rId117"/>
            </p:custDataLst>
          </p:nvPr>
        </p:nvSpPr>
        <p:spPr bwMode="auto">
          <a:xfrm>
            <a:off x="14511781" y="8322776"/>
            <a:ext cx="77472" cy="47157"/>
          </a:xfrm>
          <a:custGeom>
            <a:avLst/>
            <a:gdLst>
              <a:gd name="T0" fmla="*/ 22663 w 87"/>
              <a:gd name="T1" fmla="*/ 22225 h 42"/>
              <a:gd name="T2" fmla="*/ 24761 w 87"/>
              <a:gd name="T3" fmla="*/ 22225 h 42"/>
              <a:gd name="T4" fmla="*/ 26859 w 87"/>
              <a:gd name="T5" fmla="*/ 21696 h 42"/>
              <a:gd name="T6" fmla="*/ 28538 w 87"/>
              <a:gd name="T7" fmla="*/ 21167 h 42"/>
              <a:gd name="T8" fmla="*/ 29797 w 87"/>
              <a:gd name="T9" fmla="*/ 20108 h 42"/>
              <a:gd name="T10" fmla="*/ 31476 w 87"/>
              <a:gd name="T11" fmla="*/ 17992 h 42"/>
              <a:gd name="T12" fmla="*/ 32735 w 87"/>
              <a:gd name="T13" fmla="*/ 14817 h 42"/>
              <a:gd name="T14" fmla="*/ 33155 w 87"/>
              <a:gd name="T15" fmla="*/ 11642 h 42"/>
              <a:gd name="T16" fmla="*/ 33574 w 87"/>
              <a:gd name="T17" fmla="*/ 8467 h 42"/>
              <a:gd name="T18" fmla="*/ 34414 w 87"/>
              <a:gd name="T19" fmla="*/ 5821 h 42"/>
              <a:gd name="T20" fmla="*/ 36512 w 87"/>
              <a:gd name="T21" fmla="*/ 3175 h 42"/>
              <a:gd name="T22" fmla="*/ 32315 w 87"/>
              <a:gd name="T23" fmla="*/ 1058 h 42"/>
              <a:gd name="T24" fmla="*/ 28118 w 87"/>
              <a:gd name="T25" fmla="*/ 0 h 42"/>
              <a:gd name="T26" fmla="*/ 23922 w 87"/>
              <a:gd name="T27" fmla="*/ 0 h 42"/>
              <a:gd name="T28" fmla="*/ 19725 w 87"/>
              <a:gd name="T29" fmla="*/ 0 h 42"/>
              <a:gd name="T30" fmla="*/ 16787 w 87"/>
              <a:gd name="T31" fmla="*/ 0 h 42"/>
              <a:gd name="T32" fmla="*/ 13430 w 87"/>
              <a:gd name="T33" fmla="*/ 1058 h 42"/>
              <a:gd name="T34" fmla="*/ 10492 w 87"/>
              <a:gd name="T35" fmla="*/ 2117 h 42"/>
              <a:gd name="T36" fmla="*/ 7974 w 87"/>
              <a:gd name="T37" fmla="*/ 3175 h 42"/>
              <a:gd name="T38" fmla="*/ 3357 w 87"/>
              <a:gd name="T39" fmla="*/ 6350 h 42"/>
              <a:gd name="T40" fmla="*/ 0 w 87"/>
              <a:gd name="T41" fmla="*/ 9525 h 42"/>
              <a:gd name="T42" fmla="*/ 4616 w 87"/>
              <a:gd name="T43" fmla="*/ 12700 h 42"/>
              <a:gd name="T44" fmla="*/ 11331 w 87"/>
              <a:gd name="T45" fmla="*/ 16933 h 42"/>
              <a:gd name="T46" fmla="*/ 18046 w 87"/>
              <a:gd name="T47" fmla="*/ 20638 h 42"/>
              <a:gd name="T48" fmla="*/ 22663 w 87"/>
              <a:gd name="T49" fmla="*/ 22225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41" name="Freeform 191">
            <a:extLst>
              <a:ext uri="{FF2B5EF4-FFF2-40B4-BE49-F238E27FC236}">
                <a16:creationId xmlns:a16="http://schemas.microsoft.com/office/drawing/2014/main" id="{F9F2B556-94D2-48ED-8F5E-BB288C0BFDE7}"/>
              </a:ext>
            </a:extLst>
          </p:cNvPr>
          <p:cNvSpPr>
            <a:spLocks/>
          </p:cNvSpPr>
          <p:nvPr>
            <p:custDataLst>
              <p:tags r:id="rId118"/>
            </p:custDataLst>
          </p:nvPr>
        </p:nvSpPr>
        <p:spPr bwMode="auto">
          <a:xfrm>
            <a:off x="15030511" y="9306342"/>
            <a:ext cx="3367" cy="30316"/>
          </a:xfrm>
          <a:custGeom>
            <a:avLst/>
            <a:gdLst>
              <a:gd name="T0" fmla="*/ 0 w 7"/>
              <a:gd name="T1" fmla="*/ 0 h 31"/>
              <a:gd name="T2" fmla="*/ 1587 w 7"/>
              <a:gd name="T3" fmla="*/ 0 h 31"/>
              <a:gd name="T4" fmla="*/ 1587 w 7"/>
              <a:gd name="T5" fmla="*/ 8296 h 31"/>
              <a:gd name="T6" fmla="*/ 0 w 7"/>
              <a:gd name="T7" fmla="*/ 14288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42" name="Freeform 192">
            <a:extLst>
              <a:ext uri="{FF2B5EF4-FFF2-40B4-BE49-F238E27FC236}">
                <a16:creationId xmlns:a16="http://schemas.microsoft.com/office/drawing/2014/main" id="{9044CACD-C582-46DC-A904-0618E597C215}"/>
              </a:ext>
            </a:extLst>
          </p:cNvPr>
          <p:cNvSpPr>
            <a:spLocks/>
          </p:cNvSpPr>
          <p:nvPr>
            <p:custDataLst>
              <p:tags r:id="rId119"/>
            </p:custDataLst>
          </p:nvPr>
        </p:nvSpPr>
        <p:spPr bwMode="auto">
          <a:xfrm>
            <a:off x="13410321" y="8258778"/>
            <a:ext cx="2162497" cy="1926711"/>
          </a:xfrm>
          <a:custGeom>
            <a:avLst/>
            <a:gdLst>
              <a:gd name="T0" fmla="*/ 93526 w 2332"/>
              <a:gd name="T1" fmla="*/ 370879 h 1731"/>
              <a:gd name="T2" fmla="*/ 142038 w 2332"/>
              <a:gd name="T3" fmla="*/ 340453 h 1731"/>
              <a:gd name="T4" fmla="*/ 190112 w 2332"/>
              <a:gd name="T5" fmla="*/ 317896 h 1731"/>
              <a:gd name="T6" fmla="*/ 264409 w 2332"/>
              <a:gd name="T7" fmla="*/ 299011 h 1731"/>
              <a:gd name="T8" fmla="*/ 295875 w 2332"/>
              <a:gd name="T9" fmla="*/ 229242 h 1731"/>
              <a:gd name="T10" fmla="*/ 331276 w 2332"/>
              <a:gd name="T11" fmla="*/ 230291 h 1731"/>
              <a:gd name="T12" fmla="*/ 342639 w 2332"/>
              <a:gd name="T13" fmla="*/ 190423 h 1731"/>
              <a:gd name="T14" fmla="*/ 378476 w 2332"/>
              <a:gd name="T15" fmla="*/ 165768 h 1731"/>
              <a:gd name="T16" fmla="*/ 410380 w 2332"/>
              <a:gd name="T17" fmla="*/ 129047 h 1731"/>
              <a:gd name="T18" fmla="*/ 448839 w 2332"/>
              <a:gd name="T19" fmla="*/ 116982 h 1731"/>
              <a:gd name="T20" fmla="*/ 471128 w 2332"/>
              <a:gd name="T21" fmla="*/ 148981 h 1731"/>
              <a:gd name="T22" fmla="*/ 496039 w 2332"/>
              <a:gd name="T23" fmla="*/ 141637 h 1731"/>
              <a:gd name="T24" fmla="*/ 513958 w 2332"/>
              <a:gd name="T25" fmla="*/ 90228 h 1731"/>
              <a:gd name="T26" fmla="*/ 576892 w 2332"/>
              <a:gd name="T27" fmla="*/ 61376 h 1731"/>
              <a:gd name="T28" fmla="*/ 583884 w 2332"/>
              <a:gd name="T29" fmla="*/ 21508 h 1731"/>
              <a:gd name="T30" fmla="*/ 625840 w 2332"/>
              <a:gd name="T31" fmla="*/ 56130 h 1731"/>
              <a:gd name="T32" fmla="*/ 674788 w 2332"/>
              <a:gd name="T33" fmla="*/ 61376 h 1731"/>
              <a:gd name="T34" fmla="*/ 640262 w 2332"/>
              <a:gd name="T35" fmla="*/ 137440 h 1731"/>
              <a:gd name="T36" fmla="*/ 659492 w 2332"/>
              <a:gd name="T37" fmla="*/ 174686 h 1731"/>
              <a:gd name="T38" fmla="*/ 691396 w 2332"/>
              <a:gd name="T39" fmla="*/ 185702 h 1731"/>
              <a:gd name="T40" fmla="*/ 728981 w 2332"/>
              <a:gd name="T41" fmla="*/ 221898 h 1731"/>
              <a:gd name="T42" fmla="*/ 770937 w 2332"/>
              <a:gd name="T43" fmla="*/ 216652 h 1731"/>
              <a:gd name="T44" fmla="*/ 799781 w 2332"/>
              <a:gd name="T45" fmla="*/ 107539 h 1731"/>
              <a:gd name="T46" fmla="*/ 832122 w 2332"/>
              <a:gd name="T47" fmla="*/ 5246 h 1731"/>
              <a:gd name="T48" fmla="*/ 844796 w 2332"/>
              <a:gd name="T49" fmla="*/ 41966 h 1731"/>
              <a:gd name="T50" fmla="*/ 849604 w 2332"/>
              <a:gd name="T51" fmla="*/ 92326 h 1731"/>
              <a:gd name="T52" fmla="*/ 867959 w 2332"/>
              <a:gd name="T53" fmla="*/ 125899 h 1731"/>
              <a:gd name="T54" fmla="*/ 891560 w 2332"/>
              <a:gd name="T55" fmla="*/ 225045 h 1731"/>
              <a:gd name="T56" fmla="*/ 912975 w 2332"/>
              <a:gd name="T57" fmla="*/ 283274 h 1731"/>
              <a:gd name="T58" fmla="*/ 945315 w 2332"/>
              <a:gd name="T59" fmla="*/ 359863 h 1731"/>
              <a:gd name="T60" fmla="*/ 969790 w 2332"/>
              <a:gd name="T61" fmla="*/ 403403 h 1731"/>
              <a:gd name="T62" fmla="*/ 1019175 w 2332"/>
              <a:gd name="T63" fmla="*/ 467926 h 1731"/>
              <a:gd name="T64" fmla="*/ 994701 w 2332"/>
              <a:gd name="T65" fmla="*/ 579662 h 1731"/>
              <a:gd name="T66" fmla="*/ 912100 w 2332"/>
              <a:gd name="T67" fmla="*/ 714480 h 1731"/>
              <a:gd name="T68" fmla="*/ 876263 w 2332"/>
              <a:gd name="T69" fmla="*/ 751200 h 1731"/>
              <a:gd name="T70" fmla="*/ 803278 w 2332"/>
              <a:gd name="T71" fmla="*/ 834609 h 1731"/>
              <a:gd name="T72" fmla="*/ 764381 w 2332"/>
              <a:gd name="T73" fmla="*/ 879198 h 1731"/>
              <a:gd name="T74" fmla="*/ 694455 w 2332"/>
              <a:gd name="T75" fmla="*/ 905427 h 1731"/>
              <a:gd name="T76" fmla="*/ 662988 w 2332"/>
              <a:gd name="T77" fmla="*/ 888116 h 1731"/>
              <a:gd name="T78" fmla="*/ 616225 w 2332"/>
              <a:gd name="T79" fmla="*/ 907001 h 1731"/>
              <a:gd name="T80" fmla="*/ 566840 w 2332"/>
              <a:gd name="T81" fmla="*/ 888116 h 1731"/>
              <a:gd name="T82" fmla="*/ 558973 w 2332"/>
              <a:gd name="T83" fmla="*/ 846674 h 1731"/>
              <a:gd name="T84" fmla="*/ 551980 w 2332"/>
              <a:gd name="T85" fmla="*/ 795265 h 1731"/>
              <a:gd name="T86" fmla="*/ 535373 w 2332"/>
              <a:gd name="T87" fmla="*/ 786872 h 1731"/>
              <a:gd name="T88" fmla="*/ 559410 w 2332"/>
              <a:gd name="T89" fmla="*/ 724971 h 1731"/>
              <a:gd name="T90" fmla="*/ 475498 w 2332"/>
              <a:gd name="T91" fmla="*/ 714480 h 1731"/>
              <a:gd name="T92" fmla="*/ 419995 w 2332"/>
              <a:gd name="T93" fmla="*/ 672513 h 1731"/>
              <a:gd name="T94" fmla="*/ 329527 w 2332"/>
              <a:gd name="T95" fmla="*/ 694021 h 1731"/>
              <a:gd name="T96" fmla="*/ 221579 w 2332"/>
              <a:gd name="T97" fmla="*/ 744381 h 1731"/>
              <a:gd name="T98" fmla="*/ 93526 w 2332"/>
              <a:gd name="T99" fmla="*/ 772708 h 1731"/>
              <a:gd name="T100" fmla="*/ 24037 w 2332"/>
              <a:gd name="T101" fmla="*/ 781626 h 1731"/>
              <a:gd name="T102" fmla="*/ 874 w 2332"/>
              <a:gd name="T103" fmla="*/ 746479 h 1731"/>
              <a:gd name="T104" fmla="*/ 42393 w 2332"/>
              <a:gd name="T105" fmla="*/ 705037 h 1731"/>
              <a:gd name="T106" fmla="*/ 32778 w 2332"/>
              <a:gd name="T107" fmla="*/ 651005 h 1731"/>
              <a:gd name="T108" fmla="*/ 49385 w 2332"/>
              <a:gd name="T109" fmla="*/ 613760 h 1731"/>
              <a:gd name="T110" fmla="*/ 25348 w 2332"/>
              <a:gd name="T111" fmla="*/ 494680 h 1731"/>
              <a:gd name="T112" fmla="*/ 49385 w 2332"/>
              <a:gd name="T113" fmla="*/ 505696 h 1731"/>
              <a:gd name="T114" fmla="*/ 46326 w 2332"/>
              <a:gd name="T115" fmla="*/ 452189 h 1731"/>
              <a:gd name="T116" fmla="*/ 64245 w 2332"/>
              <a:gd name="T117" fmla="*/ 401305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43" name="Freeform 193">
            <a:extLst>
              <a:ext uri="{FF2B5EF4-FFF2-40B4-BE49-F238E27FC236}">
                <a16:creationId xmlns:a16="http://schemas.microsoft.com/office/drawing/2014/main" id="{5303D37F-161F-4055-8242-53290B8D885F}"/>
              </a:ext>
            </a:extLst>
          </p:cNvPr>
          <p:cNvSpPr>
            <a:spLocks/>
          </p:cNvSpPr>
          <p:nvPr>
            <p:custDataLst>
              <p:tags r:id="rId120"/>
            </p:custDataLst>
          </p:nvPr>
        </p:nvSpPr>
        <p:spPr bwMode="auto">
          <a:xfrm>
            <a:off x="1711955" y="5429343"/>
            <a:ext cx="1418085" cy="1232825"/>
          </a:xfrm>
          <a:custGeom>
            <a:avLst/>
            <a:gdLst>
              <a:gd name="T0" fmla="*/ 541201 w 1535"/>
              <a:gd name="T1" fmla="*/ 484624 h 1109"/>
              <a:gd name="T2" fmla="*/ 565583 w 1535"/>
              <a:gd name="T3" fmla="*/ 514487 h 1109"/>
              <a:gd name="T4" fmla="*/ 531186 w 1535"/>
              <a:gd name="T5" fmla="*/ 523394 h 1109"/>
              <a:gd name="T6" fmla="*/ 512464 w 1535"/>
              <a:gd name="T7" fmla="*/ 573690 h 1109"/>
              <a:gd name="T8" fmla="*/ 463700 w 1535"/>
              <a:gd name="T9" fmla="*/ 527061 h 1109"/>
              <a:gd name="T10" fmla="*/ 432786 w 1535"/>
              <a:gd name="T11" fmla="*/ 530205 h 1109"/>
              <a:gd name="T12" fmla="*/ 397519 w 1535"/>
              <a:gd name="T13" fmla="*/ 544351 h 1109"/>
              <a:gd name="T14" fmla="*/ 342223 w 1535"/>
              <a:gd name="T15" fmla="*/ 508724 h 1109"/>
              <a:gd name="T16" fmla="*/ 282138 w 1535"/>
              <a:gd name="T17" fmla="*/ 480433 h 1109"/>
              <a:gd name="T18" fmla="*/ 256014 w 1535"/>
              <a:gd name="T19" fmla="*/ 462620 h 1109"/>
              <a:gd name="T20" fmla="*/ 233809 w 1535"/>
              <a:gd name="T21" fmla="*/ 437471 h 1109"/>
              <a:gd name="T22" fmla="*/ 211168 w 1535"/>
              <a:gd name="T23" fmla="*/ 432756 h 1109"/>
              <a:gd name="T24" fmla="*/ 191140 w 1535"/>
              <a:gd name="T25" fmla="*/ 396606 h 1109"/>
              <a:gd name="T26" fmla="*/ 203331 w 1535"/>
              <a:gd name="T27" fmla="*/ 369362 h 1109"/>
              <a:gd name="T28" fmla="*/ 195929 w 1535"/>
              <a:gd name="T29" fmla="*/ 314875 h 1109"/>
              <a:gd name="T30" fmla="*/ 153260 w 1535"/>
              <a:gd name="T31" fmla="*/ 245194 h 1109"/>
              <a:gd name="T32" fmla="*/ 132361 w 1535"/>
              <a:gd name="T33" fmla="*/ 223189 h 1109"/>
              <a:gd name="T34" fmla="*/ 127572 w 1535"/>
              <a:gd name="T35" fmla="*/ 193326 h 1109"/>
              <a:gd name="T36" fmla="*/ 94482 w 1535"/>
              <a:gd name="T37" fmla="*/ 129932 h 1109"/>
              <a:gd name="T38" fmla="*/ 72712 w 1535"/>
              <a:gd name="T39" fmla="*/ 38770 h 1109"/>
              <a:gd name="T40" fmla="*/ 36573 w 1535"/>
              <a:gd name="T41" fmla="*/ 54487 h 1109"/>
              <a:gd name="T42" fmla="*/ 49200 w 1535"/>
              <a:gd name="T43" fmla="*/ 116310 h 1109"/>
              <a:gd name="T44" fmla="*/ 65310 w 1535"/>
              <a:gd name="T45" fmla="*/ 170797 h 1109"/>
              <a:gd name="T46" fmla="*/ 85338 w 1535"/>
              <a:gd name="T47" fmla="*/ 210615 h 1109"/>
              <a:gd name="T48" fmla="*/ 87080 w 1535"/>
              <a:gd name="T49" fmla="*/ 243622 h 1109"/>
              <a:gd name="T50" fmla="*/ 92740 w 1535"/>
              <a:gd name="T51" fmla="*/ 274533 h 1109"/>
              <a:gd name="T52" fmla="*/ 112768 w 1535"/>
              <a:gd name="T53" fmla="*/ 299157 h 1109"/>
              <a:gd name="T54" fmla="*/ 93175 w 1535"/>
              <a:gd name="T55" fmla="*/ 312255 h 1109"/>
              <a:gd name="T56" fmla="*/ 84032 w 1535"/>
              <a:gd name="T57" fmla="*/ 283964 h 1109"/>
              <a:gd name="T58" fmla="*/ 52248 w 1535"/>
              <a:gd name="T59" fmla="*/ 248337 h 1109"/>
              <a:gd name="T60" fmla="*/ 63568 w 1535"/>
              <a:gd name="T61" fmla="*/ 220046 h 1109"/>
              <a:gd name="T62" fmla="*/ 38750 w 1535"/>
              <a:gd name="T63" fmla="*/ 191754 h 1109"/>
              <a:gd name="T64" fmla="*/ 11756 w 1535"/>
              <a:gd name="T65" fmla="*/ 160843 h 1109"/>
              <a:gd name="T66" fmla="*/ 28301 w 1535"/>
              <a:gd name="T67" fmla="*/ 151412 h 1109"/>
              <a:gd name="T68" fmla="*/ 27866 w 1535"/>
              <a:gd name="T69" fmla="*/ 117882 h 1109"/>
              <a:gd name="T70" fmla="*/ 2612 w 1535"/>
              <a:gd name="T71" fmla="*/ 61298 h 1109"/>
              <a:gd name="T72" fmla="*/ 16545 w 1535"/>
              <a:gd name="T73" fmla="*/ 2620 h 1109"/>
              <a:gd name="T74" fmla="*/ 91869 w 1535"/>
              <a:gd name="T75" fmla="*/ 9431 h 1109"/>
              <a:gd name="T76" fmla="*/ 157179 w 1535"/>
              <a:gd name="T77" fmla="*/ 39818 h 1109"/>
              <a:gd name="T78" fmla="*/ 216829 w 1535"/>
              <a:gd name="T79" fmla="*/ 28815 h 1109"/>
              <a:gd name="T80" fmla="*/ 258191 w 1535"/>
              <a:gd name="T81" fmla="*/ 28292 h 1109"/>
              <a:gd name="T82" fmla="*/ 275607 w 1535"/>
              <a:gd name="T83" fmla="*/ 57631 h 1109"/>
              <a:gd name="T84" fmla="*/ 304779 w 1535"/>
              <a:gd name="T85" fmla="*/ 112642 h 1109"/>
              <a:gd name="T86" fmla="*/ 326549 w 1535"/>
              <a:gd name="T87" fmla="*/ 100592 h 1109"/>
              <a:gd name="T88" fmla="*/ 357898 w 1535"/>
              <a:gd name="T89" fmla="*/ 92210 h 1109"/>
              <a:gd name="T90" fmla="*/ 382715 w 1535"/>
              <a:gd name="T91" fmla="*/ 127836 h 1109"/>
              <a:gd name="T92" fmla="*/ 394036 w 1535"/>
              <a:gd name="T93" fmla="*/ 189658 h 1109"/>
              <a:gd name="T94" fmla="*/ 419724 w 1535"/>
              <a:gd name="T95" fmla="*/ 212187 h 1109"/>
              <a:gd name="T96" fmla="*/ 425385 w 1535"/>
              <a:gd name="T97" fmla="*/ 238907 h 1109"/>
              <a:gd name="T98" fmla="*/ 405356 w 1535"/>
              <a:gd name="T99" fmla="*/ 257768 h 1109"/>
              <a:gd name="T100" fmla="*/ 399261 w 1535"/>
              <a:gd name="T101" fmla="*/ 332164 h 1109"/>
              <a:gd name="T102" fmla="*/ 416241 w 1535"/>
              <a:gd name="T103" fmla="*/ 414419 h 1109"/>
              <a:gd name="T104" fmla="*/ 458910 w 1535"/>
              <a:gd name="T105" fmla="*/ 459476 h 1109"/>
              <a:gd name="T106" fmla="*/ 507675 w 1535"/>
              <a:gd name="T107" fmla="*/ 444806 h 1109"/>
              <a:gd name="T108" fmla="*/ 543813 w 1535"/>
              <a:gd name="T109" fmla="*/ 445330 h 1109"/>
              <a:gd name="T110" fmla="*/ 564277 w 1535"/>
              <a:gd name="T111" fmla="*/ 388747 h 1109"/>
              <a:gd name="T112" fmla="*/ 581693 w 1535"/>
              <a:gd name="T113" fmla="*/ 363075 h 1109"/>
              <a:gd name="T114" fmla="*/ 655710 w 1535"/>
              <a:gd name="T115" fmla="*/ 355216 h 1109"/>
              <a:gd name="T116" fmla="*/ 654404 w 1535"/>
              <a:gd name="T117" fmla="*/ 381936 h 1109"/>
              <a:gd name="T118" fmla="*/ 639165 w 1535"/>
              <a:gd name="T119" fmla="*/ 430137 h 1109"/>
              <a:gd name="T120" fmla="*/ 596061 w 1535"/>
              <a:gd name="T121" fmla="*/ 465239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744" name="Freeform 194">
            <a:extLst>
              <a:ext uri="{FF2B5EF4-FFF2-40B4-BE49-F238E27FC236}">
                <a16:creationId xmlns:a16="http://schemas.microsoft.com/office/drawing/2014/main" id="{21EC94A2-D6B2-48B9-B225-3F8549CEC7D3}"/>
              </a:ext>
            </a:extLst>
          </p:cNvPr>
          <p:cNvSpPr>
            <a:spLocks/>
          </p:cNvSpPr>
          <p:nvPr>
            <p:custDataLst>
              <p:tags r:id="rId121"/>
            </p:custDataLst>
          </p:nvPr>
        </p:nvSpPr>
        <p:spPr bwMode="auto">
          <a:xfrm>
            <a:off x="4416759" y="8908873"/>
            <a:ext cx="447995" cy="562520"/>
          </a:xfrm>
          <a:custGeom>
            <a:avLst/>
            <a:gdLst>
              <a:gd name="T0" fmla="*/ 6082 w 486"/>
              <a:gd name="T1" fmla="*/ 92396 h 505"/>
              <a:gd name="T2" fmla="*/ 13468 w 486"/>
              <a:gd name="T3" fmla="*/ 103945 h 505"/>
              <a:gd name="T4" fmla="*/ 22156 w 486"/>
              <a:gd name="T5" fmla="*/ 121794 h 505"/>
              <a:gd name="T6" fmla="*/ 35624 w 486"/>
              <a:gd name="T7" fmla="*/ 139644 h 505"/>
              <a:gd name="T8" fmla="*/ 54739 w 486"/>
              <a:gd name="T9" fmla="*/ 153818 h 505"/>
              <a:gd name="T10" fmla="*/ 73855 w 486"/>
              <a:gd name="T11" fmla="*/ 162743 h 505"/>
              <a:gd name="T12" fmla="*/ 106872 w 486"/>
              <a:gd name="T13" fmla="*/ 172192 h 505"/>
              <a:gd name="T14" fmla="*/ 128160 w 486"/>
              <a:gd name="T15" fmla="*/ 180592 h 505"/>
              <a:gd name="T16" fmla="*/ 129898 w 486"/>
              <a:gd name="T17" fmla="*/ 200016 h 505"/>
              <a:gd name="T18" fmla="*/ 120340 w 486"/>
              <a:gd name="T19" fmla="*/ 219440 h 505"/>
              <a:gd name="T20" fmla="*/ 115996 w 486"/>
              <a:gd name="T21" fmla="*/ 232564 h 505"/>
              <a:gd name="T22" fmla="*/ 115561 w 486"/>
              <a:gd name="T23" fmla="*/ 243064 h 505"/>
              <a:gd name="T24" fmla="*/ 120774 w 486"/>
              <a:gd name="T25" fmla="*/ 253039 h 505"/>
              <a:gd name="T26" fmla="*/ 129898 w 486"/>
              <a:gd name="T27" fmla="*/ 259338 h 505"/>
              <a:gd name="T28" fmla="*/ 149447 w 486"/>
              <a:gd name="T29" fmla="*/ 264588 h 505"/>
              <a:gd name="T30" fmla="*/ 168128 w 486"/>
              <a:gd name="T31" fmla="*/ 264588 h 505"/>
              <a:gd name="T32" fmla="*/ 180293 w 486"/>
              <a:gd name="T33" fmla="*/ 259338 h 505"/>
              <a:gd name="T34" fmla="*/ 193760 w 486"/>
              <a:gd name="T35" fmla="*/ 248839 h 505"/>
              <a:gd name="T36" fmla="*/ 205490 w 486"/>
              <a:gd name="T37" fmla="*/ 234664 h 505"/>
              <a:gd name="T38" fmla="*/ 210704 w 486"/>
              <a:gd name="T39" fmla="*/ 219440 h 505"/>
              <a:gd name="T40" fmla="*/ 210269 w 486"/>
              <a:gd name="T41" fmla="*/ 208416 h 505"/>
              <a:gd name="T42" fmla="*/ 207662 w 486"/>
              <a:gd name="T43" fmla="*/ 187941 h 505"/>
              <a:gd name="T44" fmla="*/ 204621 w 486"/>
              <a:gd name="T45" fmla="*/ 165892 h 505"/>
              <a:gd name="T46" fmla="*/ 202015 w 486"/>
              <a:gd name="T47" fmla="*/ 141744 h 505"/>
              <a:gd name="T48" fmla="*/ 198105 w 486"/>
              <a:gd name="T49" fmla="*/ 132294 h 505"/>
              <a:gd name="T50" fmla="*/ 190719 w 486"/>
              <a:gd name="T51" fmla="*/ 125469 h 505"/>
              <a:gd name="T52" fmla="*/ 179424 w 486"/>
              <a:gd name="T53" fmla="*/ 121794 h 505"/>
              <a:gd name="T54" fmla="*/ 170301 w 486"/>
              <a:gd name="T55" fmla="*/ 116545 h 505"/>
              <a:gd name="T56" fmla="*/ 160743 w 486"/>
              <a:gd name="T57" fmla="*/ 108670 h 505"/>
              <a:gd name="T58" fmla="*/ 143365 w 486"/>
              <a:gd name="T59" fmla="*/ 98696 h 505"/>
              <a:gd name="T60" fmla="*/ 125988 w 486"/>
              <a:gd name="T61" fmla="*/ 90296 h 505"/>
              <a:gd name="T62" fmla="*/ 118602 w 486"/>
              <a:gd name="T63" fmla="*/ 83996 h 505"/>
              <a:gd name="T64" fmla="*/ 114692 w 486"/>
              <a:gd name="T65" fmla="*/ 79271 h 505"/>
              <a:gd name="T66" fmla="*/ 113389 w 486"/>
              <a:gd name="T67" fmla="*/ 65622 h 505"/>
              <a:gd name="T68" fmla="*/ 113389 w 486"/>
              <a:gd name="T69" fmla="*/ 47248 h 505"/>
              <a:gd name="T70" fmla="*/ 110782 w 486"/>
              <a:gd name="T71" fmla="*/ 37273 h 505"/>
              <a:gd name="T72" fmla="*/ 104700 w 486"/>
              <a:gd name="T73" fmla="*/ 28874 h 505"/>
              <a:gd name="T74" fmla="*/ 101659 w 486"/>
              <a:gd name="T75" fmla="*/ 19424 h 505"/>
              <a:gd name="T76" fmla="*/ 86454 w 486"/>
              <a:gd name="T77" fmla="*/ 6300 h 505"/>
              <a:gd name="T78" fmla="*/ 80806 w 486"/>
              <a:gd name="T79" fmla="*/ 4200 h 505"/>
              <a:gd name="T80" fmla="*/ 75158 w 486"/>
              <a:gd name="T81" fmla="*/ 1050 h 505"/>
              <a:gd name="T82" fmla="*/ 60387 w 486"/>
              <a:gd name="T83" fmla="*/ 525 h 505"/>
              <a:gd name="T84" fmla="*/ 30411 w 486"/>
              <a:gd name="T85" fmla="*/ 5775 h 505"/>
              <a:gd name="T86" fmla="*/ 18246 w 486"/>
              <a:gd name="T87" fmla="*/ 11025 h 505"/>
              <a:gd name="T88" fmla="*/ 10427 w 486"/>
              <a:gd name="T89" fmla="*/ 19424 h 505"/>
              <a:gd name="T90" fmla="*/ 8689 w 486"/>
              <a:gd name="T91" fmla="*/ 33598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745" name="Freeform 195">
            <a:extLst>
              <a:ext uri="{FF2B5EF4-FFF2-40B4-BE49-F238E27FC236}">
                <a16:creationId xmlns:a16="http://schemas.microsoft.com/office/drawing/2014/main" id="{CC97F20A-0C06-42F0-9C1B-9FFD686FE83F}"/>
              </a:ext>
            </a:extLst>
          </p:cNvPr>
          <p:cNvSpPr>
            <a:spLocks/>
          </p:cNvSpPr>
          <p:nvPr>
            <p:custDataLst>
              <p:tags r:id="rId122"/>
            </p:custDataLst>
          </p:nvPr>
        </p:nvSpPr>
        <p:spPr bwMode="auto">
          <a:xfrm>
            <a:off x="4777177" y="7221318"/>
            <a:ext cx="154945" cy="232417"/>
          </a:xfrm>
          <a:custGeom>
            <a:avLst/>
            <a:gdLst>
              <a:gd name="T0" fmla="*/ 3079 w 166"/>
              <a:gd name="T1" fmla="*/ 96371 h 208"/>
              <a:gd name="T2" fmla="*/ 34753 w 166"/>
              <a:gd name="T3" fmla="*/ 109537 h 208"/>
              <a:gd name="T4" fmla="*/ 37392 w 166"/>
              <a:gd name="T5" fmla="*/ 109010 h 208"/>
              <a:gd name="T6" fmla="*/ 39592 w 166"/>
              <a:gd name="T7" fmla="*/ 107431 h 208"/>
              <a:gd name="T8" fmla="*/ 42671 w 166"/>
              <a:gd name="T9" fmla="*/ 104271 h 208"/>
              <a:gd name="T10" fmla="*/ 45751 w 166"/>
              <a:gd name="T11" fmla="*/ 101111 h 208"/>
              <a:gd name="T12" fmla="*/ 51469 w 166"/>
              <a:gd name="T13" fmla="*/ 92685 h 208"/>
              <a:gd name="T14" fmla="*/ 57188 w 166"/>
              <a:gd name="T15" fmla="*/ 83206 h 208"/>
              <a:gd name="T16" fmla="*/ 67746 w 166"/>
              <a:gd name="T17" fmla="*/ 64248 h 208"/>
              <a:gd name="T18" fmla="*/ 73025 w 166"/>
              <a:gd name="T19" fmla="*/ 54242 h 208"/>
              <a:gd name="T20" fmla="*/ 63347 w 166"/>
              <a:gd name="T21" fmla="*/ 49502 h 208"/>
              <a:gd name="T22" fmla="*/ 55429 w 166"/>
              <a:gd name="T23" fmla="*/ 44236 h 208"/>
              <a:gd name="T24" fmla="*/ 47510 w 166"/>
              <a:gd name="T25" fmla="*/ 38970 h 208"/>
              <a:gd name="T26" fmla="*/ 40912 w 166"/>
              <a:gd name="T27" fmla="*/ 33704 h 208"/>
              <a:gd name="T28" fmla="*/ 37832 w 166"/>
              <a:gd name="T29" fmla="*/ 30544 h 208"/>
              <a:gd name="T30" fmla="*/ 35633 w 166"/>
              <a:gd name="T31" fmla="*/ 27911 h 208"/>
              <a:gd name="T32" fmla="*/ 32993 w 166"/>
              <a:gd name="T33" fmla="*/ 24751 h 208"/>
              <a:gd name="T34" fmla="*/ 31234 w 166"/>
              <a:gd name="T35" fmla="*/ 21065 h 208"/>
              <a:gd name="T36" fmla="*/ 29474 w 166"/>
              <a:gd name="T37" fmla="*/ 17378 h 208"/>
              <a:gd name="T38" fmla="*/ 28154 w 166"/>
              <a:gd name="T39" fmla="*/ 13692 h 208"/>
              <a:gd name="T40" fmla="*/ 27274 w 166"/>
              <a:gd name="T41" fmla="*/ 9479 h 208"/>
              <a:gd name="T42" fmla="*/ 26395 w 166"/>
              <a:gd name="T43" fmla="*/ 5793 h 208"/>
              <a:gd name="T44" fmla="*/ 21995 w 166"/>
              <a:gd name="T45" fmla="*/ 5266 h 208"/>
              <a:gd name="T46" fmla="*/ 18916 w 166"/>
              <a:gd name="T47" fmla="*/ 4213 h 208"/>
              <a:gd name="T48" fmla="*/ 17596 w 166"/>
              <a:gd name="T49" fmla="*/ 2633 h 208"/>
              <a:gd name="T50" fmla="*/ 17156 w 166"/>
              <a:gd name="T51" fmla="*/ 1580 h 208"/>
              <a:gd name="T52" fmla="*/ 16717 w 166"/>
              <a:gd name="T53" fmla="*/ 527 h 208"/>
              <a:gd name="T54" fmla="*/ 15837 w 166"/>
              <a:gd name="T55" fmla="*/ 0 h 208"/>
              <a:gd name="T56" fmla="*/ 14077 w 166"/>
              <a:gd name="T57" fmla="*/ 527 h 208"/>
              <a:gd name="T58" fmla="*/ 11878 w 166"/>
              <a:gd name="T59" fmla="*/ 2633 h 208"/>
              <a:gd name="T60" fmla="*/ 8798 w 166"/>
              <a:gd name="T61" fmla="*/ 5793 h 208"/>
              <a:gd name="T62" fmla="*/ 4839 w 166"/>
              <a:gd name="T63" fmla="*/ 11586 h 208"/>
              <a:gd name="T64" fmla="*/ 3079 w 166"/>
              <a:gd name="T65" fmla="*/ 15272 h 208"/>
              <a:gd name="T66" fmla="*/ 1760 w 166"/>
              <a:gd name="T67" fmla="*/ 19485 h 208"/>
              <a:gd name="T68" fmla="*/ 880 w 166"/>
              <a:gd name="T69" fmla="*/ 23698 h 208"/>
              <a:gd name="T70" fmla="*/ 0 w 166"/>
              <a:gd name="T71" fmla="*/ 28437 h 208"/>
              <a:gd name="T72" fmla="*/ 0 w 166"/>
              <a:gd name="T73" fmla="*/ 31597 h 208"/>
              <a:gd name="T74" fmla="*/ 880 w 166"/>
              <a:gd name="T75" fmla="*/ 34230 h 208"/>
              <a:gd name="T76" fmla="*/ 1320 w 166"/>
              <a:gd name="T77" fmla="*/ 36863 h 208"/>
              <a:gd name="T78" fmla="*/ 2200 w 166"/>
              <a:gd name="T79" fmla="*/ 40023 h 208"/>
              <a:gd name="T80" fmla="*/ 4399 w 166"/>
              <a:gd name="T81" fmla="*/ 45289 h 208"/>
              <a:gd name="T82" fmla="*/ 7478 w 166"/>
              <a:gd name="T83" fmla="*/ 51609 h 208"/>
              <a:gd name="T84" fmla="*/ 9678 w 166"/>
              <a:gd name="T85" fmla="*/ 57402 h 208"/>
              <a:gd name="T86" fmla="*/ 12317 w 166"/>
              <a:gd name="T87" fmla="*/ 63194 h 208"/>
              <a:gd name="T88" fmla="*/ 13197 w 166"/>
              <a:gd name="T89" fmla="*/ 66354 h 208"/>
              <a:gd name="T90" fmla="*/ 14077 w 166"/>
              <a:gd name="T91" fmla="*/ 70040 h 208"/>
              <a:gd name="T92" fmla="*/ 14517 w 166"/>
              <a:gd name="T93" fmla="*/ 73200 h 208"/>
              <a:gd name="T94" fmla="*/ 14517 w 166"/>
              <a:gd name="T95" fmla="*/ 77413 h 208"/>
              <a:gd name="T96" fmla="*/ 14077 w 166"/>
              <a:gd name="T97" fmla="*/ 80573 h 208"/>
              <a:gd name="T98" fmla="*/ 13637 w 166"/>
              <a:gd name="T99" fmla="*/ 83733 h 208"/>
              <a:gd name="T100" fmla="*/ 12317 w 166"/>
              <a:gd name="T101" fmla="*/ 86892 h 208"/>
              <a:gd name="T102" fmla="*/ 10998 w 166"/>
              <a:gd name="T103" fmla="*/ 88999 h 208"/>
              <a:gd name="T104" fmla="*/ 9238 w 166"/>
              <a:gd name="T105" fmla="*/ 91632 h 208"/>
              <a:gd name="T106" fmla="*/ 7478 w 166"/>
              <a:gd name="T107" fmla="*/ 93212 h 208"/>
              <a:gd name="T108" fmla="*/ 4839 w 166"/>
              <a:gd name="T109" fmla="*/ 94792 h 208"/>
              <a:gd name="T110" fmla="*/ 3079 w 166"/>
              <a:gd name="T111" fmla="*/ 96371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746" name="Freeform 196">
            <a:extLst>
              <a:ext uri="{FF2B5EF4-FFF2-40B4-BE49-F238E27FC236}">
                <a16:creationId xmlns:a16="http://schemas.microsoft.com/office/drawing/2014/main" id="{764ED749-B463-486A-B27D-6A75FD7CB0DE}"/>
              </a:ext>
            </a:extLst>
          </p:cNvPr>
          <p:cNvSpPr>
            <a:spLocks/>
          </p:cNvSpPr>
          <p:nvPr>
            <p:custDataLst>
              <p:tags r:id="rId123"/>
            </p:custDataLst>
          </p:nvPr>
        </p:nvSpPr>
        <p:spPr bwMode="auto">
          <a:xfrm>
            <a:off x="3746454" y="6284910"/>
            <a:ext cx="148209" cy="124629"/>
          </a:xfrm>
          <a:custGeom>
            <a:avLst/>
            <a:gdLst>
              <a:gd name="T0" fmla="*/ 65165 w 164"/>
              <a:gd name="T1" fmla="*/ 58737 h 104"/>
              <a:gd name="T2" fmla="*/ 57073 w 164"/>
              <a:gd name="T3" fmla="*/ 57607 h 104"/>
              <a:gd name="T4" fmla="*/ 46851 w 164"/>
              <a:gd name="T5" fmla="*/ 54784 h 104"/>
              <a:gd name="T6" fmla="*/ 40888 w 164"/>
              <a:gd name="T7" fmla="*/ 53089 h 104"/>
              <a:gd name="T8" fmla="*/ 34073 w 164"/>
              <a:gd name="T9" fmla="*/ 52524 h 104"/>
              <a:gd name="T10" fmla="*/ 31092 w 164"/>
              <a:gd name="T11" fmla="*/ 52524 h 104"/>
              <a:gd name="T12" fmla="*/ 27259 w 164"/>
              <a:gd name="T13" fmla="*/ 53089 h 104"/>
              <a:gd name="T14" fmla="*/ 23425 w 164"/>
              <a:gd name="T15" fmla="*/ 54219 h 104"/>
              <a:gd name="T16" fmla="*/ 20018 w 164"/>
              <a:gd name="T17" fmla="*/ 55348 h 104"/>
              <a:gd name="T18" fmla="*/ 17463 w 164"/>
              <a:gd name="T19" fmla="*/ 56478 h 104"/>
              <a:gd name="T20" fmla="*/ 14481 w 164"/>
              <a:gd name="T21" fmla="*/ 56478 h 104"/>
              <a:gd name="T22" fmla="*/ 11500 w 164"/>
              <a:gd name="T23" fmla="*/ 55913 h 104"/>
              <a:gd name="T24" fmla="*/ 8092 w 164"/>
              <a:gd name="T25" fmla="*/ 54219 h 104"/>
              <a:gd name="T26" fmla="*/ 4685 w 164"/>
              <a:gd name="T27" fmla="*/ 51960 h 104"/>
              <a:gd name="T28" fmla="*/ 2555 w 164"/>
              <a:gd name="T29" fmla="*/ 49701 h 104"/>
              <a:gd name="T30" fmla="*/ 1278 w 164"/>
              <a:gd name="T31" fmla="*/ 48571 h 104"/>
              <a:gd name="T32" fmla="*/ 426 w 164"/>
              <a:gd name="T33" fmla="*/ 47441 h 104"/>
              <a:gd name="T34" fmla="*/ 0 w 164"/>
              <a:gd name="T35" fmla="*/ 45747 h 104"/>
              <a:gd name="T36" fmla="*/ 0 w 164"/>
              <a:gd name="T37" fmla="*/ 44618 h 104"/>
              <a:gd name="T38" fmla="*/ 0 w 164"/>
              <a:gd name="T39" fmla="*/ 42923 h 104"/>
              <a:gd name="T40" fmla="*/ 426 w 164"/>
              <a:gd name="T41" fmla="*/ 41794 h 104"/>
              <a:gd name="T42" fmla="*/ 1278 w 164"/>
              <a:gd name="T43" fmla="*/ 40099 h 104"/>
              <a:gd name="T44" fmla="*/ 2555 w 164"/>
              <a:gd name="T45" fmla="*/ 39535 h 104"/>
              <a:gd name="T46" fmla="*/ 5111 w 164"/>
              <a:gd name="T47" fmla="*/ 37840 h 104"/>
              <a:gd name="T48" fmla="*/ 8518 w 164"/>
              <a:gd name="T49" fmla="*/ 37275 h 104"/>
              <a:gd name="T50" fmla="*/ 17037 w 164"/>
              <a:gd name="T51" fmla="*/ 37275 h 104"/>
              <a:gd name="T52" fmla="*/ 25981 w 164"/>
              <a:gd name="T53" fmla="*/ 37840 h 104"/>
              <a:gd name="T54" fmla="*/ 29814 w 164"/>
              <a:gd name="T55" fmla="*/ 37840 h 104"/>
              <a:gd name="T56" fmla="*/ 33647 w 164"/>
              <a:gd name="T57" fmla="*/ 37840 h 104"/>
              <a:gd name="T58" fmla="*/ 37055 w 164"/>
              <a:gd name="T59" fmla="*/ 37840 h 104"/>
              <a:gd name="T60" fmla="*/ 40036 w 164"/>
              <a:gd name="T61" fmla="*/ 37840 h 104"/>
              <a:gd name="T62" fmla="*/ 40036 w 164"/>
              <a:gd name="T63" fmla="*/ 31628 h 104"/>
              <a:gd name="T64" fmla="*/ 40036 w 164"/>
              <a:gd name="T65" fmla="*/ 24285 h 104"/>
              <a:gd name="T66" fmla="*/ 40036 w 164"/>
              <a:gd name="T67" fmla="*/ 16379 h 104"/>
              <a:gd name="T68" fmla="*/ 40036 w 164"/>
              <a:gd name="T69" fmla="*/ 10166 h 104"/>
              <a:gd name="T70" fmla="*/ 33647 w 164"/>
              <a:gd name="T71" fmla="*/ 9601 h 104"/>
              <a:gd name="T72" fmla="*/ 28536 w 164"/>
              <a:gd name="T73" fmla="*/ 8472 h 104"/>
              <a:gd name="T74" fmla="*/ 26407 w 164"/>
              <a:gd name="T75" fmla="*/ 7342 h 104"/>
              <a:gd name="T76" fmla="*/ 24277 w 164"/>
              <a:gd name="T77" fmla="*/ 5648 h 104"/>
              <a:gd name="T78" fmla="*/ 22148 w 164"/>
              <a:gd name="T79" fmla="*/ 3389 h 104"/>
              <a:gd name="T80" fmla="*/ 20018 w 164"/>
              <a:gd name="T81" fmla="*/ 0 h 104"/>
              <a:gd name="T82" fmla="*/ 62184 w 164"/>
              <a:gd name="T83" fmla="*/ 0 h 104"/>
              <a:gd name="T84" fmla="*/ 62609 w 164"/>
              <a:gd name="T85" fmla="*/ 3389 h 104"/>
              <a:gd name="T86" fmla="*/ 63035 w 164"/>
              <a:gd name="T87" fmla="*/ 7342 h 104"/>
              <a:gd name="T88" fmla="*/ 63887 w 164"/>
              <a:gd name="T89" fmla="*/ 10731 h 104"/>
              <a:gd name="T90" fmla="*/ 64739 w 164"/>
              <a:gd name="T91" fmla="*/ 14119 h 104"/>
              <a:gd name="T92" fmla="*/ 66443 w 164"/>
              <a:gd name="T93" fmla="*/ 19767 h 104"/>
              <a:gd name="T94" fmla="*/ 67720 w 164"/>
              <a:gd name="T95" fmla="*/ 25980 h 104"/>
              <a:gd name="T96" fmla="*/ 69424 w 164"/>
              <a:gd name="T97" fmla="*/ 30498 h 104"/>
              <a:gd name="T98" fmla="*/ 69850 w 164"/>
              <a:gd name="T99" fmla="*/ 35016 h 104"/>
              <a:gd name="T100" fmla="*/ 69424 w 164"/>
              <a:gd name="T101" fmla="*/ 36711 h 104"/>
              <a:gd name="T102" fmla="*/ 68146 w 164"/>
              <a:gd name="T103" fmla="*/ 38405 h 104"/>
              <a:gd name="T104" fmla="*/ 66869 w 164"/>
              <a:gd name="T105" fmla="*/ 40099 h 104"/>
              <a:gd name="T106" fmla="*/ 65165 w 164"/>
              <a:gd name="T107" fmla="*/ 41229 h 104"/>
              <a:gd name="T108" fmla="*/ 65165 w 164"/>
              <a:gd name="T109" fmla="*/ 5873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47" name="Freeform 197">
            <a:extLst>
              <a:ext uri="{FF2B5EF4-FFF2-40B4-BE49-F238E27FC236}">
                <a16:creationId xmlns:a16="http://schemas.microsoft.com/office/drawing/2014/main" id="{06449D04-9205-4F1F-8815-8A8987F4696A}"/>
              </a:ext>
            </a:extLst>
          </p:cNvPr>
          <p:cNvSpPr>
            <a:spLocks/>
          </p:cNvSpPr>
          <p:nvPr>
            <p:custDataLst>
              <p:tags r:id="rId124"/>
            </p:custDataLst>
          </p:nvPr>
        </p:nvSpPr>
        <p:spPr bwMode="auto">
          <a:xfrm>
            <a:off x="4524547" y="11280209"/>
            <a:ext cx="50527" cy="121262"/>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48" name="Freeform 198">
            <a:extLst>
              <a:ext uri="{FF2B5EF4-FFF2-40B4-BE49-F238E27FC236}">
                <a16:creationId xmlns:a16="http://schemas.microsoft.com/office/drawing/2014/main" id="{1B6312E0-11BE-4AC9-A973-85AE17B5D1C1}"/>
              </a:ext>
            </a:extLst>
          </p:cNvPr>
          <p:cNvSpPr>
            <a:spLocks/>
          </p:cNvSpPr>
          <p:nvPr>
            <p:custDataLst>
              <p:tags r:id="rId125"/>
            </p:custDataLst>
          </p:nvPr>
        </p:nvSpPr>
        <p:spPr bwMode="auto">
          <a:xfrm>
            <a:off x="4450443" y="11236422"/>
            <a:ext cx="74104" cy="124629"/>
          </a:xfrm>
          <a:custGeom>
            <a:avLst/>
            <a:gdLst>
              <a:gd name="T0" fmla="*/ 0 w 80"/>
              <a:gd name="T1" fmla="*/ 0 h 18"/>
              <a:gd name="T2" fmla="*/ 437 w 80"/>
              <a:gd name="T3" fmla="*/ 19579 h 18"/>
              <a:gd name="T4" fmla="*/ 2183 w 80"/>
              <a:gd name="T5" fmla="*/ 39158 h 18"/>
              <a:gd name="T6" fmla="*/ 3493 w 80"/>
              <a:gd name="T7" fmla="*/ 45684 h 18"/>
              <a:gd name="T8" fmla="*/ 4802 w 80"/>
              <a:gd name="T9" fmla="*/ 52211 h 18"/>
              <a:gd name="T10" fmla="*/ 6548 w 80"/>
              <a:gd name="T11" fmla="*/ 58737 h 18"/>
              <a:gd name="T12" fmla="*/ 8731 w 80"/>
              <a:gd name="T13" fmla="*/ 58737 h 18"/>
              <a:gd name="T14" fmla="*/ 9604 w 80"/>
              <a:gd name="T15" fmla="*/ 48948 h 18"/>
              <a:gd name="T16" fmla="*/ 10478 w 80"/>
              <a:gd name="T17" fmla="*/ 42421 h 18"/>
              <a:gd name="T18" fmla="*/ 11351 w 80"/>
              <a:gd name="T19" fmla="*/ 35895 h 18"/>
              <a:gd name="T20" fmla="*/ 13533 w 80"/>
              <a:gd name="T21" fmla="*/ 32632 h 18"/>
              <a:gd name="T22" fmla="*/ 16589 w 80"/>
              <a:gd name="T23" fmla="*/ 26105 h 18"/>
              <a:gd name="T24" fmla="*/ 20518 w 80"/>
              <a:gd name="T25" fmla="*/ 22842 h 18"/>
              <a:gd name="T26" fmla="*/ 24884 w 80"/>
              <a:gd name="T27" fmla="*/ 22842 h 18"/>
              <a:gd name="T28" fmla="*/ 28813 w 80"/>
              <a:gd name="T29" fmla="*/ 19579 h 18"/>
              <a:gd name="T30" fmla="*/ 30559 w 80"/>
              <a:gd name="T31" fmla="*/ 16316 h 18"/>
              <a:gd name="T32" fmla="*/ 32306 w 80"/>
              <a:gd name="T33" fmla="*/ 13053 h 18"/>
              <a:gd name="T34" fmla="*/ 33615 w 80"/>
              <a:gd name="T35" fmla="*/ 6526 h 18"/>
              <a:gd name="T36" fmla="*/ 34925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49" name="Freeform 199">
            <a:extLst>
              <a:ext uri="{FF2B5EF4-FFF2-40B4-BE49-F238E27FC236}">
                <a16:creationId xmlns:a16="http://schemas.microsoft.com/office/drawing/2014/main" id="{0222A995-49B7-424E-BB40-7591686B7C2D}"/>
              </a:ext>
            </a:extLst>
          </p:cNvPr>
          <p:cNvSpPr>
            <a:spLocks/>
          </p:cNvSpPr>
          <p:nvPr>
            <p:custDataLst>
              <p:tags r:id="rId126"/>
            </p:custDataLst>
          </p:nvPr>
        </p:nvSpPr>
        <p:spPr bwMode="auto">
          <a:xfrm>
            <a:off x="4450443" y="11192632"/>
            <a:ext cx="47157" cy="127998"/>
          </a:xfrm>
          <a:custGeom>
            <a:avLst/>
            <a:gdLst>
              <a:gd name="T0" fmla="*/ 9663 w 46"/>
              <a:gd name="T1" fmla="*/ 0 h 27"/>
              <a:gd name="T2" fmla="*/ 0 w 46"/>
              <a:gd name="T3" fmla="*/ 40217 h 27"/>
              <a:gd name="T4" fmla="*/ 4348 w 46"/>
              <a:gd name="T5" fmla="*/ 49154 h 27"/>
              <a:gd name="T6" fmla="*/ 7730 w 46"/>
              <a:gd name="T7" fmla="*/ 55856 h 27"/>
              <a:gd name="T8" fmla="*/ 11113 w 46"/>
              <a:gd name="T9" fmla="*/ 60325 h 27"/>
              <a:gd name="T10" fmla="*/ 14011 w 46"/>
              <a:gd name="T11" fmla="*/ 60325 h 27"/>
              <a:gd name="T12" fmla="*/ 15944 w 46"/>
              <a:gd name="T13" fmla="*/ 60325 h 27"/>
              <a:gd name="T14" fmla="*/ 17877 w 46"/>
              <a:gd name="T15" fmla="*/ 55856 h 27"/>
              <a:gd name="T16" fmla="*/ 20292 w 46"/>
              <a:gd name="T17" fmla="*/ 49154 h 27"/>
              <a:gd name="T18" fmla="*/ 22225 w 46"/>
              <a:gd name="T19" fmla="*/ 40217 h 27"/>
              <a:gd name="T20" fmla="*/ 19809 w 46"/>
              <a:gd name="T21" fmla="*/ 35748 h 27"/>
              <a:gd name="T22" fmla="*/ 15944 w 46"/>
              <a:gd name="T23" fmla="*/ 24577 h 27"/>
              <a:gd name="T24" fmla="*/ 12562 w 46"/>
              <a:gd name="T25" fmla="*/ 11171 h 27"/>
              <a:gd name="T26" fmla="*/ 9663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50" name="Freeform 200">
            <a:extLst>
              <a:ext uri="{FF2B5EF4-FFF2-40B4-BE49-F238E27FC236}">
                <a16:creationId xmlns:a16="http://schemas.microsoft.com/office/drawing/2014/main" id="{3879B2E7-82F7-45A9-AEE6-543285667612}"/>
              </a:ext>
            </a:extLst>
          </p:cNvPr>
          <p:cNvSpPr>
            <a:spLocks/>
          </p:cNvSpPr>
          <p:nvPr>
            <p:custDataLst>
              <p:tags r:id="rId127"/>
            </p:custDataLst>
          </p:nvPr>
        </p:nvSpPr>
        <p:spPr bwMode="auto">
          <a:xfrm>
            <a:off x="4386445" y="11179158"/>
            <a:ext cx="53894" cy="127998"/>
          </a:xfrm>
          <a:custGeom>
            <a:avLst/>
            <a:gdLst>
              <a:gd name="T0" fmla="*/ 15993 w 54"/>
              <a:gd name="T1" fmla="*/ 0 h 39"/>
              <a:gd name="T2" fmla="*/ 9407 w 54"/>
              <a:gd name="T3" fmla="*/ 6187 h 39"/>
              <a:gd name="T4" fmla="*/ 4704 w 54"/>
              <a:gd name="T5" fmla="*/ 15468 h 39"/>
              <a:gd name="T6" fmla="*/ 2822 w 54"/>
              <a:gd name="T7" fmla="*/ 20108 h 39"/>
              <a:gd name="T8" fmla="*/ 1881 w 54"/>
              <a:gd name="T9" fmla="*/ 24749 h 39"/>
              <a:gd name="T10" fmla="*/ 941 w 54"/>
              <a:gd name="T11" fmla="*/ 30936 h 39"/>
              <a:gd name="T12" fmla="*/ 0 w 54"/>
              <a:gd name="T13" fmla="*/ 37123 h 39"/>
              <a:gd name="T14" fmla="*/ 941 w 54"/>
              <a:gd name="T15" fmla="*/ 43310 h 39"/>
              <a:gd name="T16" fmla="*/ 1411 w 54"/>
              <a:gd name="T17" fmla="*/ 49497 h 39"/>
              <a:gd name="T18" fmla="*/ 2352 w 54"/>
              <a:gd name="T19" fmla="*/ 54138 h 39"/>
              <a:gd name="T20" fmla="*/ 3763 w 54"/>
              <a:gd name="T21" fmla="*/ 57231 h 39"/>
              <a:gd name="T22" fmla="*/ 5174 w 54"/>
              <a:gd name="T23" fmla="*/ 58778 h 39"/>
              <a:gd name="T24" fmla="*/ 7526 w 54"/>
              <a:gd name="T25" fmla="*/ 60325 h 39"/>
              <a:gd name="T26" fmla="*/ 9407 w 54"/>
              <a:gd name="T27" fmla="*/ 60325 h 39"/>
              <a:gd name="T28" fmla="*/ 11759 w 54"/>
              <a:gd name="T29" fmla="*/ 60325 h 39"/>
              <a:gd name="T30" fmla="*/ 14111 w 54"/>
              <a:gd name="T31" fmla="*/ 58778 h 39"/>
              <a:gd name="T32" fmla="*/ 15993 w 54"/>
              <a:gd name="T33" fmla="*/ 57231 h 39"/>
              <a:gd name="T34" fmla="*/ 18344 w 54"/>
              <a:gd name="T35" fmla="*/ 54138 h 39"/>
              <a:gd name="T36" fmla="*/ 20226 w 54"/>
              <a:gd name="T37" fmla="*/ 51044 h 39"/>
              <a:gd name="T38" fmla="*/ 22107 w 54"/>
              <a:gd name="T39" fmla="*/ 46404 h 39"/>
              <a:gd name="T40" fmla="*/ 23519 w 54"/>
              <a:gd name="T41" fmla="*/ 40217 h 39"/>
              <a:gd name="T42" fmla="*/ 24459 w 54"/>
              <a:gd name="T43" fmla="*/ 34029 h 39"/>
              <a:gd name="T44" fmla="*/ 25400 w 54"/>
              <a:gd name="T45" fmla="*/ 27842 h 39"/>
              <a:gd name="T46" fmla="*/ 23989 w 54"/>
              <a:gd name="T47" fmla="*/ 26296 h 39"/>
              <a:gd name="T48" fmla="*/ 22578 w 54"/>
              <a:gd name="T49" fmla="*/ 24749 h 39"/>
              <a:gd name="T50" fmla="*/ 20696 w 54"/>
              <a:gd name="T51" fmla="*/ 21655 h 39"/>
              <a:gd name="T52" fmla="*/ 19756 w 54"/>
              <a:gd name="T53" fmla="*/ 17015 h 39"/>
              <a:gd name="T54" fmla="*/ 18344 w 54"/>
              <a:gd name="T55" fmla="*/ 12374 h 39"/>
              <a:gd name="T56" fmla="*/ 17404 w 54"/>
              <a:gd name="T57" fmla="*/ 7734 h 39"/>
              <a:gd name="T58" fmla="*/ 15993 w 54"/>
              <a:gd name="T59" fmla="*/ 3094 h 39"/>
              <a:gd name="T60" fmla="*/ 15993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51" name="Freeform 201">
            <a:extLst>
              <a:ext uri="{FF2B5EF4-FFF2-40B4-BE49-F238E27FC236}">
                <a16:creationId xmlns:a16="http://schemas.microsoft.com/office/drawing/2014/main" id="{3C02E52C-4E94-4D0C-AC27-062FC1845A06}"/>
              </a:ext>
            </a:extLst>
          </p:cNvPr>
          <p:cNvSpPr>
            <a:spLocks/>
          </p:cNvSpPr>
          <p:nvPr>
            <p:custDataLst>
              <p:tags r:id="rId128"/>
            </p:custDataLst>
          </p:nvPr>
        </p:nvSpPr>
        <p:spPr bwMode="auto">
          <a:xfrm>
            <a:off x="4332551" y="11158948"/>
            <a:ext cx="60631" cy="124631"/>
          </a:xfrm>
          <a:custGeom>
            <a:avLst/>
            <a:gdLst>
              <a:gd name="T0" fmla="*/ 0 w 60"/>
              <a:gd name="T1" fmla="*/ 43075 h 15"/>
              <a:gd name="T2" fmla="*/ 4763 w 60"/>
              <a:gd name="T3" fmla="*/ 50906 h 15"/>
              <a:gd name="T4" fmla="*/ 8573 w 60"/>
              <a:gd name="T5" fmla="*/ 54822 h 15"/>
              <a:gd name="T6" fmla="*/ 12859 w 60"/>
              <a:gd name="T7" fmla="*/ 58738 h 15"/>
              <a:gd name="T8" fmla="*/ 16669 w 60"/>
              <a:gd name="T9" fmla="*/ 58738 h 15"/>
              <a:gd name="T10" fmla="*/ 19526 w 60"/>
              <a:gd name="T11" fmla="*/ 54822 h 15"/>
              <a:gd name="T12" fmla="*/ 22860 w 60"/>
              <a:gd name="T13" fmla="*/ 46990 h 15"/>
              <a:gd name="T14" fmla="*/ 26194 w 60"/>
              <a:gd name="T15" fmla="*/ 35243 h 15"/>
              <a:gd name="T16" fmla="*/ 28575 w 60"/>
              <a:gd name="T17" fmla="*/ 19579 h 15"/>
              <a:gd name="T18" fmla="*/ 27146 w 60"/>
              <a:gd name="T19" fmla="*/ 11748 h 15"/>
              <a:gd name="T20" fmla="*/ 25718 w 60"/>
              <a:gd name="T21" fmla="*/ 0 h 15"/>
              <a:gd name="T22" fmla="*/ 24289 w 60"/>
              <a:gd name="T23" fmla="*/ 0 h 15"/>
              <a:gd name="T24" fmla="*/ 22384 w 60"/>
              <a:gd name="T25" fmla="*/ 0 h 15"/>
              <a:gd name="T26" fmla="*/ 19050 w 60"/>
              <a:gd name="T27" fmla="*/ 0 h 15"/>
              <a:gd name="T28" fmla="*/ 15716 w 60"/>
              <a:gd name="T29" fmla="*/ 11748 h 15"/>
              <a:gd name="T30" fmla="*/ 11430 w 60"/>
              <a:gd name="T31" fmla="*/ 23495 h 15"/>
              <a:gd name="T32" fmla="*/ 7620 w 60"/>
              <a:gd name="T33" fmla="*/ 31327 h 15"/>
              <a:gd name="T34" fmla="*/ 3334 w 60"/>
              <a:gd name="T35" fmla="*/ 39159 h 15"/>
              <a:gd name="T36" fmla="*/ 0 w 60"/>
              <a:gd name="T37" fmla="*/ 43075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52" name="Freeform 202">
            <a:extLst>
              <a:ext uri="{FF2B5EF4-FFF2-40B4-BE49-F238E27FC236}">
                <a16:creationId xmlns:a16="http://schemas.microsoft.com/office/drawing/2014/main" id="{99AA97EC-1D96-4B8F-A26B-ABDA4EEC8485}"/>
              </a:ext>
            </a:extLst>
          </p:cNvPr>
          <p:cNvSpPr>
            <a:spLocks/>
          </p:cNvSpPr>
          <p:nvPr>
            <p:custDataLst>
              <p:tags r:id="rId129"/>
            </p:custDataLst>
          </p:nvPr>
        </p:nvSpPr>
        <p:spPr bwMode="auto">
          <a:xfrm>
            <a:off x="4282024" y="11132001"/>
            <a:ext cx="70737" cy="121262"/>
          </a:xfrm>
          <a:custGeom>
            <a:avLst/>
            <a:gdLst>
              <a:gd name="T0" fmla="*/ 16880 w 79"/>
              <a:gd name="T1" fmla="*/ 0 h 32"/>
              <a:gd name="T2" fmla="*/ 14348 w 79"/>
              <a:gd name="T3" fmla="*/ 1786 h 32"/>
              <a:gd name="T4" fmla="*/ 12660 w 79"/>
              <a:gd name="T5" fmla="*/ 3572 h 32"/>
              <a:gd name="T6" fmla="*/ 10550 w 79"/>
              <a:gd name="T7" fmla="*/ 7144 h 32"/>
              <a:gd name="T8" fmla="*/ 8440 w 79"/>
              <a:gd name="T9" fmla="*/ 10716 h 32"/>
              <a:gd name="T10" fmla="*/ 6330 w 79"/>
              <a:gd name="T11" fmla="*/ 16073 h 32"/>
              <a:gd name="T12" fmla="*/ 4220 w 79"/>
              <a:gd name="T13" fmla="*/ 19645 h 32"/>
              <a:gd name="T14" fmla="*/ 2110 w 79"/>
              <a:gd name="T15" fmla="*/ 21431 h 32"/>
              <a:gd name="T16" fmla="*/ 0 w 79"/>
              <a:gd name="T17" fmla="*/ 23217 h 32"/>
              <a:gd name="T18" fmla="*/ 2110 w 79"/>
              <a:gd name="T19" fmla="*/ 37505 h 32"/>
              <a:gd name="T20" fmla="*/ 4220 w 79"/>
              <a:gd name="T21" fmla="*/ 46434 h 32"/>
              <a:gd name="T22" fmla="*/ 5064 w 79"/>
              <a:gd name="T23" fmla="*/ 51792 h 32"/>
              <a:gd name="T24" fmla="*/ 6330 w 79"/>
              <a:gd name="T25" fmla="*/ 55364 h 32"/>
              <a:gd name="T26" fmla="*/ 7596 w 79"/>
              <a:gd name="T27" fmla="*/ 55364 h 32"/>
              <a:gd name="T28" fmla="*/ 8440 w 79"/>
              <a:gd name="T29" fmla="*/ 57150 h 32"/>
              <a:gd name="T30" fmla="*/ 11394 w 79"/>
              <a:gd name="T31" fmla="*/ 55364 h 32"/>
              <a:gd name="T32" fmla="*/ 14348 w 79"/>
              <a:gd name="T33" fmla="*/ 53578 h 32"/>
              <a:gd name="T34" fmla="*/ 17302 w 79"/>
              <a:gd name="T35" fmla="*/ 48220 h 32"/>
              <a:gd name="T36" fmla="*/ 20256 w 79"/>
              <a:gd name="T37" fmla="*/ 42863 h 32"/>
              <a:gd name="T38" fmla="*/ 26164 w 79"/>
              <a:gd name="T39" fmla="*/ 32147 h 32"/>
              <a:gd name="T40" fmla="*/ 33338 w 79"/>
              <a:gd name="T41" fmla="*/ 23217 h 32"/>
              <a:gd name="T42" fmla="*/ 28274 w 79"/>
              <a:gd name="T43" fmla="*/ 10716 h 32"/>
              <a:gd name="T44" fmla="*/ 24476 w 79"/>
              <a:gd name="T45" fmla="*/ 3572 h 32"/>
              <a:gd name="T46" fmla="*/ 20678 w 79"/>
              <a:gd name="T47" fmla="*/ 1786 h 32"/>
              <a:gd name="T48" fmla="*/ 1688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53" name="Freeform 203">
            <a:extLst>
              <a:ext uri="{FF2B5EF4-FFF2-40B4-BE49-F238E27FC236}">
                <a16:creationId xmlns:a16="http://schemas.microsoft.com/office/drawing/2014/main" id="{1B35C93F-7195-4346-9200-647BE02B637C}"/>
              </a:ext>
            </a:extLst>
          </p:cNvPr>
          <p:cNvSpPr>
            <a:spLocks/>
          </p:cNvSpPr>
          <p:nvPr>
            <p:custDataLst>
              <p:tags r:id="rId130"/>
            </p:custDataLst>
          </p:nvPr>
        </p:nvSpPr>
        <p:spPr bwMode="auto">
          <a:xfrm>
            <a:off x="4268551" y="11091580"/>
            <a:ext cx="64000" cy="121262"/>
          </a:xfrm>
          <a:custGeom>
            <a:avLst/>
            <a:gdLst>
              <a:gd name="T0" fmla="*/ 15082 w 66"/>
              <a:gd name="T1" fmla="*/ 0 h 19"/>
              <a:gd name="T2" fmla="*/ 11425 w 66"/>
              <a:gd name="T3" fmla="*/ 3008 h 19"/>
              <a:gd name="T4" fmla="*/ 8683 w 66"/>
              <a:gd name="T5" fmla="*/ 6016 h 19"/>
              <a:gd name="T6" fmla="*/ 5941 w 66"/>
              <a:gd name="T7" fmla="*/ 12032 h 19"/>
              <a:gd name="T8" fmla="*/ 4113 w 66"/>
              <a:gd name="T9" fmla="*/ 21055 h 19"/>
              <a:gd name="T10" fmla="*/ 2285 w 66"/>
              <a:gd name="T11" fmla="*/ 33087 h 19"/>
              <a:gd name="T12" fmla="*/ 914 w 66"/>
              <a:gd name="T13" fmla="*/ 42111 h 19"/>
              <a:gd name="T14" fmla="*/ 0 w 66"/>
              <a:gd name="T15" fmla="*/ 51134 h 19"/>
              <a:gd name="T16" fmla="*/ 0 w 66"/>
              <a:gd name="T17" fmla="*/ 57150 h 19"/>
              <a:gd name="T18" fmla="*/ 8683 w 66"/>
              <a:gd name="T19" fmla="*/ 57150 h 19"/>
              <a:gd name="T20" fmla="*/ 17367 w 66"/>
              <a:gd name="T21" fmla="*/ 57150 h 19"/>
              <a:gd name="T22" fmla="*/ 21023 w 66"/>
              <a:gd name="T23" fmla="*/ 54142 h 19"/>
              <a:gd name="T24" fmla="*/ 24679 w 66"/>
              <a:gd name="T25" fmla="*/ 51134 h 19"/>
              <a:gd name="T26" fmla="*/ 27878 w 66"/>
              <a:gd name="T27" fmla="*/ 45118 h 19"/>
              <a:gd name="T28" fmla="*/ 30163 w 66"/>
              <a:gd name="T29" fmla="*/ 39103 h 19"/>
              <a:gd name="T30" fmla="*/ 26050 w 66"/>
              <a:gd name="T31" fmla="*/ 24063 h 19"/>
              <a:gd name="T32" fmla="*/ 22851 w 66"/>
              <a:gd name="T33" fmla="*/ 12032 h 19"/>
              <a:gd name="T34" fmla="*/ 19195 w 66"/>
              <a:gd name="T35" fmla="*/ 3008 h 19"/>
              <a:gd name="T36" fmla="*/ 15082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54" name="Freeform 204">
            <a:extLst>
              <a:ext uri="{FF2B5EF4-FFF2-40B4-BE49-F238E27FC236}">
                <a16:creationId xmlns:a16="http://schemas.microsoft.com/office/drawing/2014/main" id="{13F77F7E-2153-46CB-92B8-2ADE72E9BCBB}"/>
              </a:ext>
            </a:extLst>
          </p:cNvPr>
          <p:cNvSpPr>
            <a:spLocks/>
          </p:cNvSpPr>
          <p:nvPr>
            <p:custDataLst>
              <p:tags r:id="rId131"/>
            </p:custDataLst>
          </p:nvPr>
        </p:nvSpPr>
        <p:spPr bwMode="auto">
          <a:xfrm>
            <a:off x="4056344" y="10434748"/>
            <a:ext cx="53894" cy="127998"/>
          </a:xfrm>
          <a:custGeom>
            <a:avLst/>
            <a:gdLst>
              <a:gd name="T0" fmla="*/ 6230 w 53"/>
              <a:gd name="T1" fmla="*/ 0 h 80"/>
              <a:gd name="T2" fmla="*/ 3834 w 53"/>
              <a:gd name="T3" fmla="*/ 3770 h 80"/>
              <a:gd name="T4" fmla="*/ 1917 w 53"/>
              <a:gd name="T5" fmla="*/ 7541 h 80"/>
              <a:gd name="T6" fmla="*/ 958 w 53"/>
              <a:gd name="T7" fmla="*/ 9803 h 80"/>
              <a:gd name="T8" fmla="*/ 479 w 53"/>
              <a:gd name="T9" fmla="*/ 12065 h 80"/>
              <a:gd name="T10" fmla="*/ 0 w 53"/>
              <a:gd name="T11" fmla="*/ 15081 h 80"/>
              <a:gd name="T12" fmla="*/ 0 w 53"/>
              <a:gd name="T13" fmla="*/ 18852 h 80"/>
              <a:gd name="T14" fmla="*/ 0 w 53"/>
              <a:gd name="T15" fmla="*/ 22622 h 80"/>
              <a:gd name="T16" fmla="*/ 958 w 53"/>
              <a:gd name="T17" fmla="*/ 29408 h 80"/>
              <a:gd name="T18" fmla="*/ 2875 w 53"/>
              <a:gd name="T19" fmla="*/ 36195 h 80"/>
              <a:gd name="T20" fmla="*/ 4313 w 53"/>
              <a:gd name="T21" fmla="*/ 42982 h 80"/>
              <a:gd name="T22" fmla="*/ 6230 w 53"/>
              <a:gd name="T23" fmla="*/ 49768 h 80"/>
              <a:gd name="T24" fmla="*/ 9585 w 53"/>
              <a:gd name="T25" fmla="*/ 55047 h 80"/>
              <a:gd name="T26" fmla="*/ 10543 w 53"/>
              <a:gd name="T27" fmla="*/ 57309 h 80"/>
              <a:gd name="T28" fmla="*/ 12460 w 53"/>
              <a:gd name="T29" fmla="*/ 58817 h 80"/>
              <a:gd name="T30" fmla="*/ 14377 w 53"/>
              <a:gd name="T31" fmla="*/ 60325 h 80"/>
              <a:gd name="T32" fmla="*/ 15815 w 53"/>
              <a:gd name="T33" fmla="*/ 60325 h 80"/>
              <a:gd name="T34" fmla="*/ 17253 w 53"/>
              <a:gd name="T35" fmla="*/ 59571 h 80"/>
              <a:gd name="T36" fmla="*/ 18211 w 53"/>
              <a:gd name="T37" fmla="*/ 58817 h 80"/>
              <a:gd name="T38" fmla="*/ 20128 w 53"/>
              <a:gd name="T39" fmla="*/ 57309 h 80"/>
              <a:gd name="T40" fmla="*/ 21566 w 53"/>
              <a:gd name="T41" fmla="*/ 55047 h 80"/>
              <a:gd name="T42" fmla="*/ 23004 w 53"/>
              <a:gd name="T43" fmla="*/ 52784 h 80"/>
              <a:gd name="T44" fmla="*/ 24442 w 53"/>
              <a:gd name="T45" fmla="*/ 50522 h 80"/>
              <a:gd name="T46" fmla="*/ 25400 w 53"/>
              <a:gd name="T47" fmla="*/ 48260 h 80"/>
              <a:gd name="T48" fmla="*/ 25400 w 53"/>
              <a:gd name="T49" fmla="*/ 46752 h 80"/>
              <a:gd name="T50" fmla="*/ 24921 w 53"/>
              <a:gd name="T51" fmla="*/ 40719 h 80"/>
              <a:gd name="T52" fmla="*/ 23483 w 53"/>
              <a:gd name="T53" fmla="*/ 35441 h 80"/>
              <a:gd name="T54" fmla="*/ 22045 w 53"/>
              <a:gd name="T55" fmla="*/ 31671 h 80"/>
              <a:gd name="T56" fmla="*/ 20608 w 53"/>
              <a:gd name="T57" fmla="*/ 27900 h 80"/>
              <a:gd name="T58" fmla="*/ 19170 w 53"/>
              <a:gd name="T59" fmla="*/ 24130 h 80"/>
              <a:gd name="T60" fmla="*/ 17253 w 53"/>
              <a:gd name="T61" fmla="*/ 20360 h 80"/>
              <a:gd name="T62" fmla="*/ 16294 w 53"/>
              <a:gd name="T63" fmla="*/ 15081 h 80"/>
              <a:gd name="T64" fmla="*/ 15815 w 53"/>
              <a:gd name="T65" fmla="*/ 9049 h 80"/>
              <a:gd name="T66" fmla="*/ 15815 w 53"/>
              <a:gd name="T67" fmla="*/ 7541 h 80"/>
              <a:gd name="T68" fmla="*/ 14857 w 53"/>
              <a:gd name="T69" fmla="*/ 6033 h 80"/>
              <a:gd name="T70" fmla="*/ 13898 w 53"/>
              <a:gd name="T71" fmla="*/ 4524 h 80"/>
              <a:gd name="T72" fmla="*/ 11981 w 53"/>
              <a:gd name="T73" fmla="*/ 3016 h 80"/>
              <a:gd name="T74" fmla="*/ 9106 w 53"/>
              <a:gd name="T75" fmla="*/ 754 h 80"/>
              <a:gd name="T76" fmla="*/ 623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55" name="Freeform 205">
            <a:extLst>
              <a:ext uri="{FF2B5EF4-FFF2-40B4-BE49-F238E27FC236}">
                <a16:creationId xmlns:a16="http://schemas.microsoft.com/office/drawing/2014/main" id="{80103CC0-23C8-43C9-B4F7-BCDDB26F1D47}"/>
              </a:ext>
            </a:extLst>
          </p:cNvPr>
          <p:cNvSpPr>
            <a:spLocks/>
          </p:cNvSpPr>
          <p:nvPr>
            <p:custDataLst>
              <p:tags r:id="rId132"/>
            </p:custDataLst>
          </p:nvPr>
        </p:nvSpPr>
        <p:spPr bwMode="auto">
          <a:xfrm>
            <a:off x="4120342" y="10636851"/>
            <a:ext cx="37053" cy="114525"/>
          </a:xfrm>
          <a:custGeom>
            <a:avLst/>
            <a:gdLst>
              <a:gd name="T0" fmla="*/ 0 w 41"/>
              <a:gd name="T1" fmla="*/ 53975 h 43"/>
              <a:gd name="T2" fmla="*/ 11500 w 41"/>
              <a:gd name="T3" fmla="*/ 53975 h 43"/>
              <a:gd name="T4" fmla="*/ 17463 w 41"/>
              <a:gd name="T5" fmla="*/ 30126 h 43"/>
              <a:gd name="T6" fmla="*/ 16185 w 41"/>
              <a:gd name="T7" fmla="*/ 15063 h 43"/>
              <a:gd name="T8" fmla="*/ 14482 w 41"/>
              <a:gd name="T9" fmla="*/ 0 h 43"/>
              <a:gd name="T10" fmla="*/ 11500 w 41"/>
              <a:gd name="T11" fmla="*/ 5021 h 43"/>
              <a:gd name="T12" fmla="*/ 8519 w 41"/>
              <a:gd name="T13" fmla="*/ 11297 h 43"/>
              <a:gd name="T14" fmla="*/ 6389 w 41"/>
              <a:gd name="T15" fmla="*/ 17573 h 43"/>
              <a:gd name="T16" fmla="*/ 4259 w 41"/>
              <a:gd name="T17" fmla="*/ 23849 h 43"/>
              <a:gd name="T18" fmla="*/ 2556 w 41"/>
              <a:gd name="T19" fmla="*/ 30126 h 43"/>
              <a:gd name="T20" fmla="*/ 1278 w 41"/>
              <a:gd name="T21" fmla="*/ 37657 h 43"/>
              <a:gd name="T22" fmla="*/ 426 w 41"/>
              <a:gd name="T23" fmla="*/ 46444 h 43"/>
              <a:gd name="T24" fmla="*/ 0 w 41"/>
              <a:gd name="T25" fmla="*/ 53975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56" name="Freeform 206">
            <a:extLst>
              <a:ext uri="{FF2B5EF4-FFF2-40B4-BE49-F238E27FC236}">
                <a16:creationId xmlns:a16="http://schemas.microsoft.com/office/drawing/2014/main" id="{860D8292-C6CE-4BF9-BC9A-3DA763C9FD96}"/>
              </a:ext>
            </a:extLst>
          </p:cNvPr>
          <p:cNvSpPr>
            <a:spLocks/>
          </p:cNvSpPr>
          <p:nvPr>
            <p:custDataLst>
              <p:tags r:id="rId133"/>
            </p:custDataLst>
          </p:nvPr>
        </p:nvSpPr>
        <p:spPr bwMode="auto">
          <a:xfrm>
            <a:off x="4130449" y="10684008"/>
            <a:ext cx="16841" cy="124629"/>
          </a:xfrm>
          <a:custGeom>
            <a:avLst/>
            <a:gdLst>
              <a:gd name="T0" fmla="*/ 7937 w 20"/>
              <a:gd name="T1" fmla="*/ 0 h 24"/>
              <a:gd name="T2" fmla="*/ 0 w 20"/>
              <a:gd name="T3" fmla="*/ 0 h 24"/>
              <a:gd name="T4" fmla="*/ 397 w 20"/>
              <a:gd name="T5" fmla="*/ 12237 h 24"/>
              <a:gd name="T6" fmla="*/ 794 w 20"/>
              <a:gd name="T7" fmla="*/ 22026 h 24"/>
              <a:gd name="T8" fmla="*/ 1587 w 20"/>
              <a:gd name="T9" fmla="*/ 31816 h 24"/>
              <a:gd name="T10" fmla="*/ 2778 w 20"/>
              <a:gd name="T11" fmla="*/ 41605 h 24"/>
              <a:gd name="T12" fmla="*/ 3969 w 20"/>
              <a:gd name="T13" fmla="*/ 48948 h 24"/>
              <a:gd name="T14" fmla="*/ 5556 w 20"/>
              <a:gd name="T15" fmla="*/ 53842 h 24"/>
              <a:gd name="T16" fmla="*/ 6746 w 20"/>
              <a:gd name="T17" fmla="*/ 58737 h 24"/>
              <a:gd name="T18" fmla="*/ 7937 w 20"/>
              <a:gd name="T19" fmla="*/ 58737 h 24"/>
              <a:gd name="T20" fmla="*/ 793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57" name="Freeform 207">
            <a:extLst>
              <a:ext uri="{FF2B5EF4-FFF2-40B4-BE49-F238E27FC236}">
                <a16:creationId xmlns:a16="http://schemas.microsoft.com/office/drawing/2014/main" id="{CBFCD2CA-4884-4CDF-81D1-A769CA0A2634}"/>
              </a:ext>
            </a:extLst>
          </p:cNvPr>
          <p:cNvSpPr>
            <a:spLocks/>
          </p:cNvSpPr>
          <p:nvPr>
            <p:custDataLst>
              <p:tags r:id="rId134"/>
            </p:custDataLst>
          </p:nvPr>
        </p:nvSpPr>
        <p:spPr bwMode="auto">
          <a:xfrm>
            <a:off x="4160763" y="10815374"/>
            <a:ext cx="37053" cy="127998"/>
          </a:xfrm>
          <a:custGeom>
            <a:avLst/>
            <a:gdLst>
              <a:gd name="T0" fmla="*/ 0 w 39"/>
              <a:gd name="T1" fmla="*/ 16835 h 43"/>
              <a:gd name="T2" fmla="*/ 896 w 39"/>
              <a:gd name="T3" fmla="*/ 23849 h 43"/>
              <a:gd name="T4" fmla="*/ 2687 w 39"/>
              <a:gd name="T5" fmla="*/ 30864 h 43"/>
              <a:gd name="T6" fmla="*/ 5373 w 39"/>
              <a:gd name="T7" fmla="*/ 37878 h 43"/>
              <a:gd name="T8" fmla="*/ 7164 w 39"/>
              <a:gd name="T9" fmla="*/ 44893 h 43"/>
              <a:gd name="T10" fmla="*/ 10299 w 39"/>
              <a:gd name="T11" fmla="*/ 51908 h 43"/>
              <a:gd name="T12" fmla="*/ 12538 w 39"/>
              <a:gd name="T13" fmla="*/ 56116 h 43"/>
              <a:gd name="T14" fmla="*/ 15224 w 39"/>
              <a:gd name="T15" fmla="*/ 60325 h 43"/>
              <a:gd name="T16" fmla="*/ 17463 w 39"/>
              <a:gd name="T17" fmla="*/ 60325 h 43"/>
              <a:gd name="T18" fmla="*/ 17015 w 39"/>
              <a:gd name="T19" fmla="*/ 44893 h 43"/>
              <a:gd name="T20" fmla="*/ 16120 w 39"/>
              <a:gd name="T21" fmla="*/ 26655 h 43"/>
              <a:gd name="T22" fmla="*/ 15224 w 39"/>
              <a:gd name="T23" fmla="*/ 11223 h 43"/>
              <a:gd name="T24" fmla="*/ 14329 w 39"/>
              <a:gd name="T25" fmla="*/ 0 h 43"/>
              <a:gd name="T26" fmla="*/ 8508 w 39"/>
              <a:gd name="T27" fmla="*/ 4209 h 43"/>
              <a:gd name="T28" fmla="*/ 2687 w 39"/>
              <a:gd name="T29" fmla="*/ 8417 h 43"/>
              <a:gd name="T30" fmla="*/ 0 w 39"/>
              <a:gd name="T31" fmla="*/ 16835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58" name="Freeform 208">
            <a:extLst>
              <a:ext uri="{FF2B5EF4-FFF2-40B4-BE49-F238E27FC236}">
                <a16:creationId xmlns:a16="http://schemas.microsoft.com/office/drawing/2014/main" id="{E9369BD8-7A89-4C4D-B752-CD186E534CCF}"/>
              </a:ext>
            </a:extLst>
          </p:cNvPr>
          <p:cNvSpPr>
            <a:spLocks/>
          </p:cNvSpPr>
          <p:nvPr>
            <p:custDataLst>
              <p:tags r:id="rId135"/>
            </p:custDataLst>
          </p:nvPr>
        </p:nvSpPr>
        <p:spPr bwMode="auto">
          <a:xfrm>
            <a:off x="4133816" y="10842321"/>
            <a:ext cx="57263" cy="124631"/>
          </a:xfrm>
          <a:custGeom>
            <a:avLst/>
            <a:gdLst>
              <a:gd name="T0" fmla="*/ 14230 w 55"/>
              <a:gd name="T1" fmla="*/ 24632 h 62"/>
              <a:gd name="T2" fmla="*/ 3926 w 55"/>
              <a:gd name="T3" fmla="*/ 0 h 62"/>
              <a:gd name="T4" fmla="*/ 1963 w 55"/>
              <a:gd name="T5" fmla="*/ 4737 h 62"/>
              <a:gd name="T6" fmla="*/ 491 w 55"/>
              <a:gd name="T7" fmla="*/ 10421 h 62"/>
              <a:gd name="T8" fmla="*/ 0 w 55"/>
              <a:gd name="T9" fmla="*/ 15158 h 62"/>
              <a:gd name="T10" fmla="*/ 0 w 55"/>
              <a:gd name="T11" fmla="*/ 19895 h 62"/>
              <a:gd name="T12" fmla="*/ 981 w 55"/>
              <a:gd name="T13" fmla="*/ 24632 h 62"/>
              <a:gd name="T14" fmla="*/ 1963 w 55"/>
              <a:gd name="T15" fmla="*/ 29369 h 62"/>
              <a:gd name="T16" fmla="*/ 3926 w 55"/>
              <a:gd name="T17" fmla="*/ 34106 h 62"/>
              <a:gd name="T18" fmla="*/ 5398 w 55"/>
              <a:gd name="T19" fmla="*/ 38843 h 62"/>
              <a:gd name="T20" fmla="*/ 7851 w 55"/>
              <a:gd name="T21" fmla="*/ 42632 h 62"/>
              <a:gd name="T22" fmla="*/ 10305 w 55"/>
              <a:gd name="T23" fmla="*/ 46422 h 62"/>
              <a:gd name="T24" fmla="*/ 12758 w 55"/>
              <a:gd name="T25" fmla="*/ 50212 h 62"/>
              <a:gd name="T26" fmla="*/ 16193 w 55"/>
              <a:gd name="T27" fmla="*/ 53054 h 62"/>
              <a:gd name="T28" fmla="*/ 18646 w 55"/>
              <a:gd name="T29" fmla="*/ 54948 h 62"/>
              <a:gd name="T30" fmla="*/ 21590 w 55"/>
              <a:gd name="T31" fmla="*/ 56843 h 62"/>
              <a:gd name="T32" fmla="*/ 24044 w 55"/>
              <a:gd name="T33" fmla="*/ 57791 h 62"/>
              <a:gd name="T34" fmla="*/ 26988 w 55"/>
              <a:gd name="T35" fmla="*/ 58738 h 62"/>
              <a:gd name="T36" fmla="*/ 26497 w 55"/>
              <a:gd name="T37" fmla="*/ 50212 h 62"/>
              <a:gd name="T38" fmla="*/ 26007 w 55"/>
              <a:gd name="T39" fmla="*/ 43580 h 62"/>
              <a:gd name="T40" fmla="*/ 24044 w 55"/>
              <a:gd name="T41" fmla="*/ 37895 h 62"/>
              <a:gd name="T42" fmla="*/ 22572 w 55"/>
              <a:gd name="T43" fmla="*/ 33159 h 62"/>
              <a:gd name="T44" fmla="*/ 21100 w 55"/>
              <a:gd name="T45" fmla="*/ 29369 h 62"/>
              <a:gd name="T46" fmla="*/ 18646 w 55"/>
              <a:gd name="T47" fmla="*/ 26527 h 62"/>
              <a:gd name="T48" fmla="*/ 16193 w 55"/>
              <a:gd name="T49" fmla="*/ 24632 h 62"/>
              <a:gd name="T50" fmla="*/ 14230 w 55"/>
              <a:gd name="T51" fmla="*/ 24632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59" name="Freeform 209">
            <a:extLst>
              <a:ext uri="{FF2B5EF4-FFF2-40B4-BE49-F238E27FC236}">
                <a16:creationId xmlns:a16="http://schemas.microsoft.com/office/drawing/2014/main" id="{E9885350-8236-45D5-A4CE-7719C3B0111A}"/>
              </a:ext>
            </a:extLst>
          </p:cNvPr>
          <p:cNvSpPr>
            <a:spLocks/>
          </p:cNvSpPr>
          <p:nvPr>
            <p:custDataLst>
              <p:tags r:id="rId136"/>
            </p:custDataLst>
          </p:nvPr>
        </p:nvSpPr>
        <p:spPr bwMode="auto">
          <a:xfrm>
            <a:off x="4197816" y="10913058"/>
            <a:ext cx="23578" cy="124629"/>
          </a:xfrm>
          <a:custGeom>
            <a:avLst/>
            <a:gdLst>
              <a:gd name="T0" fmla="*/ 10477 w 35"/>
              <a:gd name="T1" fmla="*/ 17758 h 43"/>
              <a:gd name="T2" fmla="*/ 2222 w 35"/>
              <a:gd name="T3" fmla="*/ 0 h 43"/>
              <a:gd name="T4" fmla="*/ 1270 w 35"/>
              <a:gd name="T5" fmla="*/ 10928 h 43"/>
              <a:gd name="T6" fmla="*/ 0 w 35"/>
              <a:gd name="T7" fmla="*/ 25954 h 43"/>
              <a:gd name="T8" fmla="*/ 635 w 35"/>
              <a:gd name="T9" fmla="*/ 38247 h 43"/>
              <a:gd name="T10" fmla="*/ 1587 w 35"/>
              <a:gd name="T11" fmla="*/ 49175 h 43"/>
              <a:gd name="T12" fmla="*/ 1905 w 35"/>
              <a:gd name="T13" fmla="*/ 53273 h 43"/>
              <a:gd name="T14" fmla="*/ 2540 w 35"/>
              <a:gd name="T15" fmla="*/ 56005 h 43"/>
              <a:gd name="T16" fmla="*/ 3492 w 35"/>
              <a:gd name="T17" fmla="*/ 58737 h 43"/>
              <a:gd name="T18" fmla="*/ 4445 w 35"/>
              <a:gd name="T19" fmla="*/ 58737 h 43"/>
              <a:gd name="T20" fmla="*/ 5715 w 35"/>
              <a:gd name="T21" fmla="*/ 58737 h 43"/>
              <a:gd name="T22" fmla="*/ 6985 w 35"/>
              <a:gd name="T23" fmla="*/ 57371 h 43"/>
              <a:gd name="T24" fmla="*/ 8255 w 35"/>
              <a:gd name="T25" fmla="*/ 56005 h 43"/>
              <a:gd name="T26" fmla="*/ 8890 w 35"/>
              <a:gd name="T27" fmla="*/ 53273 h 43"/>
              <a:gd name="T28" fmla="*/ 9842 w 35"/>
              <a:gd name="T29" fmla="*/ 47809 h 43"/>
              <a:gd name="T30" fmla="*/ 10477 w 35"/>
              <a:gd name="T31" fmla="*/ 40979 h 43"/>
              <a:gd name="T32" fmla="*/ 11112 w 35"/>
              <a:gd name="T33" fmla="*/ 27320 h 43"/>
              <a:gd name="T34" fmla="*/ 10477 w 35"/>
              <a:gd name="T35" fmla="*/ 1775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60" name="Freeform 210">
            <a:extLst>
              <a:ext uri="{FF2B5EF4-FFF2-40B4-BE49-F238E27FC236}">
                <a16:creationId xmlns:a16="http://schemas.microsoft.com/office/drawing/2014/main" id="{EC05ECC8-5103-48C4-BBC9-C9D3C507D2F6}"/>
              </a:ext>
            </a:extLst>
          </p:cNvPr>
          <p:cNvSpPr>
            <a:spLocks/>
          </p:cNvSpPr>
          <p:nvPr>
            <p:custDataLst>
              <p:tags r:id="rId137"/>
            </p:custDataLst>
          </p:nvPr>
        </p:nvSpPr>
        <p:spPr bwMode="auto">
          <a:xfrm>
            <a:off x="4191079" y="10983792"/>
            <a:ext cx="43788" cy="117894"/>
          </a:xfrm>
          <a:custGeom>
            <a:avLst/>
            <a:gdLst>
              <a:gd name="T0" fmla="*/ 20637 w 53"/>
              <a:gd name="T1" fmla="*/ 0 h 21"/>
              <a:gd name="T2" fmla="*/ 15964 w 53"/>
              <a:gd name="T3" fmla="*/ 2646 h 21"/>
              <a:gd name="T4" fmla="*/ 12460 w 53"/>
              <a:gd name="T5" fmla="*/ 5292 h 21"/>
              <a:gd name="T6" fmla="*/ 9734 w 53"/>
              <a:gd name="T7" fmla="*/ 13229 h 21"/>
              <a:gd name="T8" fmla="*/ 8177 w 53"/>
              <a:gd name="T9" fmla="*/ 18521 h 21"/>
              <a:gd name="T10" fmla="*/ 6619 w 53"/>
              <a:gd name="T11" fmla="*/ 26459 h 21"/>
              <a:gd name="T12" fmla="*/ 5062 w 53"/>
              <a:gd name="T13" fmla="*/ 34396 h 21"/>
              <a:gd name="T14" fmla="*/ 3115 w 53"/>
              <a:gd name="T15" fmla="*/ 42334 h 21"/>
              <a:gd name="T16" fmla="*/ 0 w 53"/>
              <a:gd name="T17" fmla="*/ 47625 h 21"/>
              <a:gd name="T18" fmla="*/ 1947 w 53"/>
              <a:gd name="T19" fmla="*/ 52917 h 21"/>
              <a:gd name="T20" fmla="*/ 4283 w 53"/>
              <a:gd name="T21" fmla="*/ 55563 h 21"/>
              <a:gd name="T22" fmla="*/ 6619 w 53"/>
              <a:gd name="T23" fmla="*/ 55563 h 21"/>
              <a:gd name="T24" fmla="*/ 9345 w 53"/>
              <a:gd name="T25" fmla="*/ 55563 h 21"/>
              <a:gd name="T26" fmla="*/ 14796 w 53"/>
              <a:gd name="T27" fmla="*/ 50271 h 21"/>
              <a:gd name="T28" fmla="*/ 20637 w 53"/>
              <a:gd name="T29" fmla="*/ 47625 h 21"/>
              <a:gd name="T30" fmla="*/ 2063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61" name="Freeform 211">
            <a:extLst>
              <a:ext uri="{FF2B5EF4-FFF2-40B4-BE49-F238E27FC236}">
                <a16:creationId xmlns:a16="http://schemas.microsoft.com/office/drawing/2014/main" id="{B2FC85E1-5D2C-4C40-AB31-C6C78CD13146}"/>
              </a:ext>
            </a:extLst>
          </p:cNvPr>
          <p:cNvSpPr>
            <a:spLocks/>
          </p:cNvSpPr>
          <p:nvPr>
            <p:custDataLst>
              <p:tags r:id="rId138"/>
            </p:custDataLst>
          </p:nvPr>
        </p:nvSpPr>
        <p:spPr bwMode="auto">
          <a:xfrm>
            <a:off x="4241604" y="11014109"/>
            <a:ext cx="37053" cy="121262"/>
          </a:xfrm>
          <a:custGeom>
            <a:avLst/>
            <a:gdLst>
              <a:gd name="T0" fmla="*/ 8935 w 43"/>
              <a:gd name="T1" fmla="*/ 0 h 38"/>
              <a:gd name="T2" fmla="*/ 4873 w 43"/>
              <a:gd name="T3" fmla="*/ 0 h 38"/>
              <a:gd name="T4" fmla="*/ 812 w 43"/>
              <a:gd name="T5" fmla="*/ 0 h 38"/>
              <a:gd name="T6" fmla="*/ 406 w 43"/>
              <a:gd name="T7" fmla="*/ 0 h 38"/>
              <a:gd name="T8" fmla="*/ 0 w 43"/>
              <a:gd name="T9" fmla="*/ 1504 h 38"/>
              <a:gd name="T10" fmla="*/ 0 w 43"/>
              <a:gd name="T11" fmla="*/ 4512 h 38"/>
              <a:gd name="T12" fmla="*/ 0 w 43"/>
              <a:gd name="T13" fmla="*/ 9024 h 38"/>
              <a:gd name="T14" fmla="*/ 406 w 43"/>
              <a:gd name="T15" fmla="*/ 15039 h 38"/>
              <a:gd name="T16" fmla="*/ 812 w 43"/>
              <a:gd name="T17" fmla="*/ 18047 h 38"/>
              <a:gd name="T18" fmla="*/ 1218 w 43"/>
              <a:gd name="T19" fmla="*/ 27071 h 38"/>
              <a:gd name="T20" fmla="*/ 2031 w 43"/>
              <a:gd name="T21" fmla="*/ 37599 h 38"/>
              <a:gd name="T22" fmla="*/ 4061 w 43"/>
              <a:gd name="T23" fmla="*/ 45118 h 38"/>
              <a:gd name="T24" fmla="*/ 6092 w 43"/>
              <a:gd name="T25" fmla="*/ 51134 h 38"/>
              <a:gd name="T26" fmla="*/ 8528 w 43"/>
              <a:gd name="T27" fmla="*/ 55646 h 38"/>
              <a:gd name="T28" fmla="*/ 10965 w 43"/>
              <a:gd name="T29" fmla="*/ 57150 h 38"/>
              <a:gd name="T30" fmla="*/ 14214 w 43"/>
              <a:gd name="T31" fmla="*/ 57150 h 38"/>
              <a:gd name="T32" fmla="*/ 17463 w 43"/>
              <a:gd name="T33" fmla="*/ 55646 h 38"/>
              <a:gd name="T34" fmla="*/ 16245 w 43"/>
              <a:gd name="T35" fmla="*/ 43614 h 38"/>
              <a:gd name="T36" fmla="*/ 14620 w 43"/>
              <a:gd name="T37" fmla="*/ 34591 h 38"/>
              <a:gd name="T38" fmla="*/ 13402 w 43"/>
              <a:gd name="T39" fmla="*/ 25567 h 38"/>
              <a:gd name="T40" fmla="*/ 12183 w 43"/>
              <a:gd name="T41" fmla="*/ 19551 h 38"/>
              <a:gd name="T42" fmla="*/ 10965 w 43"/>
              <a:gd name="T43" fmla="*/ 15039 h 38"/>
              <a:gd name="T44" fmla="*/ 9747 w 43"/>
              <a:gd name="T45" fmla="*/ 10528 h 38"/>
              <a:gd name="T46" fmla="*/ 9341 w 43"/>
              <a:gd name="T47" fmla="*/ 6016 h 38"/>
              <a:gd name="T48" fmla="*/ 8935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62" name="Freeform 212">
            <a:extLst>
              <a:ext uri="{FF2B5EF4-FFF2-40B4-BE49-F238E27FC236}">
                <a16:creationId xmlns:a16="http://schemas.microsoft.com/office/drawing/2014/main" id="{8C9E4B1B-88DB-48A7-9B38-6D866981198E}"/>
              </a:ext>
            </a:extLst>
          </p:cNvPr>
          <p:cNvSpPr>
            <a:spLocks/>
          </p:cNvSpPr>
          <p:nvPr>
            <p:custDataLst>
              <p:tags r:id="rId139"/>
            </p:custDataLst>
          </p:nvPr>
        </p:nvSpPr>
        <p:spPr bwMode="auto">
          <a:xfrm>
            <a:off x="4244973" y="11074740"/>
            <a:ext cx="13474" cy="121262"/>
          </a:xfrm>
          <a:custGeom>
            <a:avLst/>
            <a:gdLst>
              <a:gd name="T0" fmla="*/ 0 w 20"/>
              <a:gd name="T1" fmla="*/ 0 h 5"/>
              <a:gd name="T2" fmla="*/ 318 w 20"/>
              <a:gd name="T3" fmla="*/ 22860 h 5"/>
              <a:gd name="T4" fmla="*/ 635 w 20"/>
              <a:gd name="T5" fmla="*/ 34290 h 5"/>
              <a:gd name="T6" fmla="*/ 1270 w 20"/>
              <a:gd name="T7" fmla="*/ 45720 h 5"/>
              <a:gd name="T8" fmla="*/ 2223 w 20"/>
              <a:gd name="T9" fmla="*/ 57150 h 5"/>
              <a:gd name="T10" fmla="*/ 3493 w 20"/>
              <a:gd name="T11" fmla="*/ 45720 h 5"/>
              <a:gd name="T12" fmla="*/ 4445 w 20"/>
              <a:gd name="T13" fmla="*/ 34290 h 5"/>
              <a:gd name="T14" fmla="*/ 5398 w 20"/>
              <a:gd name="T15" fmla="*/ 22860 h 5"/>
              <a:gd name="T16" fmla="*/ 635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63" name="Freeform 213">
            <a:extLst>
              <a:ext uri="{FF2B5EF4-FFF2-40B4-BE49-F238E27FC236}">
                <a16:creationId xmlns:a16="http://schemas.microsoft.com/office/drawing/2014/main" id="{2CE4F6D1-3E5F-48E2-BB48-B26D2F68AC56}"/>
              </a:ext>
            </a:extLst>
          </p:cNvPr>
          <p:cNvSpPr>
            <a:spLocks/>
          </p:cNvSpPr>
          <p:nvPr>
            <p:custDataLst>
              <p:tags r:id="rId140"/>
            </p:custDataLst>
          </p:nvPr>
        </p:nvSpPr>
        <p:spPr bwMode="auto">
          <a:xfrm>
            <a:off x="4403286" y="11222948"/>
            <a:ext cx="74104" cy="121262"/>
          </a:xfrm>
          <a:custGeom>
            <a:avLst/>
            <a:gdLst>
              <a:gd name="T0" fmla="*/ 19137 w 73"/>
              <a:gd name="T1" fmla="*/ 0 h 22"/>
              <a:gd name="T2" fmla="*/ 15310 w 73"/>
              <a:gd name="T3" fmla="*/ 2598 h 22"/>
              <a:gd name="T4" fmla="*/ 12439 w 73"/>
              <a:gd name="T5" fmla="*/ 5195 h 22"/>
              <a:gd name="T6" fmla="*/ 9568 w 73"/>
              <a:gd name="T7" fmla="*/ 12989 h 22"/>
              <a:gd name="T8" fmla="*/ 7176 w 73"/>
              <a:gd name="T9" fmla="*/ 20782 h 22"/>
              <a:gd name="T10" fmla="*/ 2871 w 73"/>
              <a:gd name="T11" fmla="*/ 36368 h 22"/>
              <a:gd name="T12" fmla="*/ 0 w 73"/>
              <a:gd name="T13" fmla="*/ 49357 h 22"/>
              <a:gd name="T14" fmla="*/ 9568 w 73"/>
              <a:gd name="T15" fmla="*/ 51955 h 22"/>
              <a:gd name="T16" fmla="*/ 18659 w 73"/>
              <a:gd name="T17" fmla="*/ 57150 h 22"/>
              <a:gd name="T18" fmla="*/ 23443 w 73"/>
              <a:gd name="T19" fmla="*/ 57150 h 22"/>
              <a:gd name="T20" fmla="*/ 27270 w 73"/>
              <a:gd name="T21" fmla="*/ 57150 h 22"/>
              <a:gd name="T22" fmla="*/ 31098 w 73"/>
              <a:gd name="T23" fmla="*/ 54552 h 22"/>
              <a:gd name="T24" fmla="*/ 34925 w 73"/>
              <a:gd name="T25" fmla="*/ 49357 h 22"/>
              <a:gd name="T26" fmla="*/ 30619 w 73"/>
              <a:gd name="T27" fmla="*/ 36368 h 22"/>
              <a:gd name="T28" fmla="*/ 26792 w 73"/>
              <a:gd name="T29" fmla="*/ 20782 h 22"/>
              <a:gd name="T30" fmla="*/ 25357 w 73"/>
              <a:gd name="T31" fmla="*/ 12989 h 22"/>
              <a:gd name="T32" fmla="*/ 23443 w 73"/>
              <a:gd name="T33" fmla="*/ 5195 h 22"/>
              <a:gd name="T34" fmla="*/ 21051 w 73"/>
              <a:gd name="T35" fmla="*/ 2598 h 22"/>
              <a:gd name="T36" fmla="*/ 1913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64" name="Freeform 214">
            <a:extLst>
              <a:ext uri="{FF2B5EF4-FFF2-40B4-BE49-F238E27FC236}">
                <a16:creationId xmlns:a16="http://schemas.microsoft.com/office/drawing/2014/main" id="{35F66F56-316D-47E1-947D-1CE7B291221A}"/>
              </a:ext>
            </a:extLst>
          </p:cNvPr>
          <p:cNvSpPr>
            <a:spLocks/>
          </p:cNvSpPr>
          <p:nvPr>
            <p:custDataLst>
              <p:tags r:id="rId141"/>
            </p:custDataLst>
          </p:nvPr>
        </p:nvSpPr>
        <p:spPr bwMode="auto">
          <a:xfrm>
            <a:off x="4484127" y="11098317"/>
            <a:ext cx="262733" cy="212209"/>
          </a:xfrm>
          <a:custGeom>
            <a:avLst/>
            <a:gdLst>
              <a:gd name="T0" fmla="*/ 103555 w 281"/>
              <a:gd name="T1" fmla="*/ 87058 h 193"/>
              <a:gd name="T2" fmla="*/ 82844 w 281"/>
              <a:gd name="T3" fmla="*/ 88613 h 193"/>
              <a:gd name="T4" fmla="*/ 74031 w 281"/>
              <a:gd name="T5" fmla="*/ 87058 h 193"/>
              <a:gd name="T6" fmla="*/ 68302 w 281"/>
              <a:gd name="T7" fmla="*/ 84985 h 193"/>
              <a:gd name="T8" fmla="*/ 57286 w 281"/>
              <a:gd name="T9" fmla="*/ 69957 h 193"/>
              <a:gd name="T10" fmla="*/ 45828 w 281"/>
              <a:gd name="T11" fmla="*/ 48711 h 193"/>
              <a:gd name="T12" fmla="*/ 41422 w 281"/>
              <a:gd name="T13" fmla="*/ 38347 h 193"/>
              <a:gd name="T14" fmla="*/ 38337 w 281"/>
              <a:gd name="T15" fmla="*/ 26428 h 193"/>
              <a:gd name="T16" fmla="*/ 36575 w 281"/>
              <a:gd name="T17" fmla="*/ 13991 h 193"/>
              <a:gd name="T18" fmla="*/ 18948 w 281"/>
              <a:gd name="T19" fmla="*/ 0 h 193"/>
              <a:gd name="T20" fmla="*/ 12338 w 281"/>
              <a:gd name="T21" fmla="*/ 26947 h 193"/>
              <a:gd name="T22" fmla="*/ 7932 w 281"/>
              <a:gd name="T23" fmla="*/ 31610 h 193"/>
              <a:gd name="T24" fmla="*/ 2644 w 281"/>
              <a:gd name="T25" fmla="*/ 35756 h 193"/>
              <a:gd name="T26" fmla="*/ 0 w 281"/>
              <a:gd name="T27" fmla="*/ 37829 h 193"/>
              <a:gd name="T28" fmla="*/ 441 w 281"/>
              <a:gd name="T29" fmla="*/ 38865 h 193"/>
              <a:gd name="T30" fmla="*/ 3966 w 281"/>
              <a:gd name="T31" fmla="*/ 41974 h 193"/>
              <a:gd name="T32" fmla="*/ 16304 w 281"/>
              <a:gd name="T33" fmla="*/ 57520 h 193"/>
              <a:gd name="T34" fmla="*/ 19830 w 281"/>
              <a:gd name="T35" fmla="*/ 63221 h 193"/>
              <a:gd name="T36" fmla="*/ 23355 w 281"/>
              <a:gd name="T37" fmla="*/ 66848 h 193"/>
              <a:gd name="T38" fmla="*/ 27321 w 281"/>
              <a:gd name="T39" fmla="*/ 69439 h 193"/>
              <a:gd name="T40" fmla="*/ 31287 w 281"/>
              <a:gd name="T41" fmla="*/ 70475 h 193"/>
              <a:gd name="T42" fmla="*/ 33490 w 281"/>
              <a:gd name="T43" fmla="*/ 73066 h 193"/>
              <a:gd name="T44" fmla="*/ 34812 w 281"/>
              <a:gd name="T45" fmla="*/ 76694 h 193"/>
              <a:gd name="T46" fmla="*/ 37897 w 281"/>
              <a:gd name="T47" fmla="*/ 79285 h 193"/>
              <a:gd name="T48" fmla="*/ 43625 w 281"/>
              <a:gd name="T49" fmla="*/ 79803 h 193"/>
              <a:gd name="T50" fmla="*/ 46710 w 281"/>
              <a:gd name="T51" fmla="*/ 81358 h 193"/>
              <a:gd name="T52" fmla="*/ 48032 w 281"/>
              <a:gd name="T53" fmla="*/ 84467 h 193"/>
              <a:gd name="T54" fmla="*/ 48032 w 281"/>
              <a:gd name="T55" fmla="*/ 92758 h 193"/>
              <a:gd name="T56" fmla="*/ 48913 w 281"/>
              <a:gd name="T57" fmla="*/ 97940 h 193"/>
              <a:gd name="T58" fmla="*/ 50676 w 281"/>
              <a:gd name="T59" fmla="*/ 100013 h 193"/>
              <a:gd name="T60" fmla="*/ 56845 w 281"/>
              <a:gd name="T61" fmla="*/ 100013 h 193"/>
              <a:gd name="T62" fmla="*/ 72268 w 281"/>
              <a:gd name="T63" fmla="*/ 98977 h 193"/>
              <a:gd name="T64" fmla="*/ 79319 w 281"/>
              <a:gd name="T65" fmla="*/ 97940 h 193"/>
              <a:gd name="T66" fmla="*/ 84606 w 281"/>
              <a:gd name="T67" fmla="*/ 96386 h 193"/>
              <a:gd name="T68" fmla="*/ 93420 w 281"/>
              <a:gd name="T69" fmla="*/ 97422 h 193"/>
              <a:gd name="T70" fmla="*/ 123825 w 281"/>
              <a:gd name="T71" fmla="*/ 8654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65" name="Freeform 215">
            <a:extLst>
              <a:ext uri="{FF2B5EF4-FFF2-40B4-BE49-F238E27FC236}">
                <a16:creationId xmlns:a16="http://schemas.microsoft.com/office/drawing/2014/main" id="{73681E93-9171-40E6-BA94-0DE3FBDCB311}"/>
              </a:ext>
            </a:extLst>
          </p:cNvPr>
          <p:cNvSpPr>
            <a:spLocks/>
          </p:cNvSpPr>
          <p:nvPr>
            <p:custDataLst>
              <p:tags r:id="rId142"/>
            </p:custDataLst>
          </p:nvPr>
        </p:nvSpPr>
        <p:spPr bwMode="auto">
          <a:xfrm>
            <a:off x="3534245" y="6359014"/>
            <a:ext cx="111157" cy="124629"/>
          </a:xfrm>
          <a:custGeom>
            <a:avLst/>
            <a:gdLst>
              <a:gd name="T0" fmla="*/ 0 w 120"/>
              <a:gd name="T1" fmla="*/ 18880 h 56"/>
              <a:gd name="T2" fmla="*/ 1746 w 120"/>
              <a:gd name="T3" fmla="*/ 27271 h 56"/>
              <a:gd name="T4" fmla="*/ 4366 w 120"/>
              <a:gd name="T5" fmla="*/ 34613 h 56"/>
              <a:gd name="T6" fmla="*/ 6549 w 120"/>
              <a:gd name="T7" fmla="*/ 38808 h 56"/>
              <a:gd name="T8" fmla="*/ 9168 w 120"/>
              <a:gd name="T9" fmla="*/ 43004 h 56"/>
              <a:gd name="T10" fmla="*/ 11787 w 120"/>
              <a:gd name="T11" fmla="*/ 46151 h 56"/>
              <a:gd name="T12" fmla="*/ 15280 w 120"/>
              <a:gd name="T13" fmla="*/ 48248 h 56"/>
              <a:gd name="T14" fmla="*/ 18772 w 120"/>
              <a:gd name="T15" fmla="*/ 50346 h 56"/>
              <a:gd name="T16" fmla="*/ 22265 w 120"/>
              <a:gd name="T17" fmla="*/ 51395 h 56"/>
              <a:gd name="T18" fmla="*/ 29250 w 120"/>
              <a:gd name="T19" fmla="*/ 52444 h 56"/>
              <a:gd name="T20" fmla="*/ 37108 w 120"/>
              <a:gd name="T21" fmla="*/ 53493 h 56"/>
              <a:gd name="T22" fmla="*/ 44530 w 120"/>
              <a:gd name="T23" fmla="*/ 54542 h 56"/>
              <a:gd name="T24" fmla="*/ 52388 w 120"/>
              <a:gd name="T25" fmla="*/ 58737 h 56"/>
              <a:gd name="T26" fmla="*/ 52388 w 120"/>
              <a:gd name="T27" fmla="*/ 38808 h 56"/>
              <a:gd name="T28" fmla="*/ 48459 w 120"/>
              <a:gd name="T29" fmla="*/ 35662 h 56"/>
              <a:gd name="T30" fmla="*/ 44530 w 120"/>
              <a:gd name="T31" fmla="*/ 31466 h 56"/>
              <a:gd name="T32" fmla="*/ 41037 w 120"/>
              <a:gd name="T33" fmla="*/ 25173 h 56"/>
              <a:gd name="T34" fmla="*/ 38418 w 120"/>
              <a:gd name="T35" fmla="*/ 18880 h 56"/>
              <a:gd name="T36" fmla="*/ 35362 w 120"/>
              <a:gd name="T37" fmla="*/ 13635 h 56"/>
              <a:gd name="T38" fmla="*/ 32743 w 120"/>
              <a:gd name="T39" fmla="*/ 7342 h 56"/>
              <a:gd name="T40" fmla="*/ 29250 w 120"/>
              <a:gd name="T41" fmla="*/ 3147 h 56"/>
              <a:gd name="T42" fmla="*/ 26194 w 120"/>
              <a:gd name="T43" fmla="*/ 0 h 56"/>
              <a:gd name="T44" fmla="*/ 24011 w 120"/>
              <a:gd name="T45" fmla="*/ 1049 h 56"/>
              <a:gd name="T46" fmla="*/ 20955 w 120"/>
              <a:gd name="T47" fmla="*/ 3147 h 56"/>
              <a:gd name="T48" fmla="*/ 17899 w 120"/>
              <a:gd name="T49" fmla="*/ 6293 h 56"/>
              <a:gd name="T50" fmla="*/ 14407 w 120"/>
              <a:gd name="T51" fmla="*/ 9440 h 56"/>
              <a:gd name="T52" fmla="*/ 10478 w 120"/>
              <a:gd name="T53" fmla="*/ 13635 h 56"/>
              <a:gd name="T54" fmla="*/ 6985 w 120"/>
              <a:gd name="T55" fmla="*/ 15733 h 56"/>
              <a:gd name="T56" fmla="*/ 3493 w 120"/>
              <a:gd name="T57" fmla="*/ 18880 h 56"/>
              <a:gd name="T58" fmla="*/ 0 w 120"/>
              <a:gd name="T59" fmla="*/ 18880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66" name="Freeform 216">
            <a:extLst>
              <a:ext uri="{FF2B5EF4-FFF2-40B4-BE49-F238E27FC236}">
                <a16:creationId xmlns:a16="http://schemas.microsoft.com/office/drawing/2014/main" id="{C8215952-DB37-4F8F-8E45-D5FD8F204D68}"/>
              </a:ext>
            </a:extLst>
          </p:cNvPr>
          <p:cNvSpPr>
            <a:spLocks/>
          </p:cNvSpPr>
          <p:nvPr>
            <p:custDataLst>
              <p:tags r:id="rId143"/>
            </p:custDataLst>
          </p:nvPr>
        </p:nvSpPr>
        <p:spPr bwMode="auto">
          <a:xfrm>
            <a:off x="3231091" y="6065965"/>
            <a:ext cx="532203" cy="232419"/>
          </a:xfrm>
          <a:custGeom>
            <a:avLst/>
            <a:gdLst>
              <a:gd name="T0" fmla="*/ 55496 w 574"/>
              <a:gd name="T1" fmla="*/ 537 h 204"/>
              <a:gd name="T2" fmla="*/ 41513 w 574"/>
              <a:gd name="T3" fmla="*/ 3222 h 204"/>
              <a:gd name="T4" fmla="*/ 28841 w 574"/>
              <a:gd name="T5" fmla="*/ 8591 h 204"/>
              <a:gd name="T6" fmla="*/ 18790 w 574"/>
              <a:gd name="T7" fmla="*/ 13961 h 204"/>
              <a:gd name="T8" fmla="*/ 13109 w 574"/>
              <a:gd name="T9" fmla="*/ 18793 h 204"/>
              <a:gd name="T10" fmla="*/ 6992 w 574"/>
              <a:gd name="T11" fmla="*/ 27385 h 204"/>
              <a:gd name="T12" fmla="*/ 1748 w 574"/>
              <a:gd name="T13" fmla="*/ 38124 h 204"/>
              <a:gd name="T14" fmla="*/ 0 w 574"/>
              <a:gd name="T15" fmla="*/ 44030 h 204"/>
              <a:gd name="T16" fmla="*/ 437 w 574"/>
              <a:gd name="T17" fmla="*/ 46178 h 204"/>
              <a:gd name="T18" fmla="*/ 5681 w 574"/>
              <a:gd name="T19" fmla="*/ 46178 h 204"/>
              <a:gd name="T20" fmla="*/ 12672 w 574"/>
              <a:gd name="T21" fmla="*/ 44567 h 204"/>
              <a:gd name="T22" fmla="*/ 22723 w 574"/>
              <a:gd name="T23" fmla="*/ 40271 h 204"/>
              <a:gd name="T24" fmla="*/ 34958 w 574"/>
              <a:gd name="T25" fmla="*/ 31143 h 204"/>
              <a:gd name="T26" fmla="*/ 44572 w 574"/>
              <a:gd name="T27" fmla="*/ 24700 h 204"/>
              <a:gd name="T28" fmla="*/ 52000 w 574"/>
              <a:gd name="T29" fmla="*/ 21478 h 204"/>
              <a:gd name="T30" fmla="*/ 76471 w 574"/>
              <a:gd name="T31" fmla="*/ 19867 h 204"/>
              <a:gd name="T32" fmla="*/ 76908 w 574"/>
              <a:gd name="T33" fmla="*/ 25774 h 204"/>
              <a:gd name="T34" fmla="*/ 78656 w 574"/>
              <a:gd name="T35" fmla="*/ 29532 h 204"/>
              <a:gd name="T36" fmla="*/ 80404 w 574"/>
              <a:gd name="T37" fmla="*/ 31680 h 204"/>
              <a:gd name="T38" fmla="*/ 83026 w 574"/>
              <a:gd name="T39" fmla="*/ 32754 h 204"/>
              <a:gd name="T40" fmla="*/ 100068 w 574"/>
              <a:gd name="T41" fmla="*/ 32754 h 204"/>
              <a:gd name="T42" fmla="*/ 117547 w 574"/>
              <a:gd name="T43" fmla="*/ 41882 h 204"/>
              <a:gd name="T44" fmla="*/ 131967 w 574"/>
              <a:gd name="T45" fmla="*/ 51010 h 204"/>
              <a:gd name="T46" fmla="*/ 146824 w 574"/>
              <a:gd name="T47" fmla="*/ 59602 h 204"/>
              <a:gd name="T48" fmla="*/ 163867 w 574"/>
              <a:gd name="T49" fmla="*/ 66045 h 204"/>
              <a:gd name="T50" fmla="*/ 164303 w 574"/>
              <a:gd name="T51" fmla="*/ 71951 h 204"/>
              <a:gd name="T52" fmla="*/ 166925 w 574"/>
              <a:gd name="T53" fmla="*/ 76247 h 204"/>
              <a:gd name="T54" fmla="*/ 173043 w 574"/>
              <a:gd name="T55" fmla="*/ 81617 h 204"/>
              <a:gd name="T56" fmla="*/ 187026 w 574"/>
              <a:gd name="T57" fmla="*/ 89134 h 204"/>
              <a:gd name="T58" fmla="*/ 175665 w 574"/>
              <a:gd name="T59" fmla="*/ 102558 h 204"/>
              <a:gd name="T60" fmla="*/ 177850 w 574"/>
              <a:gd name="T61" fmla="*/ 105779 h 204"/>
              <a:gd name="T62" fmla="*/ 180909 w 574"/>
              <a:gd name="T63" fmla="*/ 107927 h 204"/>
              <a:gd name="T64" fmla="*/ 187463 w 574"/>
              <a:gd name="T65" fmla="*/ 109538 h 204"/>
              <a:gd name="T66" fmla="*/ 201447 w 574"/>
              <a:gd name="T67" fmla="*/ 109538 h 204"/>
              <a:gd name="T68" fmla="*/ 242522 w 574"/>
              <a:gd name="T69" fmla="*/ 101484 h 204"/>
              <a:gd name="T70" fmla="*/ 244270 w 574"/>
              <a:gd name="T71" fmla="*/ 98262 h 204"/>
              <a:gd name="T72" fmla="*/ 246892 w 574"/>
              <a:gd name="T73" fmla="*/ 95040 h 204"/>
              <a:gd name="T74" fmla="*/ 249951 w 574"/>
              <a:gd name="T75" fmla="*/ 92893 h 204"/>
              <a:gd name="T76" fmla="*/ 250825 w 574"/>
              <a:gd name="T77" fmla="*/ 86449 h 204"/>
              <a:gd name="T78" fmla="*/ 245144 w 574"/>
              <a:gd name="T79" fmla="*/ 82154 h 204"/>
              <a:gd name="T80" fmla="*/ 232472 w 574"/>
              <a:gd name="T81" fmla="*/ 79469 h 204"/>
              <a:gd name="T82" fmla="*/ 220237 w 574"/>
              <a:gd name="T83" fmla="*/ 74099 h 204"/>
              <a:gd name="T84" fmla="*/ 207564 w 574"/>
              <a:gd name="T85" fmla="*/ 66582 h 204"/>
              <a:gd name="T86" fmla="*/ 189211 w 574"/>
              <a:gd name="T87" fmla="*/ 53695 h 204"/>
              <a:gd name="T88" fmla="*/ 167362 w 574"/>
              <a:gd name="T89" fmla="*/ 36513 h 204"/>
              <a:gd name="T90" fmla="*/ 156438 w 574"/>
              <a:gd name="T91" fmla="*/ 28995 h 204"/>
              <a:gd name="T92" fmla="*/ 152068 w 574"/>
              <a:gd name="T93" fmla="*/ 27921 h 204"/>
              <a:gd name="T94" fmla="*/ 144203 w 574"/>
              <a:gd name="T95" fmla="*/ 27921 h 204"/>
              <a:gd name="T96" fmla="*/ 136337 w 574"/>
              <a:gd name="T97" fmla="*/ 27385 h 204"/>
              <a:gd name="T98" fmla="*/ 131967 w 574"/>
              <a:gd name="T99" fmla="*/ 26311 h 204"/>
              <a:gd name="T100" fmla="*/ 128471 w 574"/>
              <a:gd name="T101" fmla="*/ 23089 h 204"/>
              <a:gd name="T102" fmla="*/ 126723 w 574"/>
              <a:gd name="T103" fmla="*/ 17182 h 204"/>
              <a:gd name="T104" fmla="*/ 62051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67" name="Freeform 217">
            <a:extLst>
              <a:ext uri="{FF2B5EF4-FFF2-40B4-BE49-F238E27FC236}">
                <a16:creationId xmlns:a16="http://schemas.microsoft.com/office/drawing/2014/main" id="{F8BA40A5-DFFE-4A2F-93B6-68270600E681}"/>
              </a:ext>
            </a:extLst>
          </p:cNvPr>
          <p:cNvSpPr>
            <a:spLocks/>
          </p:cNvSpPr>
          <p:nvPr>
            <p:custDataLst>
              <p:tags r:id="rId144"/>
            </p:custDataLst>
          </p:nvPr>
        </p:nvSpPr>
        <p:spPr bwMode="auto">
          <a:xfrm>
            <a:off x="3877819" y="6284910"/>
            <a:ext cx="188629" cy="148209"/>
          </a:xfrm>
          <a:custGeom>
            <a:avLst/>
            <a:gdLst>
              <a:gd name="T0" fmla="*/ 17608 w 207"/>
              <a:gd name="T1" fmla="*/ 69850 h 129"/>
              <a:gd name="T2" fmla="*/ 21473 w 207"/>
              <a:gd name="T3" fmla="*/ 65518 h 129"/>
              <a:gd name="T4" fmla="*/ 25768 w 207"/>
              <a:gd name="T5" fmla="*/ 62269 h 129"/>
              <a:gd name="T6" fmla="*/ 30063 w 207"/>
              <a:gd name="T7" fmla="*/ 59562 h 129"/>
              <a:gd name="T8" fmla="*/ 34787 w 207"/>
              <a:gd name="T9" fmla="*/ 56855 h 129"/>
              <a:gd name="T10" fmla="*/ 45094 w 207"/>
              <a:gd name="T11" fmla="*/ 53606 h 129"/>
              <a:gd name="T12" fmla="*/ 55401 w 207"/>
              <a:gd name="T13" fmla="*/ 49816 h 129"/>
              <a:gd name="T14" fmla="*/ 65279 w 207"/>
              <a:gd name="T15" fmla="*/ 47108 h 129"/>
              <a:gd name="T16" fmla="*/ 74298 w 207"/>
              <a:gd name="T17" fmla="*/ 43859 h 129"/>
              <a:gd name="T18" fmla="*/ 78163 w 207"/>
              <a:gd name="T19" fmla="*/ 41693 h 129"/>
              <a:gd name="T20" fmla="*/ 82029 w 207"/>
              <a:gd name="T21" fmla="*/ 39528 h 129"/>
              <a:gd name="T22" fmla="*/ 85894 w 207"/>
              <a:gd name="T23" fmla="*/ 36279 h 129"/>
              <a:gd name="T24" fmla="*/ 88900 w 207"/>
              <a:gd name="T25" fmla="*/ 33030 h 129"/>
              <a:gd name="T26" fmla="*/ 85035 w 207"/>
              <a:gd name="T27" fmla="*/ 29240 h 129"/>
              <a:gd name="T28" fmla="*/ 80740 w 207"/>
              <a:gd name="T29" fmla="*/ 25449 h 129"/>
              <a:gd name="T30" fmla="*/ 76875 w 207"/>
              <a:gd name="T31" fmla="*/ 22742 h 129"/>
              <a:gd name="T32" fmla="*/ 72580 w 207"/>
              <a:gd name="T33" fmla="*/ 19493 h 129"/>
              <a:gd name="T34" fmla="*/ 64420 w 207"/>
              <a:gd name="T35" fmla="*/ 15703 h 129"/>
              <a:gd name="T36" fmla="*/ 55401 w 207"/>
              <a:gd name="T37" fmla="*/ 12454 h 129"/>
              <a:gd name="T38" fmla="*/ 45953 w 207"/>
              <a:gd name="T39" fmla="*/ 9747 h 129"/>
              <a:gd name="T40" fmla="*/ 36505 w 207"/>
              <a:gd name="T41" fmla="*/ 7039 h 129"/>
              <a:gd name="T42" fmla="*/ 27057 w 207"/>
              <a:gd name="T43" fmla="*/ 3790 h 129"/>
              <a:gd name="T44" fmla="*/ 17608 w 207"/>
              <a:gd name="T45" fmla="*/ 0 h 129"/>
              <a:gd name="T46" fmla="*/ 0 w 207"/>
              <a:gd name="T47" fmla="*/ 0 h 129"/>
              <a:gd name="T48" fmla="*/ 429 w 207"/>
              <a:gd name="T49" fmla="*/ 3249 h 129"/>
              <a:gd name="T50" fmla="*/ 859 w 207"/>
              <a:gd name="T51" fmla="*/ 7039 h 129"/>
              <a:gd name="T52" fmla="*/ 1718 w 207"/>
              <a:gd name="T53" fmla="*/ 10288 h 129"/>
              <a:gd name="T54" fmla="*/ 2577 w 207"/>
              <a:gd name="T55" fmla="*/ 13537 h 129"/>
              <a:gd name="T56" fmla="*/ 4295 w 207"/>
              <a:gd name="T57" fmla="*/ 18952 h 129"/>
              <a:gd name="T58" fmla="*/ 5583 w 207"/>
              <a:gd name="T59" fmla="*/ 24908 h 129"/>
              <a:gd name="T60" fmla="*/ 7301 w 207"/>
              <a:gd name="T61" fmla="*/ 29240 h 129"/>
              <a:gd name="T62" fmla="*/ 7730 w 207"/>
              <a:gd name="T63" fmla="*/ 33571 h 129"/>
              <a:gd name="T64" fmla="*/ 7301 w 207"/>
              <a:gd name="T65" fmla="*/ 35196 h 129"/>
              <a:gd name="T66" fmla="*/ 6013 w 207"/>
              <a:gd name="T67" fmla="*/ 36820 h 129"/>
              <a:gd name="T68" fmla="*/ 4724 w 207"/>
              <a:gd name="T69" fmla="*/ 38445 h 129"/>
              <a:gd name="T70" fmla="*/ 3006 w 207"/>
              <a:gd name="T71" fmla="*/ 39528 h 129"/>
              <a:gd name="T72" fmla="*/ 0 w 207"/>
              <a:gd name="T73" fmla="*/ 56313 h 129"/>
              <a:gd name="T74" fmla="*/ 1718 w 207"/>
              <a:gd name="T75" fmla="*/ 57396 h 129"/>
              <a:gd name="T76" fmla="*/ 5583 w 207"/>
              <a:gd name="T77" fmla="*/ 59562 h 129"/>
              <a:gd name="T78" fmla="*/ 8160 w 207"/>
              <a:gd name="T79" fmla="*/ 61186 h 129"/>
              <a:gd name="T80" fmla="*/ 10737 w 207"/>
              <a:gd name="T81" fmla="*/ 63352 h 129"/>
              <a:gd name="T82" fmla="*/ 14172 w 207"/>
              <a:gd name="T83" fmla="*/ 66060 h 129"/>
              <a:gd name="T84" fmla="*/ 17608 w 207"/>
              <a:gd name="T85" fmla="*/ 6985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68" name="Freeform 218">
            <a:extLst>
              <a:ext uri="{FF2B5EF4-FFF2-40B4-BE49-F238E27FC236}">
                <a16:creationId xmlns:a16="http://schemas.microsoft.com/office/drawing/2014/main" id="{3B5AE302-83E9-47D5-B34C-6D4499E995B0}"/>
              </a:ext>
            </a:extLst>
          </p:cNvPr>
          <p:cNvSpPr>
            <a:spLocks/>
          </p:cNvSpPr>
          <p:nvPr>
            <p:custDataLst>
              <p:tags r:id="rId145"/>
            </p:custDataLst>
          </p:nvPr>
        </p:nvSpPr>
        <p:spPr bwMode="auto">
          <a:xfrm>
            <a:off x="2961621" y="6412908"/>
            <a:ext cx="70737" cy="178523"/>
          </a:xfrm>
          <a:custGeom>
            <a:avLst/>
            <a:gdLst>
              <a:gd name="T0" fmla="*/ 33338 w 72"/>
              <a:gd name="T1" fmla="*/ 0 h 154"/>
              <a:gd name="T2" fmla="*/ 31949 w 72"/>
              <a:gd name="T3" fmla="*/ 2185 h 154"/>
              <a:gd name="T4" fmla="*/ 31023 w 72"/>
              <a:gd name="T5" fmla="*/ 4917 h 154"/>
              <a:gd name="T6" fmla="*/ 30560 w 72"/>
              <a:gd name="T7" fmla="*/ 7102 h 154"/>
              <a:gd name="T8" fmla="*/ 30560 w 72"/>
              <a:gd name="T9" fmla="*/ 9834 h 154"/>
              <a:gd name="T10" fmla="*/ 30560 w 72"/>
              <a:gd name="T11" fmla="*/ 14751 h 154"/>
              <a:gd name="T12" fmla="*/ 30560 w 72"/>
              <a:gd name="T13" fmla="*/ 20215 h 154"/>
              <a:gd name="T14" fmla="*/ 31949 w 72"/>
              <a:gd name="T15" fmla="*/ 23493 h 154"/>
              <a:gd name="T16" fmla="*/ 32875 w 72"/>
              <a:gd name="T17" fmla="*/ 27317 h 154"/>
              <a:gd name="T18" fmla="*/ 32875 w 72"/>
              <a:gd name="T19" fmla="*/ 31142 h 154"/>
              <a:gd name="T20" fmla="*/ 32875 w 72"/>
              <a:gd name="T21" fmla="*/ 35512 h 154"/>
              <a:gd name="T22" fmla="*/ 31949 w 72"/>
              <a:gd name="T23" fmla="*/ 39883 h 154"/>
              <a:gd name="T24" fmla="*/ 31023 w 72"/>
              <a:gd name="T25" fmla="*/ 44800 h 154"/>
              <a:gd name="T26" fmla="*/ 30097 w 72"/>
              <a:gd name="T27" fmla="*/ 49717 h 154"/>
              <a:gd name="T28" fmla="*/ 28245 w 72"/>
              <a:gd name="T29" fmla="*/ 54634 h 154"/>
              <a:gd name="T30" fmla="*/ 24540 w 72"/>
              <a:gd name="T31" fmla="*/ 63376 h 154"/>
              <a:gd name="T32" fmla="*/ 20373 w 72"/>
              <a:gd name="T33" fmla="*/ 71571 h 154"/>
              <a:gd name="T34" fmla="*/ 15743 w 72"/>
              <a:gd name="T35" fmla="*/ 78674 h 154"/>
              <a:gd name="T36" fmla="*/ 12039 w 72"/>
              <a:gd name="T37" fmla="*/ 84137 h 154"/>
              <a:gd name="T38" fmla="*/ 12039 w 72"/>
              <a:gd name="T39" fmla="*/ 77035 h 154"/>
              <a:gd name="T40" fmla="*/ 6945 w 72"/>
              <a:gd name="T41" fmla="*/ 78674 h 154"/>
              <a:gd name="T42" fmla="*/ 0 w 72"/>
              <a:gd name="T43" fmla="*/ 80859 h 154"/>
              <a:gd name="T44" fmla="*/ 1389 w 72"/>
              <a:gd name="T45" fmla="*/ 70478 h 154"/>
              <a:gd name="T46" fmla="*/ 3704 w 72"/>
              <a:gd name="T47" fmla="*/ 57366 h 154"/>
              <a:gd name="T48" fmla="*/ 4167 w 72"/>
              <a:gd name="T49" fmla="*/ 50264 h 154"/>
              <a:gd name="T50" fmla="*/ 5556 w 72"/>
              <a:gd name="T51" fmla="*/ 42069 h 154"/>
              <a:gd name="T52" fmla="*/ 6945 w 72"/>
              <a:gd name="T53" fmla="*/ 34420 h 154"/>
              <a:gd name="T54" fmla="*/ 9261 w 72"/>
              <a:gd name="T55" fmla="*/ 26771 h 154"/>
              <a:gd name="T56" fmla="*/ 9261 w 72"/>
              <a:gd name="T57" fmla="*/ 0 h 154"/>
              <a:gd name="T58" fmla="*/ 11576 w 72"/>
              <a:gd name="T59" fmla="*/ 0 h 154"/>
              <a:gd name="T60" fmla="*/ 17595 w 72"/>
              <a:gd name="T61" fmla="*/ 0 h 154"/>
              <a:gd name="T62" fmla="*/ 25930 w 72"/>
              <a:gd name="T63" fmla="*/ 0 h 154"/>
              <a:gd name="T64" fmla="*/ 33338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769" name="Freeform 219">
            <a:extLst>
              <a:ext uri="{FF2B5EF4-FFF2-40B4-BE49-F238E27FC236}">
                <a16:creationId xmlns:a16="http://schemas.microsoft.com/office/drawing/2014/main" id="{D9BA9788-99EC-4AA6-B1CF-F53C24B6BF7D}"/>
              </a:ext>
            </a:extLst>
          </p:cNvPr>
          <p:cNvSpPr>
            <a:spLocks/>
          </p:cNvSpPr>
          <p:nvPr>
            <p:custDataLst>
              <p:tags r:id="rId146"/>
            </p:custDataLst>
          </p:nvPr>
        </p:nvSpPr>
        <p:spPr bwMode="auto">
          <a:xfrm>
            <a:off x="2793202" y="6412908"/>
            <a:ext cx="198735" cy="309891"/>
          </a:xfrm>
          <a:custGeom>
            <a:avLst/>
            <a:gdLst>
              <a:gd name="T0" fmla="*/ 3501 w 214"/>
              <a:gd name="T1" fmla="*/ 111558 h 271"/>
              <a:gd name="T2" fmla="*/ 5252 w 214"/>
              <a:gd name="T3" fmla="*/ 97546 h 271"/>
              <a:gd name="T4" fmla="*/ 10504 w 214"/>
              <a:gd name="T5" fmla="*/ 79762 h 271"/>
              <a:gd name="T6" fmla="*/ 15319 w 214"/>
              <a:gd name="T7" fmla="*/ 63594 h 271"/>
              <a:gd name="T8" fmla="*/ 19258 w 214"/>
              <a:gd name="T9" fmla="*/ 60360 h 271"/>
              <a:gd name="T10" fmla="*/ 28449 w 214"/>
              <a:gd name="T11" fmla="*/ 59821 h 271"/>
              <a:gd name="T12" fmla="*/ 38953 w 214"/>
              <a:gd name="T13" fmla="*/ 59821 h 271"/>
              <a:gd name="T14" fmla="*/ 46394 w 214"/>
              <a:gd name="T15" fmla="*/ 59282 h 271"/>
              <a:gd name="T16" fmla="*/ 52521 w 214"/>
              <a:gd name="T17" fmla="*/ 56588 h 271"/>
              <a:gd name="T18" fmla="*/ 56898 w 214"/>
              <a:gd name="T19" fmla="*/ 50659 h 271"/>
              <a:gd name="T20" fmla="*/ 49458 w 214"/>
              <a:gd name="T21" fmla="*/ 39342 h 271"/>
              <a:gd name="T22" fmla="*/ 37640 w 214"/>
              <a:gd name="T23" fmla="*/ 31258 h 271"/>
              <a:gd name="T24" fmla="*/ 33701 w 214"/>
              <a:gd name="T25" fmla="*/ 26408 h 271"/>
              <a:gd name="T26" fmla="*/ 32388 w 214"/>
              <a:gd name="T27" fmla="*/ 22096 h 271"/>
              <a:gd name="T28" fmla="*/ 32826 w 214"/>
              <a:gd name="T29" fmla="*/ 18324 h 271"/>
              <a:gd name="T30" fmla="*/ 35890 w 214"/>
              <a:gd name="T31" fmla="*/ 15090 h 271"/>
              <a:gd name="T32" fmla="*/ 44205 w 214"/>
              <a:gd name="T33" fmla="*/ 10240 h 271"/>
              <a:gd name="T34" fmla="*/ 65652 w 214"/>
              <a:gd name="T35" fmla="*/ 1617 h 271"/>
              <a:gd name="T36" fmla="*/ 78782 w 214"/>
              <a:gd name="T37" fmla="*/ 0 h 271"/>
              <a:gd name="T38" fmla="*/ 86660 w 214"/>
              <a:gd name="T39" fmla="*/ 0 h 271"/>
              <a:gd name="T40" fmla="*/ 90599 w 214"/>
              <a:gd name="T41" fmla="*/ 26408 h 271"/>
              <a:gd name="T42" fmla="*/ 87098 w 214"/>
              <a:gd name="T43" fmla="*/ 41498 h 271"/>
              <a:gd name="T44" fmla="*/ 85347 w 214"/>
              <a:gd name="T45" fmla="*/ 56588 h 271"/>
              <a:gd name="T46" fmla="*/ 81846 w 214"/>
              <a:gd name="T47" fmla="*/ 79762 h 271"/>
              <a:gd name="T48" fmla="*/ 93225 w 214"/>
              <a:gd name="T49" fmla="*/ 82995 h 271"/>
              <a:gd name="T50" fmla="*/ 93663 w 214"/>
              <a:gd name="T51" fmla="*/ 89462 h 271"/>
              <a:gd name="T52" fmla="*/ 91912 w 214"/>
              <a:gd name="T53" fmla="*/ 93774 h 271"/>
              <a:gd name="T54" fmla="*/ 90599 w 214"/>
              <a:gd name="T55" fmla="*/ 95391 h 271"/>
              <a:gd name="T56" fmla="*/ 87536 w 214"/>
              <a:gd name="T57" fmla="*/ 95930 h 271"/>
              <a:gd name="T58" fmla="*/ 84034 w 214"/>
              <a:gd name="T59" fmla="*/ 105630 h 271"/>
              <a:gd name="T60" fmla="*/ 79220 w 214"/>
              <a:gd name="T61" fmla="*/ 115331 h 271"/>
              <a:gd name="T62" fmla="*/ 67840 w 214"/>
              <a:gd name="T63" fmla="*/ 130960 h 271"/>
              <a:gd name="T64" fmla="*/ 52521 w 214"/>
              <a:gd name="T65" fmla="*/ 146050 h 271"/>
              <a:gd name="T66" fmla="*/ 38078 w 214"/>
              <a:gd name="T67" fmla="*/ 140661 h 271"/>
              <a:gd name="T68" fmla="*/ 24072 w 214"/>
              <a:gd name="T69" fmla="*/ 133655 h 271"/>
              <a:gd name="T70" fmla="*/ 0 w 214"/>
              <a:gd name="T71" fmla="*/ 119104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770" name="Freeform 220">
            <a:extLst>
              <a:ext uri="{FF2B5EF4-FFF2-40B4-BE49-F238E27FC236}">
                <a16:creationId xmlns:a16="http://schemas.microsoft.com/office/drawing/2014/main" id="{BFBC2DA0-DD1C-477D-94D8-2B59C1D7327B}"/>
              </a:ext>
            </a:extLst>
          </p:cNvPr>
          <p:cNvSpPr>
            <a:spLocks/>
          </p:cNvSpPr>
          <p:nvPr>
            <p:custDataLst>
              <p:tags r:id="rId147"/>
            </p:custDataLst>
          </p:nvPr>
        </p:nvSpPr>
        <p:spPr bwMode="auto">
          <a:xfrm>
            <a:off x="2894254" y="6648695"/>
            <a:ext cx="151578" cy="121262"/>
          </a:xfrm>
          <a:custGeom>
            <a:avLst/>
            <a:gdLst>
              <a:gd name="T0" fmla="*/ 28015 w 153"/>
              <a:gd name="T1" fmla="*/ 0 h 80"/>
              <a:gd name="T2" fmla="*/ 38754 w 153"/>
              <a:gd name="T3" fmla="*/ 10001 h 80"/>
              <a:gd name="T4" fmla="*/ 48559 w 153"/>
              <a:gd name="T5" fmla="*/ 17145 h 80"/>
              <a:gd name="T6" fmla="*/ 53695 w 153"/>
              <a:gd name="T7" fmla="*/ 20003 h 80"/>
              <a:gd name="T8" fmla="*/ 58831 w 153"/>
              <a:gd name="T9" fmla="*/ 22146 h 80"/>
              <a:gd name="T10" fmla="*/ 62100 w 153"/>
              <a:gd name="T11" fmla="*/ 22860 h 80"/>
              <a:gd name="T12" fmla="*/ 64901 w 153"/>
              <a:gd name="T13" fmla="*/ 22860 h 80"/>
              <a:gd name="T14" fmla="*/ 68170 w 153"/>
              <a:gd name="T15" fmla="*/ 22146 h 80"/>
              <a:gd name="T16" fmla="*/ 71438 w 153"/>
              <a:gd name="T17" fmla="*/ 21431 h 80"/>
              <a:gd name="T18" fmla="*/ 71438 w 153"/>
              <a:gd name="T19" fmla="*/ 40005 h 80"/>
              <a:gd name="T20" fmla="*/ 69570 w 153"/>
              <a:gd name="T21" fmla="*/ 42863 h 80"/>
              <a:gd name="T22" fmla="*/ 67703 w 153"/>
              <a:gd name="T23" fmla="*/ 46434 h 80"/>
              <a:gd name="T24" fmla="*/ 64434 w 153"/>
              <a:gd name="T25" fmla="*/ 49292 h 80"/>
              <a:gd name="T26" fmla="*/ 61633 w 153"/>
              <a:gd name="T27" fmla="*/ 51435 h 80"/>
              <a:gd name="T28" fmla="*/ 58364 w 153"/>
              <a:gd name="T29" fmla="*/ 53578 h 80"/>
              <a:gd name="T30" fmla="*/ 55563 w 153"/>
              <a:gd name="T31" fmla="*/ 55721 h 80"/>
              <a:gd name="T32" fmla="*/ 52294 w 153"/>
              <a:gd name="T33" fmla="*/ 56436 h 80"/>
              <a:gd name="T34" fmla="*/ 49493 w 153"/>
              <a:gd name="T35" fmla="*/ 57150 h 80"/>
              <a:gd name="T36" fmla="*/ 42022 w 153"/>
              <a:gd name="T37" fmla="*/ 52864 h 80"/>
              <a:gd name="T38" fmla="*/ 35486 w 153"/>
              <a:gd name="T39" fmla="*/ 50721 h 80"/>
              <a:gd name="T40" fmla="*/ 29416 w 153"/>
              <a:gd name="T41" fmla="*/ 49292 h 80"/>
              <a:gd name="T42" fmla="*/ 23346 w 153"/>
              <a:gd name="T43" fmla="*/ 49292 h 80"/>
              <a:gd name="T44" fmla="*/ 18210 w 153"/>
              <a:gd name="T45" fmla="*/ 48578 h 80"/>
              <a:gd name="T46" fmla="*/ 12607 w 153"/>
              <a:gd name="T47" fmla="*/ 47863 h 80"/>
              <a:gd name="T48" fmla="*/ 6537 w 153"/>
              <a:gd name="T49" fmla="*/ 46434 h 80"/>
              <a:gd name="T50" fmla="*/ 0 w 153"/>
              <a:gd name="T51" fmla="*/ 44291 h 80"/>
              <a:gd name="T52" fmla="*/ 3268 w 153"/>
              <a:gd name="T53" fmla="*/ 41434 h 80"/>
              <a:gd name="T54" fmla="*/ 10739 w 153"/>
              <a:gd name="T55" fmla="*/ 32147 h 80"/>
              <a:gd name="T56" fmla="*/ 15875 w 153"/>
              <a:gd name="T57" fmla="*/ 26432 h 80"/>
              <a:gd name="T58" fmla="*/ 21011 w 153"/>
              <a:gd name="T59" fmla="*/ 20003 h 80"/>
              <a:gd name="T60" fmla="*/ 26147 w 153"/>
              <a:gd name="T61" fmla="*/ 12144 h 80"/>
              <a:gd name="T62" fmla="*/ 31283 w 153"/>
              <a:gd name="T63" fmla="*/ 4286 h 80"/>
              <a:gd name="T64" fmla="*/ 28015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771" name="Freeform 221">
            <a:extLst>
              <a:ext uri="{FF2B5EF4-FFF2-40B4-BE49-F238E27FC236}">
                <a16:creationId xmlns:a16="http://schemas.microsoft.com/office/drawing/2014/main" id="{B9C965EE-D390-4B69-A0BC-A650BF68E65E}"/>
              </a:ext>
            </a:extLst>
          </p:cNvPr>
          <p:cNvSpPr>
            <a:spLocks/>
          </p:cNvSpPr>
          <p:nvPr>
            <p:custDataLst>
              <p:tags r:id="rId148"/>
            </p:custDataLst>
          </p:nvPr>
        </p:nvSpPr>
        <p:spPr bwMode="auto">
          <a:xfrm>
            <a:off x="2961621" y="6567854"/>
            <a:ext cx="303154" cy="185260"/>
          </a:xfrm>
          <a:custGeom>
            <a:avLst/>
            <a:gdLst>
              <a:gd name="T0" fmla="*/ 0 w 332"/>
              <a:gd name="T1" fmla="*/ 39781 h 169"/>
              <a:gd name="T2" fmla="*/ 18935 w 332"/>
              <a:gd name="T3" fmla="*/ 52181 h 169"/>
              <a:gd name="T4" fmla="*/ 28403 w 332"/>
              <a:gd name="T5" fmla="*/ 55797 h 169"/>
              <a:gd name="T6" fmla="*/ 33997 w 332"/>
              <a:gd name="T7" fmla="*/ 56314 h 169"/>
              <a:gd name="T8" fmla="*/ 40022 w 332"/>
              <a:gd name="T9" fmla="*/ 55280 h 169"/>
              <a:gd name="T10" fmla="*/ 38731 w 332"/>
              <a:gd name="T11" fmla="*/ 74396 h 169"/>
              <a:gd name="T12" fmla="*/ 40883 w 332"/>
              <a:gd name="T13" fmla="*/ 79562 h 169"/>
              <a:gd name="T14" fmla="*/ 42604 w 332"/>
              <a:gd name="T15" fmla="*/ 84212 h 169"/>
              <a:gd name="T16" fmla="*/ 46047 w 332"/>
              <a:gd name="T17" fmla="*/ 86795 h 169"/>
              <a:gd name="T18" fmla="*/ 50351 w 332"/>
              <a:gd name="T19" fmla="*/ 87312 h 169"/>
              <a:gd name="T20" fmla="*/ 52933 w 332"/>
              <a:gd name="T21" fmla="*/ 85762 h 169"/>
              <a:gd name="T22" fmla="*/ 56806 w 332"/>
              <a:gd name="T23" fmla="*/ 81112 h 169"/>
              <a:gd name="T24" fmla="*/ 62831 w 332"/>
              <a:gd name="T25" fmla="*/ 70263 h 169"/>
              <a:gd name="T26" fmla="*/ 74880 w 332"/>
              <a:gd name="T27" fmla="*/ 59413 h 169"/>
              <a:gd name="T28" fmla="*/ 92094 w 332"/>
              <a:gd name="T29" fmla="*/ 49597 h 169"/>
              <a:gd name="T30" fmla="*/ 110169 w 332"/>
              <a:gd name="T31" fmla="*/ 41331 h 169"/>
              <a:gd name="T32" fmla="*/ 130825 w 332"/>
              <a:gd name="T33" fmla="*/ 33582 h 169"/>
              <a:gd name="T34" fmla="*/ 142875 w 332"/>
              <a:gd name="T35" fmla="*/ 23765 h 169"/>
              <a:gd name="T36" fmla="*/ 142875 w 332"/>
              <a:gd name="T37" fmla="*/ 11366 h 169"/>
              <a:gd name="T38" fmla="*/ 137711 w 332"/>
              <a:gd name="T39" fmla="*/ 1033 h 169"/>
              <a:gd name="T40" fmla="*/ 121788 w 332"/>
              <a:gd name="T41" fmla="*/ 517 h 169"/>
              <a:gd name="T42" fmla="*/ 100701 w 332"/>
              <a:gd name="T43" fmla="*/ 0 h 169"/>
              <a:gd name="T44" fmla="*/ 77462 w 332"/>
              <a:gd name="T45" fmla="*/ 517 h 169"/>
              <a:gd name="T46" fmla="*/ 56375 w 332"/>
              <a:gd name="T47" fmla="*/ 2067 h 169"/>
              <a:gd name="T48" fmla="*/ 38731 w 332"/>
              <a:gd name="T49" fmla="*/ 5166 h 169"/>
              <a:gd name="T50" fmla="*/ 25390 w 332"/>
              <a:gd name="T51" fmla="*/ 9816 h 169"/>
              <a:gd name="T52" fmla="*/ 18075 w 332"/>
              <a:gd name="T53" fmla="*/ 11366 h 169"/>
              <a:gd name="T54" fmla="*/ 15062 w 332"/>
              <a:gd name="T55" fmla="*/ 11883 h 169"/>
              <a:gd name="T56" fmla="*/ 14632 w 332"/>
              <a:gd name="T57" fmla="*/ 13433 h 169"/>
              <a:gd name="T58" fmla="*/ 14201 w 332"/>
              <a:gd name="T59" fmla="*/ 19632 h 169"/>
              <a:gd name="T60" fmla="*/ 12480 w 332"/>
              <a:gd name="T61" fmla="*/ 22732 h 169"/>
              <a:gd name="T62" fmla="*/ 9898 w 332"/>
              <a:gd name="T63" fmla="*/ 23765 h 169"/>
              <a:gd name="T64" fmla="*/ 8177 w 332"/>
              <a:gd name="T65" fmla="*/ 28415 h 169"/>
              <a:gd name="T66" fmla="*/ 4734 w 332"/>
              <a:gd name="T67" fmla="*/ 37198 h 169"/>
              <a:gd name="T68" fmla="*/ 3012 w 332"/>
              <a:gd name="T69" fmla="*/ 42881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772" name="Freeform 222">
            <a:extLst>
              <a:ext uri="{FF2B5EF4-FFF2-40B4-BE49-F238E27FC236}">
                <a16:creationId xmlns:a16="http://schemas.microsoft.com/office/drawing/2014/main" id="{198C9351-25FB-4E84-AD52-C45304CEDA0A}"/>
              </a:ext>
            </a:extLst>
          </p:cNvPr>
          <p:cNvSpPr>
            <a:spLocks/>
          </p:cNvSpPr>
          <p:nvPr>
            <p:custDataLst>
              <p:tags r:id="rId149"/>
            </p:custDataLst>
          </p:nvPr>
        </p:nvSpPr>
        <p:spPr bwMode="auto">
          <a:xfrm>
            <a:off x="2998674" y="6631852"/>
            <a:ext cx="266101" cy="259366"/>
          </a:xfrm>
          <a:custGeom>
            <a:avLst/>
            <a:gdLst>
              <a:gd name="T0" fmla="*/ 19294 w 286"/>
              <a:gd name="T1" fmla="*/ 44734 h 235"/>
              <a:gd name="T2" fmla="*/ 21487 w 286"/>
              <a:gd name="T3" fmla="*/ 49936 h 235"/>
              <a:gd name="T4" fmla="*/ 23241 w 286"/>
              <a:gd name="T5" fmla="*/ 54617 h 235"/>
              <a:gd name="T6" fmla="*/ 26749 w 286"/>
              <a:gd name="T7" fmla="*/ 57218 h 235"/>
              <a:gd name="T8" fmla="*/ 31134 w 286"/>
              <a:gd name="T9" fmla="*/ 57738 h 235"/>
              <a:gd name="T10" fmla="*/ 33765 w 286"/>
              <a:gd name="T11" fmla="*/ 56177 h 235"/>
              <a:gd name="T12" fmla="*/ 37711 w 286"/>
              <a:gd name="T13" fmla="*/ 51496 h 235"/>
              <a:gd name="T14" fmla="*/ 43850 w 286"/>
              <a:gd name="T15" fmla="*/ 40573 h 235"/>
              <a:gd name="T16" fmla="*/ 56128 w 286"/>
              <a:gd name="T17" fmla="*/ 29649 h 235"/>
              <a:gd name="T18" fmla="*/ 73669 w 286"/>
              <a:gd name="T19" fmla="*/ 19766 h 235"/>
              <a:gd name="T20" fmla="*/ 92086 w 286"/>
              <a:gd name="T21" fmla="*/ 11444 h 235"/>
              <a:gd name="T22" fmla="*/ 113134 w 286"/>
              <a:gd name="T23" fmla="*/ 3641 h 235"/>
              <a:gd name="T24" fmla="*/ 125412 w 286"/>
              <a:gd name="T25" fmla="*/ 5722 h 235"/>
              <a:gd name="T26" fmla="*/ 123658 w 286"/>
              <a:gd name="T27" fmla="*/ 16645 h 235"/>
              <a:gd name="T28" fmla="*/ 119273 w 286"/>
              <a:gd name="T29" fmla="*/ 36411 h 235"/>
              <a:gd name="T30" fmla="*/ 111380 w 286"/>
              <a:gd name="T31" fmla="*/ 66581 h 235"/>
              <a:gd name="T32" fmla="*/ 106995 w 286"/>
              <a:gd name="T33" fmla="*/ 90508 h 235"/>
              <a:gd name="T34" fmla="*/ 105241 w 286"/>
              <a:gd name="T35" fmla="*/ 107153 h 235"/>
              <a:gd name="T36" fmla="*/ 64022 w 286"/>
              <a:gd name="T37" fmla="*/ 112355 h 235"/>
              <a:gd name="T38" fmla="*/ 60513 w 286"/>
              <a:gd name="T39" fmla="*/ 113395 h 235"/>
              <a:gd name="T40" fmla="*/ 57882 w 286"/>
              <a:gd name="T41" fmla="*/ 115996 h 235"/>
              <a:gd name="T42" fmla="*/ 55690 w 286"/>
              <a:gd name="T43" fmla="*/ 122238 h 235"/>
              <a:gd name="T44" fmla="*/ 47797 w 286"/>
              <a:gd name="T45" fmla="*/ 112875 h 235"/>
              <a:gd name="T46" fmla="*/ 41219 w 286"/>
              <a:gd name="T47" fmla="*/ 103512 h 235"/>
              <a:gd name="T48" fmla="*/ 30257 w 286"/>
              <a:gd name="T49" fmla="*/ 83226 h 235"/>
              <a:gd name="T50" fmla="*/ 24118 w 286"/>
              <a:gd name="T51" fmla="*/ 73863 h 235"/>
              <a:gd name="T52" fmla="*/ 17979 w 286"/>
              <a:gd name="T53" fmla="*/ 65020 h 235"/>
              <a:gd name="T54" fmla="*/ 9647 w 286"/>
              <a:gd name="T55" fmla="*/ 57218 h 235"/>
              <a:gd name="T56" fmla="*/ 0 w 286"/>
              <a:gd name="T57" fmla="*/ 51496 h 235"/>
              <a:gd name="T58" fmla="*/ 5701 w 286"/>
              <a:gd name="T59" fmla="*/ 50456 h 235"/>
              <a:gd name="T60" fmla="*/ 11401 w 286"/>
              <a:gd name="T61" fmla="*/ 47335 h 235"/>
              <a:gd name="T62" fmla="*/ 17102 w 286"/>
              <a:gd name="T63" fmla="*/ 43694 h 235"/>
              <a:gd name="T64" fmla="*/ 20610 w 286"/>
              <a:gd name="T65" fmla="*/ 39012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773" name="Freeform 223">
            <a:extLst>
              <a:ext uri="{FF2B5EF4-FFF2-40B4-BE49-F238E27FC236}">
                <a16:creationId xmlns:a16="http://schemas.microsoft.com/office/drawing/2014/main" id="{836CF230-56B2-4846-A421-CA12FFC69D0F}"/>
              </a:ext>
            </a:extLst>
          </p:cNvPr>
          <p:cNvSpPr>
            <a:spLocks/>
          </p:cNvSpPr>
          <p:nvPr>
            <p:custDataLst>
              <p:tags r:id="rId150"/>
            </p:custDataLst>
          </p:nvPr>
        </p:nvSpPr>
        <p:spPr bwMode="auto">
          <a:xfrm>
            <a:off x="3106462" y="6871007"/>
            <a:ext cx="178523" cy="212207"/>
          </a:xfrm>
          <a:custGeom>
            <a:avLst/>
            <a:gdLst>
              <a:gd name="T0" fmla="*/ 77160 w 205"/>
              <a:gd name="T1" fmla="*/ 96870 h 191"/>
              <a:gd name="T2" fmla="*/ 71824 w 205"/>
              <a:gd name="T3" fmla="*/ 96870 h 191"/>
              <a:gd name="T4" fmla="*/ 64847 w 205"/>
              <a:gd name="T5" fmla="*/ 96870 h 191"/>
              <a:gd name="T6" fmla="*/ 59101 w 205"/>
              <a:gd name="T7" fmla="*/ 94252 h 191"/>
              <a:gd name="T8" fmla="*/ 55818 w 205"/>
              <a:gd name="T9" fmla="*/ 90587 h 191"/>
              <a:gd name="T10" fmla="*/ 52945 w 205"/>
              <a:gd name="T11" fmla="*/ 85351 h 191"/>
              <a:gd name="T12" fmla="*/ 49251 w 205"/>
              <a:gd name="T13" fmla="*/ 76973 h 191"/>
              <a:gd name="T14" fmla="*/ 45147 w 205"/>
              <a:gd name="T15" fmla="*/ 68595 h 191"/>
              <a:gd name="T16" fmla="*/ 40632 w 205"/>
              <a:gd name="T17" fmla="*/ 63358 h 191"/>
              <a:gd name="T18" fmla="*/ 38169 w 205"/>
              <a:gd name="T19" fmla="*/ 65977 h 191"/>
              <a:gd name="T20" fmla="*/ 36938 w 205"/>
              <a:gd name="T21" fmla="*/ 70689 h 191"/>
              <a:gd name="T22" fmla="*/ 34476 w 205"/>
              <a:gd name="T23" fmla="*/ 68071 h 191"/>
              <a:gd name="T24" fmla="*/ 29551 w 205"/>
              <a:gd name="T25" fmla="*/ 59169 h 191"/>
              <a:gd name="T26" fmla="*/ 22984 w 205"/>
              <a:gd name="T27" fmla="*/ 45555 h 191"/>
              <a:gd name="T28" fmla="*/ 16827 w 205"/>
              <a:gd name="T29" fmla="*/ 35083 h 191"/>
              <a:gd name="T30" fmla="*/ 12723 w 205"/>
              <a:gd name="T31" fmla="*/ 30370 h 191"/>
              <a:gd name="T32" fmla="*/ 10671 w 205"/>
              <a:gd name="T33" fmla="*/ 31417 h 191"/>
              <a:gd name="T34" fmla="*/ 11902 w 205"/>
              <a:gd name="T35" fmla="*/ 36130 h 191"/>
              <a:gd name="T36" fmla="*/ 13954 w 205"/>
              <a:gd name="T37" fmla="*/ 40843 h 191"/>
              <a:gd name="T38" fmla="*/ 16827 w 205"/>
              <a:gd name="T39" fmla="*/ 43984 h 191"/>
              <a:gd name="T40" fmla="*/ 18880 w 205"/>
              <a:gd name="T41" fmla="*/ 54980 h 191"/>
              <a:gd name="T42" fmla="*/ 5336 w 205"/>
              <a:gd name="T43" fmla="*/ 51315 h 191"/>
              <a:gd name="T44" fmla="*/ 1642 w 205"/>
              <a:gd name="T45" fmla="*/ 43984 h 191"/>
              <a:gd name="T46" fmla="*/ 0 w 205"/>
              <a:gd name="T47" fmla="*/ 31417 h 191"/>
              <a:gd name="T48" fmla="*/ 0 w 205"/>
              <a:gd name="T49" fmla="*/ 19898 h 191"/>
              <a:gd name="T50" fmla="*/ 1231 w 205"/>
              <a:gd name="T51" fmla="*/ 14661 h 191"/>
              <a:gd name="T52" fmla="*/ 3283 w 205"/>
              <a:gd name="T53" fmla="*/ 11520 h 191"/>
              <a:gd name="T54" fmla="*/ 5746 w 205"/>
              <a:gd name="T55" fmla="*/ 6807 h 191"/>
              <a:gd name="T56" fmla="*/ 8208 w 205"/>
              <a:gd name="T57" fmla="*/ 2094 h 191"/>
              <a:gd name="T58" fmla="*/ 11492 w 205"/>
              <a:gd name="T59" fmla="*/ 0 h 191"/>
              <a:gd name="T60" fmla="*/ 51713 w 205"/>
              <a:gd name="T61" fmla="*/ 3142 h 191"/>
              <a:gd name="T62" fmla="*/ 52124 w 205"/>
              <a:gd name="T63" fmla="*/ 10996 h 191"/>
              <a:gd name="T64" fmla="*/ 53355 w 205"/>
              <a:gd name="T65" fmla="*/ 19374 h 191"/>
              <a:gd name="T66" fmla="*/ 58691 w 205"/>
              <a:gd name="T67" fmla="*/ 36654 h 191"/>
              <a:gd name="T68" fmla="*/ 67720 w 205"/>
              <a:gd name="T69" fmla="*/ 53410 h 191"/>
              <a:gd name="T70" fmla="*/ 72645 w 205"/>
              <a:gd name="T71" fmla="*/ 61264 h 191"/>
              <a:gd name="T72" fmla="*/ 78801 w 205"/>
              <a:gd name="T73" fmla="*/ 68071 h 191"/>
              <a:gd name="T74" fmla="*/ 77570 w 205"/>
              <a:gd name="T75" fmla="*/ 74878 h 191"/>
              <a:gd name="T76" fmla="*/ 77570 w 205"/>
              <a:gd name="T77" fmla="*/ 81685 h 191"/>
              <a:gd name="T78" fmla="*/ 78801 w 205"/>
              <a:gd name="T79" fmla="*/ 100012 h 191"/>
              <a:gd name="T80" fmla="*/ 84137 w 205"/>
              <a:gd name="T81" fmla="*/ 9687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774" name="Freeform 224">
            <a:extLst>
              <a:ext uri="{FF2B5EF4-FFF2-40B4-BE49-F238E27FC236}">
                <a16:creationId xmlns:a16="http://schemas.microsoft.com/office/drawing/2014/main" id="{41417808-482A-4EBC-A244-556DCCD6D2BF}"/>
              </a:ext>
            </a:extLst>
          </p:cNvPr>
          <p:cNvSpPr>
            <a:spLocks/>
          </p:cNvSpPr>
          <p:nvPr>
            <p:custDataLst>
              <p:tags r:id="rId151"/>
            </p:custDataLst>
          </p:nvPr>
        </p:nvSpPr>
        <p:spPr bwMode="auto">
          <a:xfrm>
            <a:off x="3278249" y="6985532"/>
            <a:ext cx="303154" cy="168419"/>
          </a:xfrm>
          <a:custGeom>
            <a:avLst/>
            <a:gdLst>
              <a:gd name="T0" fmla="*/ 1303 w 329"/>
              <a:gd name="T1" fmla="*/ 29894 h 154"/>
              <a:gd name="T2" fmla="*/ 0 w 329"/>
              <a:gd name="T3" fmla="*/ 21648 h 154"/>
              <a:gd name="T4" fmla="*/ 869 w 329"/>
              <a:gd name="T5" fmla="*/ 15978 h 154"/>
              <a:gd name="T6" fmla="*/ 7383 w 329"/>
              <a:gd name="T7" fmla="*/ 17009 h 154"/>
              <a:gd name="T8" fmla="*/ 15634 w 329"/>
              <a:gd name="T9" fmla="*/ 21132 h 154"/>
              <a:gd name="T10" fmla="*/ 21279 w 329"/>
              <a:gd name="T11" fmla="*/ 22163 h 154"/>
              <a:gd name="T12" fmla="*/ 29096 w 329"/>
              <a:gd name="T13" fmla="*/ 22163 h 154"/>
              <a:gd name="T14" fmla="*/ 37347 w 329"/>
              <a:gd name="T15" fmla="*/ 20101 h 154"/>
              <a:gd name="T16" fmla="*/ 47770 w 329"/>
              <a:gd name="T17" fmla="*/ 15463 h 154"/>
              <a:gd name="T18" fmla="*/ 60798 w 329"/>
              <a:gd name="T19" fmla="*/ 6700 h 154"/>
              <a:gd name="T20" fmla="*/ 70352 w 329"/>
              <a:gd name="T21" fmla="*/ 2062 h 154"/>
              <a:gd name="T22" fmla="*/ 77734 w 329"/>
              <a:gd name="T23" fmla="*/ 0 h 154"/>
              <a:gd name="T24" fmla="*/ 88157 w 329"/>
              <a:gd name="T25" fmla="*/ 0 h 154"/>
              <a:gd name="T26" fmla="*/ 97277 w 329"/>
              <a:gd name="T27" fmla="*/ 3093 h 154"/>
              <a:gd name="T28" fmla="*/ 105528 w 329"/>
              <a:gd name="T29" fmla="*/ 7731 h 154"/>
              <a:gd name="T30" fmla="*/ 112476 w 329"/>
              <a:gd name="T31" fmla="*/ 14432 h 154"/>
              <a:gd name="T32" fmla="*/ 121596 w 329"/>
              <a:gd name="T33" fmla="*/ 23709 h 154"/>
              <a:gd name="T34" fmla="*/ 131150 w 329"/>
              <a:gd name="T35" fmla="*/ 31441 h 154"/>
              <a:gd name="T36" fmla="*/ 138532 w 329"/>
              <a:gd name="T37" fmla="*/ 34533 h 154"/>
              <a:gd name="T38" fmla="*/ 135927 w 329"/>
              <a:gd name="T39" fmla="*/ 42265 h 154"/>
              <a:gd name="T40" fmla="*/ 127241 w 329"/>
              <a:gd name="T41" fmla="*/ 54635 h 154"/>
              <a:gd name="T42" fmla="*/ 120293 w 329"/>
              <a:gd name="T43" fmla="*/ 71128 h 154"/>
              <a:gd name="T44" fmla="*/ 115082 w 329"/>
              <a:gd name="T45" fmla="*/ 78860 h 154"/>
              <a:gd name="T46" fmla="*/ 109870 w 329"/>
              <a:gd name="T47" fmla="*/ 75252 h 154"/>
              <a:gd name="T48" fmla="*/ 104225 w 329"/>
              <a:gd name="T49" fmla="*/ 70097 h 154"/>
              <a:gd name="T50" fmla="*/ 99882 w 329"/>
              <a:gd name="T51" fmla="*/ 64943 h 154"/>
              <a:gd name="T52" fmla="*/ 99882 w 329"/>
              <a:gd name="T53" fmla="*/ 58758 h 154"/>
              <a:gd name="T54" fmla="*/ 102054 w 329"/>
              <a:gd name="T55" fmla="*/ 51542 h 154"/>
              <a:gd name="T56" fmla="*/ 108133 w 329"/>
              <a:gd name="T57" fmla="*/ 44326 h 154"/>
              <a:gd name="T58" fmla="*/ 101185 w 329"/>
              <a:gd name="T59" fmla="*/ 35049 h 154"/>
              <a:gd name="T60" fmla="*/ 89894 w 329"/>
              <a:gd name="T61" fmla="*/ 28348 h 154"/>
              <a:gd name="T62" fmla="*/ 84683 w 329"/>
              <a:gd name="T63" fmla="*/ 21132 h 154"/>
              <a:gd name="T64" fmla="*/ 77734 w 329"/>
              <a:gd name="T65" fmla="*/ 17524 h 154"/>
              <a:gd name="T66" fmla="*/ 70786 w 329"/>
              <a:gd name="T67" fmla="*/ 21132 h 154"/>
              <a:gd name="T68" fmla="*/ 65141 w 329"/>
              <a:gd name="T69" fmla="*/ 25771 h 154"/>
              <a:gd name="T70" fmla="*/ 60798 w 329"/>
              <a:gd name="T71" fmla="*/ 31441 h 154"/>
              <a:gd name="T72" fmla="*/ 57324 w 329"/>
              <a:gd name="T73" fmla="*/ 38141 h 154"/>
              <a:gd name="T74" fmla="*/ 55587 w 329"/>
              <a:gd name="T75" fmla="*/ 45357 h 154"/>
              <a:gd name="T76" fmla="*/ 53415 w 329"/>
              <a:gd name="T77" fmla="*/ 56181 h 154"/>
              <a:gd name="T78" fmla="*/ 52981 w 329"/>
              <a:gd name="T79" fmla="*/ 64428 h 154"/>
              <a:gd name="T80" fmla="*/ 51244 w 329"/>
              <a:gd name="T81" fmla="*/ 66489 h 154"/>
              <a:gd name="T82" fmla="*/ 46901 w 329"/>
              <a:gd name="T83" fmla="*/ 69582 h 154"/>
              <a:gd name="T84" fmla="*/ 41690 w 329"/>
              <a:gd name="T85" fmla="*/ 69582 h 154"/>
              <a:gd name="T86" fmla="*/ 36044 w 329"/>
              <a:gd name="T87" fmla="*/ 66489 h 154"/>
              <a:gd name="T88" fmla="*/ 28662 w 329"/>
              <a:gd name="T89" fmla="*/ 59789 h 154"/>
              <a:gd name="T90" fmla="*/ 20845 w 329"/>
              <a:gd name="T91" fmla="*/ 48450 h 154"/>
              <a:gd name="T92" fmla="*/ 14331 w 329"/>
              <a:gd name="T93" fmla="*/ 41234 h 154"/>
              <a:gd name="T94" fmla="*/ 9554 w 329"/>
              <a:gd name="T95" fmla="*/ 38141 h 154"/>
              <a:gd name="T96" fmla="*/ 1303 w 329"/>
              <a:gd name="T97" fmla="*/ 37626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775" name="Freeform 225">
            <a:extLst>
              <a:ext uri="{FF2B5EF4-FFF2-40B4-BE49-F238E27FC236}">
                <a16:creationId xmlns:a16="http://schemas.microsoft.com/office/drawing/2014/main" id="{9D3068A1-9929-45F6-8E03-58535241D559}"/>
              </a:ext>
            </a:extLst>
          </p:cNvPr>
          <p:cNvSpPr>
            <a:spLocks/>
          </p:cNvSpPr>
          <p:nvPr>
            <p:custDataLst>
              <p:tags r:id="rId152"/>
            </p:custDataLst>
          </p:nvPr>
        </p:nvSpPr>
        <p:spPr bwMode="auto">
          <a:xfrm>
            <a:off x="4723283" y="9646549"/>
            <a:ext cx="282944" cy="330101"/>
          </a:xfrm>
          <a:custGeom>
            <a:avLst/>
            <a:gdLst>
              <a:gd name="T0" fmla="*/ 129428 w 306"/>
              <a:gd name="T1" fmla="*/ 96106 h 293"/>
              <a:gd name="T2" fmla="*/ 128992 w 306"/>
              <a:gd name="T3" fmla="*/ 98230 h 293"/>
              <a:gd name="T4" fmla="*/ 126813 w 306"/>
              <a:gd name="T5" fmla="*/ 103009 h 293"/>
              <a:gd name="T6" fmla="*/ 122891 w 306"/>
              <a:gd name="T7" fmla="*/ 105664 h 293"/>
              <a:gd name="T8" fmla="*/ 118533 w 306"/>
              <a:gd name="T9" fmla="*/ 106726 h 293"/>
              <a:gd name="T10" fmla="*/ 114611 w 306"/>
              <a:gd name="T11" fmla="*/ 109911 h 293"/>
              <a:gd name="T12" fmla="*/ 110253 w 306"/>
              <a:gd name="T13" fmla="*/ 121593 h 293"/>
              <a:gd name="T14" fmla="*/ 105460 w 306"/>
              <a:gd name="T15" fmla="*/ 134867 h 293"/>
              <a:gd name="T16" fmla="*/ 100666 w 306"/>
              <a:gd name="T17" fmla="*/ 141770 h 293"/>
              <a:gd name="T18" fmla="*/ 96308 w 306"/>
              <a:gd name="T19" fmla="*/ 144956 h 293"/>
              <a:gd name="T20" fmla="*/ 87157 w 306"/>
              <a:gd name="T21" fmla="*/ 149203 h 293"/>
              <a:gd name="T22" fmla="*/ 71469 w 306"/>
              <a:gd name="T23" fmla="*/ 153982 h 293"/>
              <a:gd name="T24" fmla="*/ 60574 w 306"/>
              <a:gd name="T25" fmla="*/ 155575 h 293"/>
              <a:gd name="T26" fmla="*/ 53601 w 306"/>
              <a:gd name="T27" fmla="*/ 155575 h 293"/>
              <a:gd name="T28" fmla="*/ 46193 w 306"/>
              <a:gd name="T29" fmla="*/ 153982 h 293"/>
              <a:gd name="T30" fmla="*/ 40092 w 306"/>
              <a:gd name="T31" fmla="*/ 151858 h 293"/>
              <a:gd name="T32" fmla="*/ 34863 w 306"/>
              <a:gd name="T33" fmla="*/ 147610 h 293"/>
              <a:gd name="T34" fmla="*/ 30941 w 306"/>
              <a:gd name="T35" fmla="*/ 142301 h 293"/>
              <a:gd name="T36" fmla="*/ 436 w 306"/>
              <a:gd name="T37" fmla="*/ 125310 h 293"/>
              <a:gd name="T38" fmla="*/ 0 w 306"/>
              <a:gd name="T39" fmla="*/ 46726 h 293"/>
              <a:gd name="T40" fmla="*/ 436 w 306"/>
              <a:gd name="T41" fmla="*/ 26018 h 293"/>
              <a:gd name="T42" fmla="*/ 1743 w 306"/>
              <a:gd name="T43" fmla="*/ 18584 h 293"/>
              <a:gd name="T44" fmla="*/ 4794 w 306"/>
              <a:gd name="T45" fmla="*/ 11150 h 293"/>
              <a:gd name="T46" fmla="*/ 8716 w 306"/>
              <a:gd name="T47" fmla="*/ 4248 h 293"/>
              <a:gd name="T48" fmla="*/ 17867 w 306"/>
              <a:gd name="T49" fmla="*/ 1062 h 293"/>
              <a:gd name="T50" fmla="*/ 23097 w 306"/>
              <a:gd name="T51" fmla="*/ 0 h 293"/>
              <a:gd name="T52" fmla="*/ 31376 w 306"/>
              <a:gd name="T53" fmla="*/ 3186 h 293"/>
              <a:gd name="T54" fmla="*/ 34863 w 306"/>
              <a:gd name="T55" fmla="*/ 3717 h 293"/>
              <a:gd name="T56" fmla="*/ 36606 w 306"/>
              <a:gd name="T57" fmla="*/ 2124 h 293"/>
              <a:gd name="T58" fmla="*/ 37913 w 306"/>
              <a:gd name="T59" fmla="*/ 2655 h 293"/>
              <a:gd name="T60" fmla="*/ 39221 w 306"/>
              <a:gd name="T61" fmla="*/ 5841 h 293"/>
              <a:gd name="T62" fmla="*/ 43143 w 306"/>
              <a:gd name="T63" fmla="*/ 10088 h 293"/>
              <a:gd name="T64" fmla="*/ 52730 w 306"/>
              <a:gd name="T65" fmla="*/ 16460 h 293"/>
              <a:gd name="T66" fmla="*/ 64496 w 306"/>
              <a:gd name="T67" fmla="*/ 21770 h 293"/>
              <a:gd name="T68" fmla="*/ 79313 w 306"/>
              <a:gd name="T69" fmla="*/ 31327 h 293"/>
              <a:gd name="T70" fmla="*/ 91515 w 306"/>
              <a:gd name="T71" fmla="*/ 41947 h 293"/>
              <a:gd name="T72" fmla="*/ 105024 w 306"/>
              <a:gd name="T73" fmla="*/ 54159 h 293"/>
              <a:gd name="T74" fmla="*/ 113740 w 306"/>
              <a:gd name="T75" fmla="*/ 62124 h 293"/>
              <a:gd name="T76" fmla="*/ 115919 w 306"/>
              <a:gd name="T77" fmla="*/ 65841 h 293"/>
              <a:gd name="T78" fmla="*/ 122020 w 306"/>
              <a:gd name="T79" fmla="*/ 71681 h 293"/>
              <a:gd name="T80" fmla="*/ 130300 w 306"/>
              <a:gd name="T81" fmla="*/ 80177 h 293"/>
              <a:gd name="T82" fmla="*/ 133350 w 306"/>
              <a:gd name="T83" fmla="*/ 85487 h 293"/>
              <a:gd name="T84" fmla="*/ 132478 w 306"/>
              <a:gd name="T85" fmla="*/ 88141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776" name="Freeform 226">
            <a:extLst>
              <a:ext uri="{FF2B5EF4-FFF2-40B4-BE49-F238E27FC236}">
                <a16:creationId xmlns:a16="http://schemas.microsoft.com/office/drawing/2014/main" id="{D665133D-CE3E-43CB-8EA9-506DEEBCC35E}"/>
              </a:ext>
            </a:extLst>
          </p:cNvPr>
          <p:cNvSpPr>
            <a:spLocks/>
          </p:cNvSpPr>
          <p:nvPr>
            <p:custDataLst>
              <p:tags r:id="rId153"/>
            </p:custDataLst>
          </p:nvPr>
        </p:nvSpPr>
        <p:spPr bwMode="auto">
          <a:xfrm>
            <a:off x="8004080" y="2468540"/>
            <a:ext cx="501887" cy="195366"/>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777" name="Freeform 227">
            <a:extLst>
              <a:ext uri="{FF2B5EF4-FFF2-40B4-BE49-F238E27FC236}">
                <a16:creationId xmlns:a16="http://schemas.microsoft.com/office/drawing/2014/main" id="{02975693-3138-42D9-8095-50593F9F9979}"/>
              </a:ext>
            </a:extLst>
          </p:cNvPr>
          <p:cNvSpPr>
            <a:spLocks/>
          </p:cNvSpPr>
          <p:nvPr>
            <p:custDataLst>
              <p:tags r:id="rId154"/>
            </p:custDataLst>
          </p:nvPr>
        </p:nvSpPr>
        <p:spPr bwMode="auto">
          <a:xfrm>
            <a:off x="7849135" y="2956955"/>
            <a:ext cx="953249" cy="767990"/>
          </a:xfrm>
          <a:custGeom>
            <a:avLst/>
            <a:gdLst>
              <a:gd name="T0" fmla="*/ 103976 w 1037"/>
              <a:gd name="T1" fmla="*/ 326280 h 690"/>
              <a:gd name="T2" fmla="*/ 67151 w 1037"/>
              <a:gd name="T3" fmla="*/ 358278 h 690"/>
              <a:gd name="T4" fmla="*/ 13863 w 1037"/>
              <a:gd name="T5" fmla="*/ 343066 h 690"/>
              <a:gd name="T6" fmla="*/ 29027 w 1037"/>
              <a:gd name="T7" fmla="*/ 332574 h 690"/>
              <a:gd name="T8" fmla="*/ 7798 w 1037"/>
              <a:gd name="T9" fmla="*/ 312641 h 690"/>
              <a:gd name="T10" fmla="*/ 19062 w 1037"/>
              <a:gd name="T11" fmla="*/ 312116 h 690"/>
              <a:gd name="T12" fmla="*/ 29027 w 1037"/>
              <a:gd name="T13" fmla="*/ 297428 h 690"/>
              <a:gd name="T14" fmla="*/ 3466 w 1037"/>
              <a:gd name="T15" fmla="*/ 286413 h 690"/>
              <a:gd name="T16" fmla="*/ 32059 w 1037"/>
              <a:gd name="T17" fmla="*/ 274348 h 690"/>
              <a:gd name="T18" fmla="*/ 0 w 1037"/>
              <a:gd name="T19" fmla="*/ 261758 h 690"/>
              <a:gd name="T20" fmla="*/ 8665 w 1037"/>
              <a:gd name="T21" fmla="*/ 239202 h 690"/>
              <a:gd name="T22" fmla="*/ 16030 w 1037"/>
              <a:gd name="T23" fmla="*/ 241825 h 690"/>
              <a:gd name="T24" fmla="*/ 33359 w 1037"/>
              <a:gd name="T25" fmla="*/ 235530 h 690"/>
              <a:gd name="T26" fmla="*/ 39857 w 1037"/>
              <a:gd name="T27" fmla="*/ 222416 h 690"/>
              <a:gd name="T28" fmla="*/ 56320 w 1037"/>
              <a:gd name="T29" fmla="*/ 214547 h 690"/>
              <a:gd name="T30" fmla="*/ 95311 w 1037"/>
              <a:gd name="T31" fmla="*/ 200384 h 690"/>
              <a:gd name="T32" fmla="*/ 98344 w 1037"/>
              <a:gd name="T33" fmla="*/ 177828 h 690"/>
              <a:gd name="T34" fmla="*/ 122605 w 1037"/>
              <a:gd name="T35" fmla="*/ 170484 h 690"/>
              <a:gd name="T36" fmla="*/ 122172 w 1037"/>
              <a:gd name="T37" fmla="*/ 162615 h 690"/>
              <a:gd name="T38" fmla="*/ 129103 w 1037"/>
              <a:gd name="T39" fmla="*/ 149501 h 690"/>
              <a:gd name="T40" fmla="*/ 145133 w 1037"/>
              <a:gd name="T41" fmla="*/ 127469 h 690"/>
              <a:gd name="T42" fmla="*/ 148599 w 1037"/>
              <a:gd name="T43" fmla="*/ 118552 h 690"/>
              <a:gd name="T44" fmla="*/ 168961 w 1037"/>
              <a:gd name="T45" fmla="*/ 104913 h 690"/>
              <a:gd name="T46" fmla="*/ 167661 w 1037"/>
              <a:gd name="T47" fmla="*/ 82357 h 690"/>
              <a:gd name="T48" fmla="*/ 161596 w 1037"/>
              <a:gd name="T49" fmla="*/ 74488 h 690"/>
              <a:gd name="T50" fmla="*/ 144700 w 1037"/>
              <a:gd name="T51" fmla="*/ 80783 h 690"/>
              <a:gd name="T52" fmla="*/ 168961 w 1037"/>
              <a:gd name="T53" fmla="*/ 54030 h 690"/>
              <a:gd name="T54" fmla="*/ 178059 w 1037"/>
              <a:gd name="T55" fmla="*/ 50358 h 690"/>
              <a:gd name="T56" fmla="*/ 200587 w 1037"/>
              <a:gd name="T57" fmla="*/ 59800 h 690"/>
              <a:gd name="T58" fmla="*/ 201886 w 1037"/>
              <a:gd name="T59" fmla="*/ 47735 h 690"/>
              <a:gd name="T60" fmla="*/ 241744 w 1037"/>
              <a:gd name="T61" fmla="*/ 31998 h 690"/>
              <a:gd name="T62" fmla="*/ 256040 w 1037"/>
              <a:gd name="T63" fmla="*/ 33048 h 690"/>
              <a:gd name="T64" fmla="*/ 279435 w 1037"/>
              <a:gd name="T65" fmla="*/ 28851 h 690"/>
              <a:gd name="T66" fmla="*/ 279435 w 1037"/>
              <a:gd name="T67" fmla="*/ 17311 h 690"/>
              <a:gd name="T68" fmla="*/ 302829 w 1037"/>
              <a:gd name="T69" fmla="*/ 6819 h 690"/>
              <a:gd name="T70" fmla="*/ 305429 w 1037"/>
              <a:gd name="T71" fmla="*/ 15212 h 690"/>
              <a:gd name="T72" fmla="*/ 308461 w 1037"/>
              <a:gd name="T73" fmla="*/ 20983 h 690"/>
              <a:gd name="T74" fmla="*/ 328390 w 1037"/>
              <a:gd name="T75" fmla="*/ 6295 h 690"/>
              <a:gd name="T76" fmla="*/ 353951 w 1037"/>
              <a:gd name="T77" fmla="*/ 3147 h 690"/>
              <a:gd name="T78" fmla="*/ 365648 w 1037"/>
              <a:gd name="T79" fmla="*/ 4197 h 690"/>
              <a:gd name="T80" fmla="*/ 373446 w 1037"/>
              <a:gd name="T81" fmla="*/ 5770 h 690"/>
              <a:gd name="T82" fmla="*/ 400307 w 1037"/>
              <a:gd name="T83" fmla="*/ 3147 h 690"/>
              <a:gd name="T84" fmla="*/ 449262 w 1037"/>
              <a:gd name="T85" fmla="*/ 22556 h 690"/>
              <a:gd name="T86" fmla="*/ 435399 w 1037"/>
              <a:gd name="T87" fmla="*/ 41441 h 690"/>
              <a:gd name="T88" fmla="*/ 402906 w 1037"/>
              <a:gd name="T89" fmla="*/ 28851 h 690"/>
              <a:gd name="T90" fmla="*/ 378212 w 1037"/>
              <a:gd name="T91" fmla="*/ 38818 h 690"/>
              <a:gd name="T92" fmla="*/ 367381 w 1037"/>
              <a:gd name="T93" fmla="*/ 60850 h 690"/>
              <a:gd name="T94" fmla="*/ 351351 w 1037"/>
              <a:gd name="T95" fmla="*/ 58227 h 690"/>
              <a:gd name="T96" fmla="*/ 322758 w 1037"/>
              <a:gd name="T97" fmla="*/ 67144 h 690"/>
              <a:gd name="T98" fmla="*/ 300663 w 1037"/>
              <a:gd name="T99" fmla="*/ 48260 h 690"/>
              <a:gd name="T100" fmla="*/ 268604 w 1037"/>
              <a:gd name="T101" fmla="*/ 58751 h 690"/>
              <a:gd name="T102" fmla="*/ 231346 w 1037"/>
              <a:gd name="T103" fmla="*/ 70292 h 690"/>
              <a:gd name="T104" fmla="*/ 210551 w 1037"/>
              <a:gd name="T105" fmla="*/ 110159 h 690"/>
              <a:gd name="T106" fmla="*/ 186290 w 1037"/>
              <a:gd name="T107" fmla="*/ 146354 h 690"/>
              <a:gd name="T108" fmla="*/ 172860 w 1037"/>
              <a:gd name="T109" fmla="*/ 190942 h 690"/>
              <a:gd name="T110" fmla="*/ 144266 w 1037"/>
              <a:gd name="T111" fmla="*/ 222940 h 690"/>
              <a:gd name="T112" fmla="*/ 153798 w 1037"/>
              <a:gd name="T113" fmla="*/ 260709 h 690"/>
              <a:gd name="T114" fmla="*/ 153364 w 1037"/>
              <a:gd name="T115" fmla="*/ 292707 h 690"/>
              <a:gd name="T116" fmla="*/ 143400 w 1037"/>
              <a:gd name="T117" fmla="*/ 322608 h 690"/>
              <a:gd name="T118" fmla="*/ 127804 w 1037"/>
              <a:gd name="T119" fmla="*/ 338345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778" name="Freeform 228">
            <a:extLst>
              <a:ext uri="{FF2B5EF4-FFF2-40B4-BE49-F238E27FC236}">
                <a16:creationId xmlns:a16="http://schemas.microsoft.com/office/drawing/2014/main" id="{1AA99702-4849-48A2-8A2B-DDF5D4EB9149}"/>
              </a:ext>
            </a:extLst>
          </p:cNvPr>
          <p:cNvSpPr>
            <a:spLocks/>
          </p:cNvSpPr>
          <p:nvPr>
            <p:custDataLst>
              <p:tags r:id="rId155"/>
            </p:custDataLst>
          </p:nvPr>
        </p:nvSpPr>
        <p:spPr bwMode="auto">
          <a:xfrm>
            <a:off x="8569967" y="4742194"/>
            <a:ext cx="104419" cy="191996"/>
          </a:xfrm>
          <a:custGeom>
            <a:avLst/>
            <a:gdLst>
              <a:gd name="T0" fmla="*/ 49212 w 120"/>
              <a:gd name="T1" fmla="*/ 51782 h 173"/>
              <a:gd name="T2" fmla="*/ 37729 w 120"/>
              <a:gd name="T3" fmla="*/ 31383 h 173"/>
              <a:gd name="T4" fmla="*/ 28707 w 120"/>
              <a:gd name="T5" fmla="*/ 14645 h 173"/>
              <a:gd name="T6" fmla="*/ 24606 w 120"/>
              <a:gd name="T7" fmla="*/ 8369 h 173"/>
              <a:gd name="T8" fmla="*/ 21735 w 120"/>
              <a:gd name="T9" fmla="*/ 4184 h 173"/>
              <a:gd name="T10" fmla="*/ 19685 w 120"/>
              <a:gd name="T11" fmla="*/ 2092 h 173"/>
              <a:gd name="T12" fmla="*/ 18455 w 120"/>
              <a:gd name="T13" fmla="*/ 1046 h 173"/>
              <a:gd name="T14" fmla="*/ 17634 w 120"/>
              <a:gd name="T15" fmla="*/ 523 h 173"/>
              <a:gd name="T16" fmla="*/ 15994 w 120"/>
              <a:gd name="T17" fmla="*/ 0 h 173"/>
              <a:gd name="T18" fmla="*/ 13533 w 120"/>
              <a:gd name="T19" fmla="*/ 0 h 173"/>
              <a:gd name="T20" fmla="*/ 11073 w 120"/>
              <a:gd name="T21" fmla="*/ 523 h 173"/>
              <a:gd name="T22" fmla="*/ 9842 w 120"/>
              <a:gd name="T23" fmla="*/ 1569 h 173"/>
              <a:gd name="T24" fmla="*/ 8612 w 120"/>
              <a:gd name="T25" fmla="*/ 2615 h 173"/>
              <a:gd name="T26" fmla="*/ 7792 w 120"/>
              <a:gd name="T27" fmla="*/ 4184 h 173"/>
              <a:gd name="T28" fmla="*/ 6562 w 120"/>
              <a:gd name="T29" fmla="*/ 6277 h 173"/>
              <a:gd name="T30" fmla="*/ 6152 w 120"/>
              <a:gd name="T31" fmla="*/ 7846 h 173"/>
              <a:gd name="T32" fmla="*/ 6152 w 120"/>
              <a:gd name="T33" fmla="*/ 10461 h 173"/>
              <a:gd name="T34" fmla="*/ 5741 w 120"/>
              <a:gd name="T35" fmla="*/ 15691 h 173"/>
              <a:gd name="T36" fmla="*/ 4921 w 120"/>
              <a:gd name="T37" fmla="*/ 21968 h 173"/>
              <a:gd name="T38" fmla="*/ 4101 w 120"/>
              <a:gd name="T39" fmla="*/ 25106 h 173"/>
              <a:gd name="T40" fmla="*/ 3281 w 120"/>
              <a:gd name="T41" fmla="*/ 28244 h 173"/>
              <a:gd name="T42" fmla="*/ 1640 w 120"/>
              <a:gd name="T43" fmla="*/ 31906 h 173"/>
              <a:gd name="T44" fmla="*/ 0 w 120"/>
              <a:gd name="T45" fmla="*/ 35567 h 173"/>
              <a:gd name="T46" fmla="*/ 2051 w 120"/>
              <a:gd name="T47" fmla="*/ 42890 h 173"/>
              <a:gd name="T48" fmla="*/ 4101 w 120"/>
              <a:gd name="T49" fmla="*/ 51782 h 173"/>
              <a:gd name="T50" fmla="*/ 6152 w 120"/>
              <a:gd name="T51" fmla="*/ 60150 h 173"/>
              <a:gd name="T52" fmla="*/ 8202 w 120"/>
              <a:gd name="T53" fmla="*/ 67473 h 173"/>
              <a:gd name="T54" fmla="*/ 9842 w 120"/>
              <a:gd name="T55" fmla="*/ 70088 h 173"/>
              <a:gd name="T56" fmla="*/ 12303 w 120"/>
              <a:gd name="T57" fmla="*/ 72703 h 173"/>
              <a:gd name="T58" fmla="*/ 15174 w 120"/>
              <a:gd name="T59" fmla="*/ 75842 h 173"/>
              <a:gd name="T60" fmla="*/ 18865 w 120"/>
              <a:gd name="T61" fmla="*/ 78980 h 173"/>
              <a:gd name="T62" fmla="*/ 22145 w 120"/>
              <a:gd name="T63" fmla="*/ 82118 h 173"/>
              <a:gd name="T64" fmla="*/ 24606 w 120"/>
              <a:gd name="T65" fmla="*/ 85257 h 173"/>
              <a:gd name="T66" fmla="*/ 25426 w 120"/>
              <a:gd name="T67" fmla="*/ 86303 h 173"/>
              <a:gd name="T68" fmla="*/ 26657 w 120"/>
              <a:gd name="T69" fmla="*/ 87872 h 173"/>
              <a:gd name="T70" fmla="*/ 27067 w 120"/>
              <a:gd name="T71" fmla="*/ 88918 h 173"/>
              <a:gd name="T72" fmla="*/ 27477 w 120"/>
              <a:gd name="T73" fmla="*/ 90487 h 173"/>
              <a:gd name="T74" fmla="*/ 31168 w 120"/>
              <a:gd name="T75" fmla="*/ 87349 h 173"/>
              <a:gd name="T76" fmla="*/ 35269 w 120"/>
              <a:gd name="T77" fmla="*/ 83687 h 173"/>
              <a:gd name="T78" fmla="*/ 38139 w 120"/>
              <a:gd name="T79" fmla="*/ 79503 h 173"/>
              <a:gd name="T80" fmla="*/ 41420 w 120"/>
              <a:gd name="T81" fmla="*/ 74273 h 173"/>
              <a:gd name="T82" fmla="*/ 43471 w 120"/>
              <a:gd name="T83" fmla="*/ 69042 h 173"/>
              <a:gd name="T84" fmla="*/ 45931 w 120"/>
              <a:gd name="T85" fmla="*/ 63289 h 173"/>
              <a:gd name="T86" fmla="*/ 47572 w 120"/>
              <a:gd name="T87" fmla="*/ 57535 h 173"/>
              <a:gd name="T88" fmla="*/ 49212 w 120"/>
              <a:gd name="T89" fmla="*/ 51782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79" name="Freeform 229">
            <a:extLst>
              <a:ext uri="{FF2B5EF4-FFF2-40B4-BE49-F238E27FC236}">
                <a16:creationId xmlns:a16="http://schemas.microsoft.com/office/drawing/2014/main" id="{236B23E9-3777-4E9F-A78F-380A9EF3DFAC}"/>
              </a:ext>
            </a:extLst>
          </p:cNvPr>
          <p:cNvSpPr>
            <a:spLocks/>
          </p:cNvSpPr>
          <p:nvPr>
            <p:custDataLst>
              <p:tags r:id="rId156"/>
            </p:custDataLst>
          </p:nvPr>
        </p:nvSpPr>
        <p:spPr bwMode="auto">
          <a:xfrm>
            <a:off x="7950186" y="4401987"/>
            <a:ext cx="178523" cy="124631"/>
          </a:xfrm>
          <a:custGeom>
            <a:avLst/>
            <a:gdLst>
              <a:gd name="T0" fmla="*/ 84137 w 200"/>
              <a:gd name="T1" fmla="*/ 32965 h 98"/>
              <a:gd name="T2" fmla="*/ 82034 w 200"/>
              <a:gd name="T3" fmla="*/ 33565 h 98"/>
              <a:gd name="T4" fmla="*/ 78247 w 200"/>
              <a:gd name="T5" fmla="*/ 35962 h 98"/>
              <a:gd name="T6" fmla="*/ 74461 w 200"/>
              <a:gd name="T7" fmla="*/ 38959 h 98"/>
              <a:gd name="T8" fmla="*/ 69834 w 200"/>
              <a:gd name="T9" fmla="*/ 43754 h 98"/>
              <a:gd name="T10" fmla="*/ 65206 w 200"/>
              <a:gd name="T11" fmla="*/ 47949 h 98"/>
              <a:gd name="T12" fmla="*/ 60999 w 200"/>
              <a:gd name="T13" fmla="*/ 52145 h 98"/>
              <a:gd name="T14" fmla="*/ 57634 w 200"/>
              <a:gd name="T15" fmla="*/ 55741 h 98"/>
              <a:gd name="T16" fmla="*/ 55951 w 200"/>
              <a:gd name="T17" fmla="*/ 58738 h 98"/>
              <a:gd name="T18" fmla="*/ 53427 w 200"/>
              <a:gd name="T19" fmla="*/ 58738 h 98"/>
              <a:gd name="T20" fmla="*/ 51324 w 200"/>
              <a:gd name="T21" fmla="*/ 58738 h 98"/>
              <a:gd name="T22" fmla="*/ 48799 w 200"/>
              <a:gd name="T23" fmla="*/ 58139 h 98"/>
              <a:gd name="T24" fmla="*/ 46696 w 200"/>
              <a:gd name="T25" fmla="*/ 56940 h 98"/>
              <a:gd name="T26" fmla="*/ 44593 w 200"/>
              <a:gd name="T27" fmla="*/ 55741 h 98"/>
              <a:gd name="T28" fmla="*/ 43331 w 200"/>
              <a:gd name="T29" fmla="*/ 52744 h 98"/>
              <a:gd name="T30" fmla="*/ 42489 w 200"/>
              <a:gd name="T31" fmla="*/ 49148 h 98"/>
              <a:gd name="T32" fmla="*/ 42069 w 200"/>
              <a:gd name="T33" fmla="*/ 44353 h 98"/>
              <a:gd name="T34" fmla="*/ 38282 w 200"/>
              <a:gd name="T35" fmla="*/ 47949 h 98"/>
              <a:gd name="T36" fmla="*/ 34496 w 200"/>
              <a:gd name="T37" fmla="*/ 51546 h 98"/>
              <a:gd name="T38" fmla="*/ 32813 w 200"/>
              <a:gd name="T39" fmla="*/ 53943 h 98"/>
              <a:gd name="T40" fmla="*/ 30289 w 200"/>
              <a:gd name="T41" fmla="*/ 55741 h 98"/>
              <a:gd name="T42" fmla="*/ 28186 w 200"/>
              <a:gd name="T43" fmla="*/ 57539 h 98"/>
              <a:gd name="T44" fmla="*/ 25241 w 200"/>
              <a:gd name="T45" fmla="*/ 58738 h 98"/>
              <a:gd name="T46" fmla="*/ 16407 w 200"/>
              <a:gd name="T47" fmla="*/ 58738 h 98"/>
              <a:gd name="T48" fmla="*/ 14303 w 200"/>
              <a:gd name="T49" fmla="*/ 58738 h 98"/>
              <a:gd name="T50" fmla="*/ 11779 w 200"/>
              <a:gd name="T51" fmla="*/ 56940 h 98"/>
              <a:gd name="T52" fmla="*/ 9255 w 200"/>
              <a:gd name="T53" fmla="*/ 55142 h 98"/>
              <a:gd name="T54" fmla="*/ 6310 w 200"/>
              <a:gd name="T55" fmla="*/ 53344 h 98"/>
              <a:gd name="T56" fmla="*/ 3786 w 200"/>
              <a:gd name="T57" fmla="*/ 50946 h 98"/>
              <a:gd name="T58" fmla="*/ 1683 w 200"/>
              <a:gd name="T59" fmla="*/ 48549 h 98"/>
              <a:gd name="T60" fmla="*/ 421 w 200"/>
              <a:gd name="T61" fmla="*/ 46151 h 98"/>
              <a:gd name="T62" fmla="*/ 0 w 200"/>
              <a:gd name="T63" fmla="*/ 44353 h 98"/>
              <a:gd name="T64" fmla="*/ 2103 w 200"/>
              <a:gd name="T65" fmla="*/ 42555 h 98"/>
              <a:gd name="T66" fmla="*/ 4207 w 200"/>
              <a:gd name="T67" fmla="*/ 40158 h 98"/>
              <a:gd name="T68" fmla="*/ 5890 w 200"/>
              <a:gd name="T69" fmla="*/ 35962 h 98"/>
              <a:gd name="T70" fmla="*/ 8414 w 200"/>
              <a:gd name="T71" fmla="*/ 31766 h 98"/>
              <a:gd name="T72" fmla="*/ 9676 w 200"/>
              <a:gd name="T73" fmla="*/ 26972 h 98"/>
              <a:gd name="T74" fmla="*/ 11358 w 200"/>
              <a:gd name="T75" fmla="*/ 22177 h 98"/>
              <a:gd name="T76" fmla="*/ 12621 w 200"/>
              <a:gd name="T77" fmla="*/ 16782 h 98"/>
              <a:gd name="T78" fmla="*/ 13883 w 200"/>
              <a:gd name="T79" fmla="*/ 11388 h 98"/>
              <a:gd name="T80" fmla="*/ 27765 w 200"/>
              <a:gd name="T81" fmla="*/ 8391 h 98"/>
              <a:gd name="T82" fmla="*/ 43331 w 200"/>
              <a:gd name="T83" fmla="*/ 5394 h 98"/>
              <a:gd name="T84" fmla="*/ 60999 w 200"/>
              <a:gd name="T85" fmla="*/ 2397 h 98"/>
              <a:gd name="T86" fmla="*/ 81192 w 200"/>
              <a:gd name="T87" fmla="*/ 0 h 98"/>
              <a:gd name="T88" fmla="*/ 69834 w 200"/>
              <a:gd name="T89" fmla="*/ 18580 h 98"/>
              <a:gd name="T90" fmla="*/ 69834 w 200"/>
              <a:gd name="T91" fmla="*/ 20378 h 98"/>
              <a:gd name="T92" fmla="*/ 68992 w 200"/>
              <a:gd name="T93" fmla="*/ 22177 h 98"/>
              <a:gd name="T94" fmla="*/ 68151 w 200"/>
              <a:gd name="T95" fmla="*/ 23375 h 98"/>
              <a:gd name="T96" fmla="*/ 67730 w 200"/>
              <a:gd name="T97" fmla="*/ 24574 h 98"/>
              <a:gd name="T98" fmla="*/ 66048 w 200"/>
              <a:gd name="T99" fmla="*/ 26972 h 98"/>
              <a:gd name="T100" fmla="*/ 65627 w 200"/>
              <a:gd name="T101" fmla="*/ 28170 h 98"/>
              <a:gd name="T102" fmla="*/ 65627 w 200"/>
              <a:gd name="T103" fmla="*/ 29369 h 98"/>
              <a:gd name="T104" fmla="*/ 66048 w 200"/>
              <a:gd name="T105" fmla="*/ 29968 h 98"/>
              <a:gd name="T106" fmla="*/ 66889 w 200"/>
              <a:gd name="T107" fmla="*/ 29968 h 98"/>
              <a:gd name="T108" fmla="*/ 68572 w 200"/>
              <a:gd name="T109" fmla="*/ 30568 h 98"/>
              <a:gd name="T110" fmla="*/ 74461 w 200"/>
              <a:gd name="T111" fmla="*/ 31766 h 98"/>
              <a:gd name="T112" fmla="*/ 84137 w 200"/>
              <a:gd name="T113" fmla="*/ 32965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780" name="Freeform 230">
            <a:extLst>
              <a:ext uri="{FF2B5EF4-FFF2-40B4-BE49-F238E27FC236}">
                <a16:creationId xmlns:a16="http://schemas.microsoft.com/office/drawing/2014/main" id="{EA133D1D-2432-4E8B-A625-342781753C3D}"/>
              </a:ext>
            </a:extLst>
          </p:cNvPr>
          <p:cNvSpPr>
            <a:spLocks/>
          </p:cNvSpPr>
          <p:nvPr>
            <p:custDataLst>
              <p:tags r:id="rId157"/>
            </p:custDataLst>
          </p:nvPr>
        </p:nvSpPr>
        <p:spPr bwMode="auto">
          <a:xfrm>
            <a:off x="7818818" y="4017993"/>
            <a:ext cx="178525" cy="154945"/>
          </a:xfrm>
          <a:custGeom>
            <a:avLst/>
            <a:gdLst>
              <a:gd name="T0" fmla="*/ 0 w 186"/>
              <a:gd name="T1" fmla="*/ 57597 h 142"/>
              <a:gd name="T2" fmla="*/ 905 w 186"/>
              <a:gd name="T3" fmla="*/ 59654 h 142"/>
              <a:gd name="T4" fmla="*/ 1357 w 186"/>
              <a:gd name="T5" fmla="*/ 55026 h 142"/>
              <a:gd name="T6" fmla="*/ 1357 w 186"/>
              <a:gd name="T7" fmla="*/ 47826 h 142"/>
              <a:gd name="T8" fmla="*/ 4071 w 186"/>
              <a:gd name="T9" fmla="*/ 42169 h 142"/>
              <a:gd name="T10" fmla="*/ 7690 w 186"/>
              <a:gd name="T11" fmla="*/ 35484 h 142"/>
              <a:gd name="T12" fmla="*/ 9047 w 186"/>
              <a:gd name="T13" fmla="*/ 28799 h 142"/>
              <a:gd name="T14" fmla="*/ 10404 w 186"/>
              <a:gd name="T15" fmla="*/ 23656 h 142"/>
              <a:gd name="T16" fmla="*/ 12666 w 186"/>
              <a:gd name="T17" fmla="*/ 19028 h 142"/>
              <a:gd name="T18" fmla="*/ 15832 w 186"/>
              <a:gd name="T19" fmla="*/ 16456 h 142"/>
              <a:gd name="T20" fmla="*/ 18547 w 186"/>
              <a:gd name="T21" fmla="*/ 19542 h 142"/>
              <a:gd name="T22" fmla="*/ 19451 w 186"/>
              <a:gd name="T23" fmla="*/ 25199 h 142"/>
              <a:gd name="T24" fmla="*/ 21261 w 186"/>
              <a:gd name="T25" fmla="*/ 29827 h 142"/>
              <a:gd name="T26" fmla="*/ 24880 w 186"/>
              <a:gd name="T27" fmla="*/ 33427 h 142"/>
              <a:gd name="T28" fmla="*/ 39355 w 186"/>
              <a:gd name="T29" fmla="*/ 34455 h 142"/>
              <a:gd name="T30" fmla="*/ 35736 w 186"/>
              <a:gd name="T31" fmla="*/ 21085 h 142"/>
              <a:gd name="T32" fmla="*/ 31212 w 186"/>
              <a:gd name="T33" fmla="*/ 18513 h 142"/>
              <a:gd name="T34" fmla="*/ 28498 w 186"/>
              <a:gd name="T35" fmla="*/ 15428 h 142"/>
              <a:gd name="T36" fmla="*/ 27594 w 186"/>
              <a:gd name="T37" fmla="*/ 11828 h 142"/>
              <a:gd name="T38" fmla="*/ 31665 w 186"/>
              <a:gd name="T39" fmla="*/ 8742 h 142"/>
              <a:gd name="T40" fmla="*/ 39355 w 186"/>
              <a:gd name="T41" fmla="*/ 7200 h 142"/>
              <a:gd name="T42" fmla="*/ 44331 w 186"/>
              <a:gd name="T43" fmla="*/ 5143 h 142"/>
              <a:gd name="T44" fmla="*/ 50211 w 186"/>
              <a:gd name="T45" fmla="*/ 3086 h 142"/>
              <a:gd name="T46" fmla="*/ 58806 w 186"/>
              <a:gd name="T47" fmla="*/ 1543 h 142"/>
              <a:gd name="T48" fmla="*/ 66496 w 186"/>
              <a:gd name="T49" fmla="*/ 514 h 142"/>
              <a:gd name="T50" fmla="*/ 71924 w 186"/>
              <a:gd name="T51" fmla="*/ 1029 h 142"/>
              <a:gd name="T52" fmla="*/ 79614 w 186"/>
              <a:gd name="T53" fmla="*/ 514 h 142"/>
              <a:gd name="T54" fmla="*/ 82781 w 186"/>
              <a:gd name="T55" fmla="*/ 5143 h 142"/>
              <a:gd name="T56" fmla="*/ 80519 w 186"/>
              <a:gd name="T57" fmla="*/ 13371 h 142"/>
              <a:gd name="T58" fmla="*/ 76448 w 186"/>
              <a:gd name="T59" fmla="*/ 20570 h 142"/>
              <a:gd name="T60" fmla="*/ 71924 w 186"/>
              <a:gd name="T61" fmla="*/ 26227 h 142"/>
              <a:gd name="T62" fmla="*/ 70115 w 186"/>
              <a:gd name="T63" fmla="*/ 32398 h 142"/>
              <a:gd name="T64" fmla="*/ 69210 w 186"/>
              <a:gd name="T65" fmla="*/ 39084 h 142"/>
              <a:gd name="T66" fmla="*/ 54283 w 186"/>
              <a:gd name="T67" fmla="*/ 73025 h 142"/>
              <a:gd name="T68" fmla="*/ 36188 w 186"/>
              <a:gd name="T69" fmla="*/ 62740 h 142"/>
              <a:gd name="T70" fmla="*/ 15832 w 186"/>
              <a:gd name="T71" fmla="*/ 60168 h 142"/>
              <a:gd name="T72" fmla="*/ 3619 w 186"/>
              <a:gd name="T73" fmla="*/ 58111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781" name="Freeform 231">
            <a:extLst>
              <a:ext uri="{FF2B5EF4-FFF2-40B4-BE49-F238E27FC236}">
                <a16:creationId xmlns:a16="http://schemas.microsoft.com/office/drawing/2014/main" id="{92A1E800-32E8-47EE-8AE3-953C0526ECFE}"/>
              </a:ext>
            </a:extLst>
          </p:cNvPr>
          <p:cNvSpPr>
            <a:spLocks/>
          </p:cNvSpPr>
          <p:nvPr>
            <p:custDataLst>
              <p:tags r:id="rId158"/>
            </p:custDataLst>
          </p:nvPr>
        </p:nvSpPr>
        <p:spPr bwMode="auto">
          <a:xfrm>
            <a:off x="7778398" y="4152728"/>
            <a:ext cx="178525" cy="121262"/>
          </a:xfrm>
          <a:custGeom>
            <a:avLst/>
            <a:gdLst>
              <a:gd name="T0" fmla="*/ 84138 w 192"/>
              <a:gd name="T1" fmla="*/ 33201 h 105"/>
              <a:gd name="T2" fmla="*/ 82823 w 192"/>
              <a:gd name="T3" fmla="*/ 33746 h 105"/>
              <a:gd name="T4" fmla="*/ 80632 w 192"/>
              <a:gd name="T5" fmla="*/ 34290 h 105"/>
              <a:gd name="T6" fmla="*/ 78879 w 192"/>
              <a:gd name="T7" fmla="*/ 34834 h 105"/>
              <a:gd name="T8" fmla="*/ 77565 w 192"/>
              <a:gd name="T9" fmla="*/ 36467 h 105"/>
              <a:gd name="T10" fmla="*/ 73621 w 192"/>
              <a:gd name="T11" fmla="*/ 39189 h 105"/>
              <a:gd name="T12" fmla="*/ 70115 w 192"/>
              <a:gd name="T13" fmla="*/ 42999 h 105"/>
              <a:gd name="T14" fmla="*/ 67486 w 192"/>
              <a:gd name="T15" fmla="*/ 46809 h 105"/>
              <a:gd name="T16" fmla="*/ 64418 w 192"/>
              <a:gd name="T17" fmla="*/ 50619 h 105"/>
              <a:gd name="T18" fmla="*/ 62665 w 192"/>
              <a:gd name="T19" fmla="*/ 53884 h 105"/>
              <a:gd name="T20" fmla="*/ 60912 w 192"/>
              <a:gd name="T21" fmla="*/ 57150 h 105"/>
              <a:gd name="T22" fmla="*/ 52586 w 192"/>
              <a:gd name="T23" fmla="*/ 52796 h 105"/>
              <a:gd name="T24" fmla="*/ 44698 w 192"/>
              <a:gd name="T25" fmla="*/ 48441 h 105"/>
              <a:gd name="T26" fmla="*/ 37687 w 192"/>
              <a:gd name="T27" fmla="*/ 43543 h 105"/>
              <a:gd name="T28" fmla="*/ 30237 w 192"/>
              <a:gd name="T29" fmla="*/ 38644 h 105"/>
              <a:gd name="T30" fmla="*/ 23226 w 192"/>
              <a:gd name="T31" fmla="*/ 33201 h 105"/>
              <a:gd name="T32" fmla="*/ 15776 w 192"/>
              <a:gd name="T33" fmla="*/ 28847 h 105"/>
              <a:gd name="T34" fmla="*/ 8326 w 192"/>
              <a:gd name="T35" fmla="*/ 23949 h 105"/>
              <a:gd name="T36" fmla="*/ 0 w 192"/>
              <a:gd name="T37" fmla="*/ 20139 h 105"/>
              <a:gd name="T38" fmla="*/ 0 w 192"/>
              <a:gd name="T39" fmla="*/ 7076 h 105"/>
              <a:gd name="T40" fmla="*/ 3068 w 192"/>
              <a:gd name="T41" fmla="*/ 3810 h 105"/>
              <a:gd name="T42" fmla="*/ 7012 w 192"/>
              <a:gd name="T43" fmla="*/ 2177 h 105"/>
              <a:gd name="T44" fmla="*/ 12708 w 192"/>
              <a:gd name="T45" fmla="*/ 544 h 105"/>
              <a:gd name="T46" fmla="*/ 17529 w 192"/>
              <a:gd name="T47" fmla="*/ 0 h 105"/>
              <a:gd name="T48" fmla="*/ 26293 w 192"/>
              <a:gd name="T49" fmla="*/ 1089 h 105"/>
              <a:gd name="T50" fmla="*/ 40754 w 192"/>
              <a:gd name="T51" fmla="*/ 2721 h 105"/>
              <a:gd name="T52" fmla="*/ 48642 w 192"/>
              <a:gd name="T53" fmla="*/ 3810 h 105"/>
              <a:gd name="T54" fmla="*/ 56092 w 192"/>
              <a:gd name="T55" fmla="*/ 3810 h 105"/>
              <a:gd name="T56" fmla="*/ 62665 w 192"/>
              <a:gd name="T57" fmla="*/ 3810 h 105"/>
              <a:gd name="T58" fmla="*/ 67047 w 192"/>
              <a:gd name="T59" fmla="*/ 3266 h 105"/>
              <a:gd name="T60" fmla="*/ 67924 w 192"/>
              <a:gd name="T61" fmla="*/ 5987 h 105"/>
              <a:gd name="T62" fmla="*/ 69677 w 192"/>
              <a:gd name="T63" fmla="*/ 9253 h 105"/>
              <a:gd name="T64" fmla="*/ 70553 w 192"/>
              <a:gd name="T65" fmla="*/ 10886 h 105"/>
              <a:gd name="T66" fmla="*/ 71868 w 192"/>
              <a:gd name="T67" fmla="*/ 12519 h 105"/>
              <a:gd name="T68" fmla="*/ 72306 w 192"/>
              <a:gd name="T69" fmla="*/ 14696 h 105"/>
              <a:gd name="T70" fmla="*/ 72744 w 192"/>
              <a:gd name="T71" fmla="*/ 16873 h 105"/>
              <a:gd name="T72" fmla="*/ 74497 w 192"/>
              <a:gd name="T73" fmla="*/ 17417 h 105"/>
              <a:gd name="T74" fmla="*/ 77565 w 192"/>
              <a:gd name="T75" fmla="*/ 17961 h 105"/>
              <a:gd name="T76" fmla="*/ 78879 w 192"/>
              <a:gd name="T77" fmla="*/ 18506 h 105"/>
              <a:gd name="T78" fmla="*/ 80194 w 192"/>
              <a:gd name="T79" fmla="*/ 18506 h 105"/>
              <a:gd name="T80" fmla="*/ 82385 w 192"/>
              <a:gd name="T81" fmla="*/ 17961 h 105"/>
              <a:gd name="T82" fmla="*/ 84138 w 192"/>
              <a:gd name="T83" fmla="*/ 16873 h 105"/>
              <a:gd name="T84" fmla="*/ 84138 w 192"/>
              <a:gd name="T85" fmla="*/ 33201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782" name="Freeform 232">
            <a:extLst>
              <a:ext uri="{FF2B5EF4-FFF2-40B4-BE49-F238E27FC236}">
                <a16:creationId xmlns:a16="http://schemas.microsoft.com/office/drawing/2014/main" id="{F94FF1C8-748A-4F13-BB39-ECBAAA142B7E}"/>
              </a:ext>
            </a:extLst>
          </p:cNvPr>
          <p:cNvSpPr>
            <a:spLocks/>
          </p:cNvSpPr>
          <p:nvPr>
            <p:custDataLst>
              <p:tags r:id="rId159"/>
            </p:custDataLst>
          </p:nvPr>
        </p:nvSpPr>
        <p:spPr bwMode="auto">
          <a:xfrm>
            <a:off x="9391851" y="5328292"/>
            <a:ext cx="70735" cy="279574"/>
          </a:xfrm>
          <a:custGeom>
            <a:avLst/>
            <a:gdLst>
              <a:gd name="T0" fmla="*/ 13752 w 80"/>
              <a:gd name="T1" fmla="*/ 0 h 254"/>
              <a:gd name="T2" fmla="*/ 15418 w 80"/>
              <a:gd name="T3" fmla="*/ 1037 h 254"/>
              <a:gd name="T4" fmla="*/ 16669 w 80"/>
              <a:gd name="T5" fmla="*/ 2075 h 254"/>
              <a:gd name="T6" fmla="*/ 17919 w 80"/>
              <a:gd name="T7" fmla="*/ 3631 h 254"/>
              <a:gd name="T8" fmla="*/ 19169 w 80"/>
              <a:gd name="T9" fmla="*/ 5187 h 254"/>
              <a:gd name="T10" fmla="*/ 21669 w 80"/>
              <a:gd name="T11" fmla="*/ 9337 h 254"/>
              <a:gd name="T12" fmla="*/ 23336 w 80"/>
              <a:gd name="T13" fmla="*/ 12969 h 254"/>
              <a:gd name="T14" fmla="*/ 25836 w 80"/>
              <a:gd name="T15" fmla="*/ 16600 h 254"/>
              <a:gd name="T16" fmla="*/ 27920 w 80"/>
              <a:gd name="T17" fmla="*/ 19712 h 254"/>
              <a:gd name="T18" fmla="*/ 29170 w 80"/>
              <a:gd name="T19" fmla="*/ 20750 h 254"/>
              <a:gd name="T20" fmla="*/ 30420 w 80"/>
              <a:gd name="T21" fmla="*/ 21787 h 254"/>
              <a:gd name="T22" fmla="*/ 31670 w 80"/>
              <a:gd name="T23" fmla="*/ 22306 h 254"/>
              <a:gd name="T24" fmla="*/ 33337 w 80"/>
              <a:gd name="T25" fmla="*/ 22825 h 254"/>
              <a:gd name="T26" fmla="*/ 33337 w 80"/>
              <a:gd name="T27" fmla="*/ 27494 h 254"/>
              <a:gd name="T28" fmla="*/ 33337 w 80"/>
              <a:gd name="T29" fmla="*/ 32162 h 254"/>
              <a:gd name="T30" fmla="*/ 22086 w 80"/>
              <a:gd name="T31" fmla="*/ 131762 h 254"/>
              <a:gd name="T32" fmla="*/ 0 w 80"/>
              <a:gd name="T33" fmla="*/ 48244 h 254"/>
              <a:gd name="T34" fmla="*/ 1667 w 80"/>
              <a:gd name="T35" fmla="*/ 45650 h 254"/>
              <a:gd name="T36" fmla="*/ 4584 w 80"/>
              <a:gd name="T37" fmla="*/ 36831 h 254"/>
              <a:gd name="T38" fmla="*/ 7084 w 80"/>
              <a:gd name="T39" fmla="*/ 29569 h 254"/>
              <a:gd name="T40" fmla="*/ 9168 w 80"/>
              <a:gd name="T41" fmla="*/ 21269 h 254"/>
              <a:gd name="T42" fmla="*/ 11668 w 80"/>
              <a:gd name="T43" fmla="*/ 11931 h 254"/>
              <a:gd name="T44" fmla="*/ 13752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83" name="Freeform 233">
            <a:extLst>
              <a:ext uri="{FF2B5EF4-FFF2-40B4-BE49-F238E27FC236}">
                <a16:creationId xmlns:a16="http://schemas.microsoft.com/office/drawing/2014/main" id="{27781362-ED47-4DD2-8ED8-87951B20594F}"/>
              </a:ext>
            </a:extLst>
          </p:cNvPr>
          <p:cNvSpPr>
            <a:spLocks/>
          </p:cNvSpPr>
          <p:nvPr>
            <p:custDataLst>
              <p:tags r:id="rId160"/>
            </p:custDataLst>
          </p:nvPr>
        </p:nvSpPr>
        <p:spPr bwMode="auto">
          <a:xfrm>
            <a:off x="9284063" y="5439447"/>
            <a:ext cx="148209" cy="276207"/>
          </a:xfrm>
          <a:custGeom>
            <a:avLst/>
            <a:gdLst>
              <a:gd name="T0" fmla="*/ 47682 w 167"/>
              <a:gd name="T1" fmla="*/ 0 h 259"/>
              <a:gd name="T2" fmla="*/ 69850 w 167"/>
              <a:gd name="T3" fmla="*/ 77904 h 259"/>
              <a:gd name="T4" fmla="*/ 50610 w 167"/>
              <a:gd name="T5" fmla="*/ 130175 h 259"/>
              <a:gd name="T6" fmla="*/ 47264 w 167"/>
              <a:gd name="T7" fmla="*/ 130175 h 259"/>
              <a:gd name="T8" fmla="*/ 44754 w 167"/>
              <a:gd name="T9" fmla="*/ 129170 h 259"/>
              <a:gd name="T10" fmla="*/ 41826 w 167"/>
              <a:gd name="T11" fmla="*/ 127662 h 259"/>
              <a:gd name="T12" fmla="*/ 39735 w 167"/>
              <a:gd name="T13" fmla="*/ 126154 h 259"/>
              <a:gd name="T14" fmla="*/ 37225 w 167"/>
              <a:gd name="T15" fmla="*/ 123139 h 259"/>
              <a:gd name="T16" fmla="*/ 35552 w 167"/>
              <a:gd name="T17" fmla="*/ 120625 h 259"/>
              <a:gd name="T18" fmla="*/ 33461 w 167"/>
              <a:gd name="T19" fmla="*/ 118112 h 259"/>
              <a:gd name="T20" fmla="*/ 31788 w 167"/>
              <a:gd name="T21" fmla="*/ 115097 h 259"/>
              <a:gd name="T22" fmla="*/ 28860 w 167"/>
              <a:gd name="T23" fmla="*/ 109066 h 259"/>
              <a:gd name="T24" fmla="*/ 27187 w 167"/>
              <a:gd name="T25" fmla="*/ 103034 h 259"/>
              <a:gd name="T26" fmla="*/ 25932 w 167"/>
              <a:gd name="T27" fmla="*/ 97506 h 259"/>
              <a:gd name="T28" fmla="*/ 25932 w 167"/>
              <a:gd name="T29" fmla="*/ 92982 h 259"/>
              <a:gd name="T30" fmla="*/ 23004 w 167"/>
              <a:gd name="T31" fmla="*/ 92480 h 259"/>
              <a:gd name="T32" fmla="*/ 21331 w 167"/>
              <a:gd name="T33" fmla="*/ 91977 h 259"/>
              <a:gd name="T34" fmla="*/ 18822 w 167"/>
              <a:gd name="T35" fmla="*/ 91474 h 259"/>
              <a:gd name="T36" fmla="*/ 17567 w 167"/>
              <a:gd name="T37" fmla="*/ 90469 h 259"/>
              <a:gd name="T38" fmla="*/ 16312 w 167"/>
              <a:gd name="T39" fmla="*/ 88961 h 259"/>
              <a:gd name="T40" fmla="*/ 15057 w 167"/>
              <a:gd name="T41" fmla="*/ 87453 h 259"/>
              <a:gd name="T42" fmla="*/ 14221 w 167"/>
              <a:gd name="T43" fmla="*/ 85443 h 259"/>
              <a:gd name="T44" fmla="*/ 13384 w 167"/>
              <a:gd name="T45" fmla="*/ 83935 h 259"/>
              <a:gd name="T46" fmla="*/ 12548 w 167"/>
              <a:gd name="T47" fmla="*/ 79412 h 259"/>
              <a:gd name="T48" fmla="*/ 12130 w 167"/>
              <a:gd name="T49" fmla="*/ 74888 h 259"/>
              <a:gd name="T50" fmla="*/ 11711 w 167"/>
              <a:gd name="T51" fmla="*/ 70365 h 259"/>
              <a:gd name="T52" fmla="*/ 11711 w 167"/>
              <a:gd name="T53" fmla="*/ 64836 h 259"/>
              <a:gd name="T54" fmla="*/ 8784 w 167"/>
              <a:gd name="T55" fmla="*/ 64836 h 259"/>
              <a:gd name="T56" fmla="*/ 6692 w 167"/>
              <a:gd name="T57" fmla="*/ 63831 h 259"/>
              <a:gd name="T58" fmla="*/ 4601 w 167"/>
              <a:gd name="T59" fmla="*/ 62826 h 259"/>
              <a:gd name="T60" fmla="*/ 2928 w 167"/>
              <a:gd name="T61" fmla="*/ 60815 h 259"/>
              <a:gd name="T62" fmla="*/ 2091 w 167"/>
              <a:gd name="T63" fmla="*/ 58805 h 259"/>
              <a:gd name="T64" fmla="*/ 837 w 167"/>
              <a:gd name="T65" fmla="*/ 56292 h 259"/>
              <a:gd name="T66" fmla="*/ 0 w 167"/>
              <a:gd name="T67" fmla="*/ 53779 h 259"/>
              <a:gd name="T68" fmla="*/ 0 w 167"/>
              <a:gd name="T69" fmla="*/ 50763 h 259"/>
              <a:gd name="T70" fmla="*/ 0 w 167"/>
              <a:gd name="T71" fmla="*/ 37695 h 259"/>
              <a:gd name="T72" fmla="*/ 418 w 167"/>
              <a:gd name="T73" fmla="*/ 25130 h 259"/>
              <a:gd name="T74" fmla="*/ 5019 w 167"/>
              <a:gd name="T75" fmla="*/ 26136 h 259"/>
              <a:gd name="T76" fmla="*/ 9202 w 167"/>
              <a:gd name="T77" fmla="*/ 26638 h 259"/>
              <a:gd name="T78" fmla="*/ 13384 w 167"/>
              <a:gd name="T79" fmla="*/ 26638 h 259"/>
              <a:gd name="T80" fmla="*/ 17567 w 167"/>
              <a:gd name="T81" fmla="*/ 26136 h 259"/>
              <a:gd name="T82" fmla="*/ 20913 w 167"/>
              <a:gd name="T83" fmla="*/ 25633 h 259"/>
              <a:gd name="T84" fmla="*/ 24259 w 167"/>
              <a:gd name="T85" fmla="*/ 24628 h 259"/>
              <a:gd name="T86" fmla="*/ 27605 w 167"/>
              <a:gd name="T87" fmla="*/ 23622 h 259"/>
              <a:gd name="T88" fmla="*/ 30533 w 167"/>
              <a:gd name="T89" fmla="*/ 22115 h 259"/>
              <a:gd name="T90" fmla="*/ 33043 w 167"/>
              <a:gd name="T91" fmla="*/ 20104 h 259"/>
              <a:gd name="T92" fmla="*/ 35971 w 167"/>
              <a:gd name="T93" fmla="*/ 18094 h 259"/>
              <a:gd name="T94" fmla="*/ 38062 w 167"/>
              <a:gd name="T95" fmla="*/ 15581 h 259"/>
              <a:gd name="T96" fmla="*/ 40572 w 167"/>
              <a:gd name="T97" fmla="*/ 13068 h 259"/>
              <a:gd name="T98" fmla="*/ 44754 w 167"/>
              <a:gd name="T99" fmla="*/ 6534 h 259"/>
              <a:gd name="T100" fmla="*/ 47682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84" name="Freeform 234">
            <a:extLst>
              <a:ext uri="{FF2B5EF4-FFF2-40B4-BE49-F238E27FC236}">
                <a16:creationId xmlns:a16="http://schemas.microsoft.com/office/drawing/2014/main" id="{5F17BFF6-0601-4F20-B7F6-E5FE932C6A5B}"/>
              </a:ext>
            </a:extLst>
          </p:cNvPr>
          <p:cNvSpPr>
            <a:spLocks/>
          </p:cNvSpPr>
          <p:nvPr>
            <p:custDataLst>
              <p:tags r:id="rId161"/>
            </p:custDataLst>
          </p:nvPr>
        </p:nvSpPr>
        <p:spPr bwMode="auto">
          <a:xfrm>
            <a:off x="7165354" y="3856311"/>
            <a:ext cx="205472" cy="306523"/>
          </a:xfrm>
          <a:custGeom>
            <a:avLst/>
            <a:gdLst>
              <a:gd name="T0" fmla="*/ 79622 w 225"/>
              <a:gd name="T1" fmla="*/ 35454 h 273"/>
              <a:gd name="T2" fmla="*/ 74458 w 225"/>
              <a:gd name="T3" fmla="*/ 41275 h 273"/>
              <a:gd name="T4" fmla="*/ 68432 w 225"/>
              <a:gd name="T5" fmla="*/ 43392 h 273"/>
              <a:gd name="T6" fmla="*/ 70154 w 225"/>
              <a:gd name="T7" fmla="*/ 49213 h 273"/>
              <a:gd name="T8" fmla="*/ 74888 w 225"/>
              <a:gd name="T9" fmla="*/ 53446 h 273"/>
              <a:gd name="T10" fmla="*/ 83926 w 225"/>
              <a:gd name="T11" fmla="*/ 55563 h 273"/>
              <a:gd name="T12" fmla="*/ 96838 w 225"/>
              <a:gd name="T13" fmla="*/ 56092 h 273"/>
              <a:gd name="T14" fmla="*/ 96838 w 225"/>
              <a:gd name="T15" fmla="*/ 80434 h 273"/>
              <a:gd name="T16" fmla="*/ 96408 w 225"/>
              <a:gd name="T17" fmla="*/ 93134 h 273"/>
              <a:gd name="T18" fmla="*/ 92534 w 225"/>
              <a:gd name="T19" fmla="*/ 98955 h 273"/>
              <a:gd name="T20" fmla="*/ 84787 w 225"/>
              <a:gd name="T21" fmla="*/ 108480 h 273"/>
              <a:gd name="T22" fmla="*/ 82635 w 225"/>
              <a:gd name="T23" fmla="*/ 113242 h 273"/>
              <a:gd name="T24" fmla="*/ 77040 w 225"/>
              <a:gd name="T25" fmla="*/ 115359 h 273"/>
              <a:gd name="T26" fmla="*/ 70584 w 225"/>
              <a:gd name="T27" fmla="*/ 119063 h 273"/>
              <a:gd name="T28" fmla="*/ 68432 w 225"/>
              <a:gd name="T29" fmla="*/ 124884 h 273"/>
              <a:gd name="T30" fmla="*/ 60255 w 225"/>
              <a:gd name="T31" fmla="*/ 128059 h 273"/>
              <a:gd name="T32" fmla="*/ 55090 w 225"/>
              <a:gd name="T33" fmla="*/ 133350 h 273"/>
              <a:gd name="T34" fmla="*/ 43470 w 225"/>
              <a:gd name="T35" fmla="*/ 134938 h 273"/>
              <a:gd name="T36" fmla="*/ 25823 w 225"/>
              <a:gd name="T37" fmla="*/ 138113 h 273"/>
              <a:gd name="T38" fmla="*/ 8177 w 225"/>
              <a:gd name="T39" fmla="*/ 138113 h 273"/>
              <a:gd name="T40" fmla="*/ 0 w 225"/>
              <a:gd name="T41" fmla="*/ 114830 h 273"/>
              <a:gd name="T42" fmla="*/ 9038 w 225"/>
              <a:gd name="T43" fmla="*/ 112184 h 273"/>
              <a:gd name="T44" fmla="*/ 11190 w 225"/>
              <a:gd name="T45" fmla="*/ 108480 h 273"/>
              <a:gd name="T46" fmla="*/ 25823 w 225"/>
              <a:gd name="T47" fmla="*/ 106892 h 273"/>
              <a:gd name="T48" fmla="*/ 30988 w 225"/>
              <a:gd name="T49" fmla="*/ 102130 h 273"/>
              <a:gd name="T50" fmla="*/ 20659 w 225"/>
              <a:gd name="T51" fmla="*/ 104775 h 273"/>
              <a:gd name="T52" fmla="*/ 17216 w 225"/>
              <a:gd name="T53" fmla="*/ 104246 h 273"/>
              <a:gd name="T54" fmla="*/ 16785 w 225"/>
              <a:gd name="T55" fmla="*/ 99484 h 273"/>
              <a:gd name="T56" fmla="*/ 19798 w 225"/>
              <a:gd name="T57" fmla="*/ 91546 h 273"/>
              <a:gd name="T58" fmla="*/ 16785 w 225"/>
              <a:gd name="T59" fmla="*/ 84667 h 273"/>
              <a:gd name="T60" fmla="*/ 6025 w 225"/>
              <a:gd name="T61" fmla="*/ 79375 h 273"/>
              <a:gd name="T62" fmla="*/ 2582 w 225"/>
              <a:gd name="T63" fmla="*/ 68792 h 273"/>
              <a:gd name="T64" fmla="*/ 9469 w 225"/>
              <a:gd name="T65" fmla="*/ 60854 h 273"/>
              <a:gd name="T66" fmla="*/ 15064 w 225"/>
              <a:gd name="T67" fmla="*/ 53975 h 273"/>
              <a:gd name="T68" fmla="*/ 29267 w 225"/>
              <a:gd name="T69" fmla="*/ 49742 h 273"/>
              <a:gd name="T70" fmla="*/ 38735 w 225"/>
              <a:gd name="T71" fmla="*/ 49742 h 273"/>
              <a:gd name="T72" fmla="*/ 43039 w 225"/>
              <a:gd name="T73" fmla="*/ 46567 h 273"/>
              <a:gd name="T74" fmla="*/ 46482 w 225"/>
              <a:gd name="T75" fmla="*/ 27517 h 273"/>
              <a:gd name="T76" fmla="*/ 51647 w 225"/>
              <a:gd name="T77" fmla="*/ 16404 h 273"/>
              <a:gd name="T78" fmla="*/ 55951 w 225"/>
              <a:gd name="T79" fmla="*/ 10583 h 273"/>
              <a:gd name="T80" fmla="*/ 60685 w 225"/>
              <a:gd name="T81" fmla="*/ 3704 h 273"/>
              <a:gd name="T82" fmla="*/ 66711 w 225"/>
              <a:gd name="T83" fmla="*/ 529 h 273"/>
              <a:gd name="T84" fmla="*/ 77040 w 225"/>
              <a:gd name="T85" fmla="*/ 1588 h 273"/>
              <a:gd name="T86" fmla="*/ 83926 w 225"/>
              <a:gd name="T87" fmla="*/ 20108 h 273"/>
              <a:gd name="T88" fmla="*/ 84357 w 225"/>
              <a:gd name="T89" fmla="*/ 24871 h 273"/>
              <a:gd name="T90" fmla="*/ 81774 w 225"/>
              <a:gd name="T91" fmla="*/ 29633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785" name="Freeform 235">
            <a:extLst>
              <a:ext uri="{FF2B5EF4-FFF2-40B4-BE49-F238E27FC236}">
                <a16:creationId xmlns:a16="http://schemas.microsoft.com/office/drawing/2014/main" id="{954303AE-2333-49AA-8B7E-C8188807359C}"/>
              </a:ext>
            </a:extLst>
          </p:cNvPr>
          <p:cNvSpPr>
            <a:spLocks/>
          </p:cNvSpPr>
          <p:nvPr>
            <p:custDataLst>
              <p:tags r:id="rId162"/>
            </p:custDataLst>
          </p:nvPr>
        </p:nvSpPr>
        <p:spPr bwMode="auto">
          <a:xfrm>
            <a:off x="6767885" y="5789758"/>
            <a:ext cx="650097" cy="828620"/>
          </a:xfrm>
          <a:custGeom>
            <a:avLst/>
            <a:gdLst>
              <a:gd name="T0" fmla="*/ 124140 w 232"/>
              <a:gd name="T1" fmla="*/ 387376 h 248"/>
              <a:gd name="T2" fmla="*/ 126781 w 232"/>
              <a:gd name="T3" fmla="*/ 382652 h 248"/>
              <a:gd name="T4" fmla="*/ 129423 w 232"/>
              <a:gd name="T5" fmla="*/ 374778 h 248"/>
              <a:gd name="T6" fmla="*/ 132064 w 232"/>
              <a:gd name="T7" fmla="*/ 365330 h 248"/>
              <a:gd name="T8" fmla="*/ 136026 w 232"/>
              <a:gd name="T9" fmla="*/ 363755 h 248"/>
              <a:gd name="T10" fmla="*/ 137346 w 232"/>
              <a:gd name="T11" fmla="*/ 374778 h 248"/>
              <a:gd name="T12" fmla="*/ 139988 w 232"/>
              <a:gd name="T13" fmla="*/ 379502 h 248"/>
              <a:gd name="T14" fmla="*/ 142629 w 232"/>
              <a:gd name="T15" fmla="*/ 381077 h 248"/>
              <a:gd name="T16" fmla="*/ 145270 w 232"/>
              <a:gd name="T17" fmla="*/ 381077 h 248"/>
              <a:gd name="T18" fmla="*/ 149232 w 232"/>
              <a:gd name="T19" fmla="*/ 379502 h 248"/>
              <a:gd name="T20" fmla="*/ 153194 w 232"/>
              <a:gd name="T21" fmla="*/ 374778 h 248"/>
              <a:gd name="T22" fmla="*/ 285258 w 232"/>
              <a:gd name="T23" fmla="*/ 368479 h 248"/>
              <a:gd name="T24" fmla="*/ 281296 w 232"/>
              <a:gd name="T25" fmla="*/ 321238 h 248"/>
              <a:gd name="T26" fmla="*/ 273372 w 232"/>
              <a:gd name="T27" fmla="*/ 217308 h 248"/>
              <a:gd name="T28" fmla="*/ 265448 w 232"/>
              <a:gd name="T29" fmla="*/ 114953 h 248"/>
              <a:gd name="T30" fmla="*/ 261486 w 232"/>
              <a:gd name="T31" fmla="*/ 67712 h 248"/>
              <a:gd name="T32" fmla="*/ 283937 w 232"/>
              <a:gd name="T33" fmla="*/ 69287 h 248"/>
              <a:gd name="T34" fmla="*/ 306388 w 232"/>
              <a:gd name="T35" fmla="*/ 72436 h 248"/>
              <a:gd name="T36" fmla="*/ 212623 w 232"/>
              <a:gd name="T37" fmla="*/ 3149 h 248"/>
              <a:gd name="T38" fmla="*/ 211302 w 232"/>
              <a:gd name="T39" fmla="*/ 12598 h 248"/>
              <a:gd name="T40" fmla="*/ 212623 w 232"/>
              <a:gd name="T41" fmla="*/ 28345 h 248"/>
              <a:gd name="T42" fmla="*/ 129423 w 232"/>
              <a:gd name="T43" fmla="*/ 37793 h 248"/>
              <a:gd name="T44" fmla="*/ 129423 w 232"/>
              <a:gd name="T45" fmla="*/ 116528 h 248"/>
              <a:gd name="T46" fmla="*/ 125461 w 232"/>
              <a:gd name="T47" fmla="*/ 119677 h 248"/>
              <a:gd name="T48" fmla="*/ 114896 w 232"/>
              <a:gd name="T49" fmla="*/ 122826 h 248"/>
              <a:gd name="T50" fmla="*/ 95086 w 232"/>
              <a:gd name="T51" fmla="*/ 129125 h 248"/>
              <a:gd name="T52" fmla="*/ 97727 w 232"/>
              <a:gd name="T53" fmla="*/ 138573 h 248"/>
              <a:gd name="T54" fmla="*/ 103010 w 232"/>
              <a:gd name="T55" fmla="*/ 151171 h 248"/>
              <a:gd name="T56" fmla="*/ 105651 w 232"/>
              <a:gd name="T57" fmla="*/ 165343 h 248"/>
              <a:gd name="T58" fmla="*/ 106972 w 232"/>
              <a:gd name="T59" fmla="*/ 181090 h 248"/>
              <a:gd name="T60" fmla="*/ 11886 w 232"/>
              <a:gd name="T61" fmla="*/ 187389 h 248"/>
              <a:gd name="T62" fmla="*/ 6603 w 232"/>
              <a:gd name="T63" fmla="*/ 204711 h 248"/>
              <a:gd name="T64" fmla="*/ 7924 w 232"/>
              <a:gd name="T65" fmla="*/ 225182 h 248"/>
              <a:gd name="T66" fmla="*/ 10565 w 232"/>
              <a:gd name="T67" fmla="*/ 244078 h 248"/>
              <a:gd name="T68" fmla="*/ 11886 w 232"/>
              <a:gd name="T69" fmla="*/ 264549 h 248"/>
              <a:gd name="T70" fmla="*/ 11886 w 232"/>
              <a:gd name="T71" fmla="*/ 286595 h 248"/>
              <a:gd name="T72" fmla="*/ 10565 w 232"/>
              <a:gd name="T73" fmla="*/ 305491 h 248"/>
              <a:gd name="T74" fmla="*/ 7924 w 232"/>
              <a:gd name="T75" fmla="*/ 324388 h 248"/>
              <a:gd name="T76" fmla="*/ 2641 w 232"/>
              <a:gd name="T77" fmla="*/ 340135 h 248"/>
              <a:gd name="T78" fmla="*/ 2641 w 232"/>
              <a:gd name="T79" fmla="*/ 344859 h 248"/>
              <a:gd name="T80" fmla="*/ 3962 w 232"/>
              <a:gd name="T81" fmla="*/ 346433 h 248"/>
              <a:gd name="T82" fmla="*/ 3962 w 232"/>
              <a:gd name="T83" fmla="*/ 349583 h 248"/>
              <a:gd name="T84" fmla="*/ 9244 w 232"/>
              <a:gd name="T85" fmla="*/ 341709 h 248"/>
              <a:gd name="T86" fmla="*/ 23771 w 232"/>
              <a:gd name="T87" fmla="*/ 335411 h 248"/>
              <a:gd name="T88" fmla="*/ 47543 w 232"/>
              <a:gd name="T89" fmla="*/ 325962 h 248"/>
              <a:gd name="T90" fmla="*/ 59429 w 232"/>
              <a:gd name="T91" fmla="*/ 327537 h 248"/>
              <a:gd name="T92" fmla="*/ 67353 w 232"/>
              <a:gd name="T93" fmla="*/ 333836 h 248"/>
              <a:gd name="T94" fmla="*/ 73956 w 232"/>
              <a:gd name="T95" fmla="*/ 336985 h 248"/>
              <a:gd name="T96" fmla="*/ 81880 w 232"/>
              <a:gd name="T97" fmla="*/ 338560 h 248"/>
              <a:gd name="T98" fmla="*/ 87162 w 232"/>
              <a:gd name="T99" fmla="*/ 344859 h 248"/>
              <a:gd name="T100" fmla="*/ 88483 w 232"/>
              <a:gd name="T101" fmla="*/ 354307 h 248"/>
              <a:gd name="T102" fmla="*/ 92445 w 232"/>
              <a:gd name="T103" fmla="*/ 363755 h 248"/>
              <a:gd name="T104" fmla="*/ 97727 w 232"/>
              <a:gd name="T105" fmla="*/ 370054 h 248"/>
              <a:gd name="T106" fmla="*/ 112254 w 232"/>
              <a:gd name="T107" fmla="*/ 382652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86" name="Freeform 236">
            <a:extLst>
              <a:ext uri="{FF2B5EF4-FFF2-40B4-BE49-F238E27FC236}">
                <a16:creationId xmlns:a16="http://schemas.microsoft.com/office/drawing/2014/main" id="{BFD616F2-0228-45CB-826D-F78B49288870}"/>
              </a:ext>
            </a:extLst>
          </p:cNvPr>
          <p:cNvSpPr>
            <a:spLocks/>
          </p:cNvSpPr>
          <p:nvPr>
            <p:custDataLst>
              <p:tags r:id="rId163"/>
            </p:custDataLst>
          </p:nvPr>
        </p:nvSpPr>
        <p:spPr bwMode="auto">
          <a:xfrm>
            <a:off x="7013778" y="5917756"/>
            <a:ext cx="879145" cy="993672"/>
          </a:xfrm>
          <a:custGeom>
            <a:avLst/>
            <a:gdLst>
              <a:gd name="T0" fmla="*/ 39336 w 948"/>
              <a:gd name="T1" fmla="*/ 413248 h 893"/>
              <a:gd name="T2" fmla="*/ 52885 w 948"/>
              <a:gd name="T3" fmla="*/ 413248 h 893"/>
              <a:gd name="T4" fmla="*/ 63811 w 948"/>
              <a:gd name="T5" fmla="*/ 410626 h 893"/>
              <a:gd name="T6" fmla="*/ 81294 w 948"/>
              <a:gd name="T7" fmla="*/ 406955 h 893"/>
              <a:gd name="T8" fmla="*/ 86102 w 948"/>
              <a:gd name="T9" fmla="*/ 426359 h 893"/>
              <a:gd name="T10" fmla="*/ 92658 w 948"/>
              <a:gd name="T11" fmla="*/ 437896 h 893"/>
              <a:gd name="T12" fmla="*/ 98777 w 948"/>
              <a:gd name="T13" fmla="*/ 443665 h 893"/>
              <a:gd name="T14" fmla="*/ 107518 w 948"/>
              <a:gd name="T15" fmla="*/ 445763 h 893"/>
              <a:gd name="T16" fmla="*/ 107518 w 948"/>
              <a:gd name="T17" fmla="*/ 462020 h 893"/>
              <a:gd name="T18" fmla="*/ 142483 w 948"/>
              <a:gd name="T19" fmla="*/ 466215 h 893"/>
              <a:gd name="T20" fmla="*/ 145979 w 948"/>
              <a:gd name="T21" fmla="*/ 459398 h 893"/>
              <a:gd name="T22" fmla="*/ 151661 w 948"/>
              <a:gd name="T23" fmla="*/ 456776 h 893"/>
              <a:gd name="T24" fmla="*/ 152098 w 948"/>
              <a:gd name="T25" fmla="*/ 465691 h 893"/>
              <a:gd name="T26" fmla="*/ 156469 w 948"/>
              <a:gd name="T27" fmla="*/ 468313 h 893"/>
              <a:gd name="T28" fmla="*/ 168270 w 948"/>
              <a:gd name="T29" fmla="*/ 468313 h 893"/>
              <a:gd name="T30" fmla="*/ 175263 w 948"/>
              <a:gd name="T31" fmla="*/ 447860 h 893"/>
              <a:gd name="T32" fmla="*/ 180071 w 948"/>
              <a:gd name="T33" fmla="*/ 413248 h 893"/>
              <a:gd name="T34" fmla="*/ 185315 w 948"/>
              <a:gd name="T35" fmla="*/ 404333 h 893"/>
              <a:gd name="T36" fmla="*/ 197553 w 948"/>
              <a:gd name="T37" fmla="*/ 395418 h 893"/>
              <a:gd name="T38" fmla="*/ 211976 w 948"/>
              <a:gd name="T39" fmla="*/ 389649 h 893"/>
              <a:gd name="T40" fmla="*/ 218969 w 948"/>
              <a:gd name="T41" fmla="*/ 382307 h 893"/>
              <a:gd name="T42" fmla="*/ 225088 w 948"/>
              <a:gd name="T43" fmla="*/ 368148 h 893"/>
              <a:gd name="T44" fmla="*/ 233829 w 948"/>
              <a:gd name="T45" fmla="*/ 350317 h 893"/>
              <a:gd name="T46" fmla="*/ 239074 w 948"/>
              <a:gd name="T47" fmla="*/ 346122 h 893"/>
              <a:gd name="T48" fmla="*/ 250001 w 948"/>
              <a:gd name="T49" fmla="*/ 345597 h 893"/>
              <a:gd name="T50" fmla="*/ 264424 w 948"/>
              <a:gd name="T51" fmla="*/ 337731 h 893"/>
              <a:gd name="T52" fmla="*/ 279284 w 948"/>
              <a:gd name="T53" fmla="*/ 327242 h 893"/>
              <a:gd name="T54" fmla="*/ 294581 w 948"/>
              <a:gd name="T55" fmla="*/ 321474 h 893"/>
              <a:gd name="T56" fmla="*/ 316435 w 948"/>
              <a:gd name="T57" fmla="*/ 319900 h 893"/>
              <a:gd name="T58" fmla="*/ 344407 w 948"/>
              <a:gd name="T59" fmla="*/ 315705 h 893"/>
              <a:gd name="T60" fmla="*/ 356207 w 948"/>
              <a:gd name="T61" fmla="*/ 311509 h 893"/>
              <a:gd name="T62" fmla="*/ 377187 w 948"/>
              <a:gd name="T63" fmla="*/ 309412 h 893"/>
              <a:gd name="T64" fmla="*/ 393795 w 948"/>
              <a:gd name="T65" fmla="*/ 305741 h 893"/>
              <a:gd name="T66" fmla="*/ 399040 w 948"/>
              <a:gd name="T67" fmla="*/ 301021 h 893"/>
              <a:gd name="T68" fmla="*/ 406907 w 948"/>
              <a:gd name="T69" fmla="*/ 285288 h 893"/>
              <a:gd name="T70" fmla="*/ 412152 w 948"/>
              <a:gd name="T71" fmla="*/ 264311 h 893"/>
              <a:gd name="T72" fmla="*/ 414337 w 948"/>
              <a:gd name="T73" fmla="*/ 241761 h 893"/>
              <a:gd name="T74" fmla="*/ 413900 w 948"/>
              <a:gd name="T75" fmla="*/ 220784 h 893"/>
              <a:gd name="T76" fmla="*/ 412152 w 948"/>
              <a:gd name="T77" fmla="*/ 190367 h 893"/>
              <a:gd name="T78" fmla="*/ 402973 w 948"/>
              <a:gd name="T79" fmla="*/ 186696 h 893"/>
              <a:gd name="T80" fmla="*/ 376749 w 948"/>
              <a:gd name="T81" fmla="*/ 168865 h 893"/>
              <a:gd name="T82" fmla="*/ 347029 w 948"/>
              <a:gd name="T83" fmla="*/ 145791 h 893"/>
              <a:gd name="T84" fmla="*/ 322553 w 948"/>
              <a:gd name="T85" fmla="*/ 113276 h 893"/>
              <a:gd name="T86" fmla="*/ 180071 w 948"/>
              <a:gd name="T87" fmla="*/ 6293 h 893"/>
              <a:gd name="T88" fmla="*/ 152098 w 948"/>
              <a:gd name="T89" fmla="*/ 53492 h 893"/>
              <a:gd name="T90" fmla="*/ 165647 w 948"/>
              <a:gd name="T91" fmla="*/ 212393 h 893"/>
              <a:gd name="T92" fmla="*/ 171329 w 948"/>
              <a:gd name="T93" fmla="*/ 296301 h 893"/>
              <a:gd name="T94" fmla="*/ 40647 w 948"/>
              <a:gd name="T95" fmla="*/ 309936 h 893"/>
              <a:gd name="T96" fmla="*/ 34528 w 948"/>
              <a:gd name="T97" fmla="*/ 317803 h 893"/>
              <a:gd name="T98" fmla="*/ 29283 w 948"/>
              <a:gd name="T99" fmla="*/ 319900 h 893"/>
              <a:gd name="T100" fmla="*/ 24913 w 948"/>
              <a:gd name="T101" fmla="*/ 318327 h 893"/>
              <a:gd name="T102" fmla="*/ 21416 w 948"/>
              <a:gd name="T103" fmla="*/ 309936 h 893"/>
              <a:gd name="T104" fmla="*/ 17483 w 948"/>
              <a:gd name="T105" fmla="*/ 304692 h 893"/>
              <a:gd name="T106" fmla="*/ 12675 w 948"/>
              <a:gd name="T107" fmla="*/ 317278 h 893"/>
              <a:gd name="T108" fmla="*/ 6556 w 948"/>
              <a:gd name="T109" fmla="*/ 326718 h 893"/>
              <a:gd name="T110" fmla="*/ 29283 w 948"/>
              <a:gd name="T111" fmla="*/ 384405 h 893"/>
              <a:gd name="T112" fmla="*/ 26661 w 948"/>
              <a:gd name="T113" fmla="*/ 392271 h 893"/>
              <a:gd name="T114" fmla="*/ 27098 w 948"/>
              <a:gd name="T115" fmla="*/ 398564 h 893"/>
              <a:gd name="T116" fmla="*/ 23601 w 948"/>
              <a:gd name="T117" fmla="*/ 413248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87" name="Freeform 237">
            <a:extLst>
              <a:ext uri="{FF2B5EF4-FFF2-40B4-BE49-F238E27FC236}">
                <a16:creationId xmlns:a16="http://schemas.microsoft.com/office/drawing/2014/main" id="{787E5AC2-9876-400B-A761-9DDBB5A0CEF3}"/>
              </a:ext>
            </a:extLst>
          </p:cNvPr>
          <p:cNvSpPr>
            <a:spLocks/>
          </p:cNvSpPr>
          <p:nvPr>
            <p:custDataLst>
              <p:tags r:id="rId164"/>
            </p:custDataLst>
          </p:nvPr>
        </p:nvSpPr>
        <p:spPr bwMode="auto">
          <a:xfrm>
            <a:off x="7222617" y="5082399"/>
            <a:ext cx="1047564" cy="1229458"/>
          </a:xfrm>
          <a:custGeom>
            <a:avLst/>
            <a:gdLst>
              <a:gd name="T0" fmla="*/ 315023 w 373"/>
              <a:gd name="T1" fmla="*/ 574740 h 370"/>
              <a:gd name="T2" fmla="*/ 322964 w 373"/>
              <a:gd name="T3" fmla="*/ 571608 h 370"/>
              <a:gd name="T4" fmla="*/ 337524 w 373"/>
              <a:gd name="T5" fmla="*/ 576306 h 370"/>
              <a:gd name="T6" fmla="*/ 492388 w 373"/>
              <a:gd name="T7" fmla="*/ 433795 h 370"/>
              <a:gd name="T8" fmla="*/ 488418 w 373"/>
              <a:gd name="T9" fmla="*/ 422833 h 370"/>
              <a:gd name="T10" fmla="*/ 477829 w 373"/>
              <a:gd name="T11" fmla="*/ 413437 h 370"/>
              <a:gd name="T12" fmla="*/ 459298 w 373"/>
              <a:gd name="T13" fmla="*/ 405607 h 370"/>
              <a:gd name="T14" fmla="*/ 448709 w 373"/>
              <a:gd name="T15" fmla="*/ 397776 h 370"/>
              <a:gd name="T16" fmla="*/ 444738 w 373"/>
              <a:gd name="T17" fmla="*/ 386814 h 370"/>
              <a:gd name="T18" fmla="*/ 446062 w 373"/>
              <a:gd name="T19" fmla="*/ 357059 h 370"/>
              <a:gd name="T20" fmla="*/ 446062 w 373"/>
              <a:gd name="T21" fmla="*/ 306946 h 370"/>
              <a:gd name="T22" fmla="*/ 442091 w 373"/>
              <a:gd name="T23" fmla="*/ 263096 h 370"/>
              <a:gd name="T24" fmla="*/ 435473 w 373"/>
              <a:gd name="T25" fmla="*/ 242738 h 370"/>
              <a:gd name="T26" fmla="*/ 427531 w 373"/>
              <a:gd name="T27" fmla="*/ 222379 h 370"/>
              <a:gd name="T28" fmla="*/ 416942 w 373"/>
              <a:gd name="T29" fmla="*/ 170699 h 370"/>
              <a:gd name="T30" fmla="*/ 405029 w 373"/>
              <a:gd name="T31" fmla="*/ 140944 h 370"/>
              <a:gd name="T32" fmla="*/ 393117 w 373"/>
              <a:gd name="T33" fmla="*/ 122152 h 370"/>
              <a:gd name="T34" fmla="*/ 397087 w 373"/>
              <a:gd name="T35" fmla="*/ 98661 h 370"/>
              <a:gd name="T36" fmla="*/ 398411 w 373"/>
              <a:gd name="T37" fmla="*/ 67340 h 370"/>
              <a:gd name="T38" fmla="*/ 399735 w 373"/>
              <a:gd name="T39" fmla="*/ 36019 h 370"/>
              <a:gd name="T40" fmla="*/ 410324 w 373"/>
              <a:gd name="T41" fmla="*/ 10962 h 370"/>
              <a:gd name="T42" fmla="*/ 399735 w 373"/>
              <a:gd name="T43" fmla="*/ 9396 h 370"/>
              <a:gd name="T44" fmla="*/ 367968 w 373"/>
              <a:gd name="T45" fmla="*/ 18793 h 370"/>
              <a:gd name="T46" fmla="*/ 324288 w 373"/>
              <a:gd name="T47" fmla="*/ 18793 h 370"/>
              <a:gd name="T48" fmla="*/ 272667 w 373"/>
              <a:gd name="T49" fmla="*/ 21925 h 370"/>
              <a:gd name="T50" fmla="*/ 222369 w 373"/>
              <a:gd name="T51" fmla="*/ 37585 h 370"/>
              <a:gd name="T52" fmla="*/ 191926 w 373"/>
              <a:gd name="T53" fmla="*/ 50114 h 370"/>
              <a:gd name="T54" fmla="*/ 164129 w 373"/>
              <a:gd name="T55" fmla="*/ 68906 h 370"/>
              <a:gd name="T56" fmla="*/ 162806 w 373"/>
              <a:gd name="T57" fmla="*/ 81435 h 370"/>
              <a:gd name="T58" fmla="*/ 173395 w 373"/>
              <a:gd name="T59" fmla="*/ 139378 h 370"/>
              <a:gd name="T60" fmla="*/ 177366 w 373"/>
              <a:gd name="T61" fmla="*/ 145643 h 370"/>
              <a:gd name="T62" fmla="*/ 186631 w 373"/>
              <a:gd name="T63" fmla="*/ 153473 h 370"/>
              <a:gd name="T64" fmla="*/ 187955 w 373"/>
              <a:gd name="T65" fmla="*/ 159737 h 370"/>
              <a:gd name="T66" fmla="*/ 183984 w 373"/>
              <a:gd name="T67" fmla="*/ 167567 h 370"/>
              <a:gd name="T68" fmla="*/ 169424 w 373"/>
              <a:gd name="T69" fmla="*/ 167567 h 370"/>
              <a:gd name="T70" fmla="*/ 140304 w 373"/>
              <a:gd name="T71" fmla="*/ 176963 h 370"/>
              <a:gd name="T72" fmla="*/ 125744 w 373"/>
              <a:gd name="T73" fmla="*/ 191058 h 370"/>
              <a:gd name="T74" fmla="*/ 119126 w 373"/>
              <a:gd name="T75" fmla="*/ 205152 h 370"/>
              <a:gd name="T76" fmla="*/ 108537 w 373"/>
              <a:gd name="T77" fmla="*/ 214549 h 370"/>
              <a:gd name="T78" fmla="*/ 87359 w 373"/>
              <a:gd name="T79" fmla="*/ 234907 h 370"/>
              <a:gd name="T80" fmla="*/ 67505 w 373"/>
              <a:gd name="T81" fmla="*/ 247436 h 370"/>
              <a:gd name="T82" fmla="*/ 41032 w 373"/>
              <a:gd name="T83" fmla="*/ 250568 h 370"/>
              <a:gd name="T84" fmla="*/ 26472 w 373"/>
              <a:gd name="T85" fmla="*/ 256832 h 370"/>
              <a:gd name="T86" fmla="*/ 10589 w 373"/>
              <a:gd name="T87" fmla="*/ 272492 h 370"/>
              <a:gd name="T88" fmla="*/ 0 w 373"/>
              <a:gd name="T89" fmla="*/ 313210 h 370"/>
              <a:gd name="T90" fmla="*/ 236929 w 373"/>
              <a:gd name="T91" fmla="*/ 518362 h 370"/>
              <a:gd name="T92" fmla="*/ 266049 w 373"/>
              <a:gd name="T93" fmla="*/ 551249 h 370"/>
              <a:gd name="T94" fmla="*/ 303110 w 373"/>
              <a:gd name="T95" fmla="*/ 576306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88" name="Freeform 238">
            <a:extLst>
              <a:ext uri="{FF2B5EF4-FFF2-40B4-BE49-F238E27FC236}">
                <a16:creationId xmlns:a16="http://schemas.microsoft.com/office/drawing/2014/main" id="{8BF21E09-E01D-4C09-A0D3-56F537E39FE4}"/>
              </a:ext>
            </a:extLst>
          </p:cNvPr>
          <p:cNvSpPr>
            <a:spLocks/>
          </p:cNvSpPr>
          <p:nvPr>
            <p:custDataLst>
              <p:tags r:id="rId165"/>
            </p:custDataLst>
          </p:nvPr>
        </p:nvSpPr>
        <p:spPr bwMode="auto">
          <a:xfrm>
            <a:off x="8148919" y="5368712"/>
            <a:ext cx="815147" cy="926302"/>
          </a:xfrm>
          <a:custGeom>
            <a:avLst/>
            <a:gdLst>
              <a:gd name="T0" fmla="*/ 15770 w 877"/>
              <a:gd name="T1" fmla="*/ 74522 h 826"/>
              <a:gd name="T2" fmla="*/ 20151 w 877"/>
              <a:gd name="T3" fmla="*/ 57609 h 826"/>
              <a:gd name="T4" fmla="*/ 20151 w 877"/>
              <a:gd name="T5" fmla="*/ 36997 h 826"/>
              <a:gd name="T6" fmla="*/ 26721 w 877"/>
              <a:gd name="T7" fmla="*/ 33826 h 826"/>
              <a:gd name="T8" fmla="*/ 38987 w 877"/>
              <a:gd name="T9" fmla="*/ 29069 h 826"/>
              <a:gd name="T10" fmla="*/ 43368 w 877"/>
              <a:gd name="T11" fmla="*/ 10571 h 826"/>
              <a:gd name="T12" fmla="*/ 73593 w 877"/>
              <a:gd name="T13" fmla="*/ 3171 h 826"/>
              <a:gd name="T14" fmla="*/ 106010 w 877"/>
              <a:gd name="T15" fmla="*/ 12685 h 826"/>
              <a:gd name="T16" fmla="*/ 119589 w 877"/>
              <a:gd name="T17" fmla="*/ 22727 h 826"/>
              <a:gd name="T18" fmla="*/ 124846 w 877"/>
              <a:gd name="T19" fmla="*/ 41225 h 826"/>
              <a:gd name="T20" fmla="*/ 129226 w 877"/>
              <a:gd name="T21" fmla="*/ 53381 h 826"/>
              <a:gd name="T22" fmla="*/ 142368 w 877"/>
              <a:gd name="T23" fmla="*/ 58138 h 826"/>
              <a:gd name="T24" fmla="*/ 159014 w 877"/>
              <a:gd name="T25" fmla="*/ 57609 h 826"/>
              <a:gd name="T26" fmla="*/ 184422 w 877"/>
              <a:gd name="T27" fmla="*/ 70294 h 826"/>
              <a:gd name="T28" fmla="*/ 209391 w 877"/>
              <a:gd name="T29" fmla="*/ 85621 h 826"/>
              <a:gd name="T30" fmla="*/ 224723 w 877"/>
              <a:gd name="T31" fmla="*/ 87735 h 826"/>
              <a:gd name="T32" fmla="*/ 235674 w 877"/>
              <a:gd name="T33" fmla="*/ 83507 h 826"/>
              <a:gd name="T34" fmla="*/ 240493 w 877"/>
              <a:gd name="T35" fmla="*/ 66594 h 826"/>
              <a:gd name="T36" fmla="*/ 238302 w 877"/>
              <a:gd name="T37" fmla="*/ 54438 h 826"/>
              <a:gd name="T38" fmla="*/ 232608 w 877"/>
              <a:gd name="T39" fmla="*/ 42811 h 826"/>
              <a:gd name="T40" fmla="*/ 236112 w 877"/>
              <a:gd name="T41" fmla="*/ 25898 h 826"/>
              <a:gd name="T42" fmla="*/ 251444 w 877"/>
              <a:gd name="T43" fmla="*/ 17970 h 826"/>
              <a:gd name="T44" fmla="*/ 270280 w 877"/>
              <a:gd name="T45" fmla="*/ 2114 h 826"/>
              <a:gd name="T46" fmla="*/ 284736 w 877"/>
              <a:gd name="T47" fmla="*/ 0 h 826"/>
              <a:gd name="T48" fmla="*/ 298316 w 877"/>
              <a:gd name="T49" fmla="*/ 3171 h 826"/>
              <a:gd name="T50" fmla="*/ 304449 w 877"/>
              <a:gd name="T51" fmla="*/ 12685 h 826"/>
              <a:gd name="T52" fmla="*/ 309267 w 877"/>
              <a:gd name="T53" fmla="*/ 26426 h 826"/>
              <a:gd name="T54" fmla="*/ 318905 w 877"/>
              <a:gd name="T55" fmla="*/ 33297 h 826"/>
              <a:gd name="T56" fmla="*/ 349569 w 877"/>
              <a:gd name="T57" fmla="*/ 37525 h 826"/>
              <a:gd name="T58" fmla="*/ 363586 w 877"/>
              <a:gd name="T59" fmla="*/ 51267 h 826"/>
              <a:gd name="T60" fmla="*/ 365339 w 877"/>
              <a:gd name="T61" fmla="*/ 61837 h 826"/>
              <a:gd name="T62" fmla="*/ 369281 w 877"/>
              <a:gd name="T63" fmla="*/ 73994 h 826"/>
              <a:gd name="T64" fmla="*/ 366215 w 877"/>
              <a:gd name="T65" fmla="*/ 84036 h 826"/>
              <a:gd name="T66" fmla="*/ 360958 w 877"/>
              <a:gd name="T67" fmla="*/ 89849 h 826"/>
              <a:gd name="T68" fmla="*/ 363148 w 877"/>
              <a:gd name="T69" fmla="*/ 109405 h 826"/>
              <a:gd name="T70" fmla="*/ 375852 w 877"/>
              <a:gd name="T71" fmla="*/ 129489 h 826"/>
              <a:gd name="T72" fmla="*/ 383737 w 877"/>
              <a:gd name="T73" fmla="*/ 363097 h 826"/>
              <a:gd name="T74" fmla="*/ 384175 w 877"/>
              <a:gd name="T75" fmla="*/ 391637 h 826"/>
              <a:gd name="T76" fmla="*/ 381109 w 877"/>
              <a:gd name="T77" fmla="*/ 409607 h 826"/>
              <a:gd name="T78" fmla="*/ 371471 w 877"/>
              <a:gd name="T79" fmla="*/ 413835 h 826"/>
              <a:gd name="T80" fmla="*/ 363586 w 877"/>
              <a:gd name="T81" fmla="*/ 424934 h 826"/>
              <a:gd name="T82" fmla="*/ 160328 w 877"/>
              <a:gd name="T83" fmla="*/ 313416 h 826"/>
              <a:gd name="T84" fmla="*/ 144996 w 877"/>
              <a:gd name="T85" fmla="*/ 320815 h 826"/>
              <a:gd name="T86" fmla="*/ 127912 w 877"/>
              <a:gd name="T87" fmla="*/ 330857 h 826"/>
              <a:gd name="T88" fmla="*/ 115209 w 877"/>
              <a:gd name="T89" fmla="*/ 331385 h 826"/>
              <a:gd name="T90" fmla="*/ 100753 w 877"/>
              <a:gd name="T91" fmla="*/ 321872 h 826"/>
              <a:gd name="T92" fmla="*/ 84545 w 877"/>
              <a:gd name="T93" fmla="*/ 309716 h 826"/>
              <a:gd name="T94" fmla="*/ 66584 w 877"/>
              <a:gd name="T95" fmla="*/ 305488 h 826"/>
              <a:gd name="T96" fmla="*/ 60452 w 877"/>
              <a:gd name="T97" fmla="*/ 304959 h 826"/>
              <a:gd name="T98" fmla="*/ 56947 w 877"/>
              <a:gd name="T99" fmla="*/ 292275 h 826"/>
              <a:gd name="T100" fmla="*/ 47748 w 877"/>
              <a:gd name="T101" fmla="*/ 282761 h 826"/>
              <a:gd name="T102" fmla="*/ 27598 w 877"/>
              <a:gd name="T103" fmla="*/ 273248 h 826"/>
              <a:gd name="T104" fmla="*/ 12266 w 877"/>
              <a:gd name="T105" fmla="*/ 263734 h 826"/>
              <a:gd name="T106" fmla="*/ 7009 w 877"/>
              <a:gd name="T107" fmla="*/ 254749 h 826"/>
              <a:gd name="T108" fmla="*/ 6133 w 877"/>
              <a:gd name="T109" fmla="*/ 232023 h 826"/>
              <a:gd name="T110" fmla="*/ 8323 w 877"/>
              <a:gd name="T111" fmla="*/ 186041 h 826"/>
              <a:gd name="T112" fmla="*/ 7447 w 877"/>
              <a:gd name="T113" fmla="*/ 136360 h 826"/>
              <a:gd name="T114" fmla="*/ 1752 w 877"/>
              <a:gd name="T115" fmla="*/ 106762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89" name="Freeform 239">
            <a:extLst>
              <a:ext uri="{FF2B5EF4-FFF2-40B4-BE49-F238E27FC236}">
                <a16:creationId xmlns:a16="http://schemas.microsoft.com/office/drawing/2014/main" id="{377695B5-5191-4138-8849-4508591BB72A}"/>
              </a:ext>
            </a:extLst>
          </p:cNvPr>
          <p:cNvSpPr>
            <a:spLocks/>
          </p:cNvSpPr>
          <p:nvPr>
            <p:custDataLst>
              <p:tags r:id="rId166"/>
            </p:custDataLst>
          </p:nvPr>
        </p:nvSpPr>
        <p:spPr bwMode="auto">
          <a:xfrm>
            <a:off x="8047868" y="5082399"/>
            <a:ext cx="198735" cy="501889"/>
          </a:xfrm>
          <a:custGeom>
            <a:avLst/>
            <a:gdLst>
              <a:gd name="T0" fmla="*/ 46832 w 206"/>
              <a:gd name="T1" fmla="*/ 229260 h 455"/>
              <a:gd name="T2" fmla="*/ 56834 w 206"/>
              <a:gd name="T3" fmla="*/ 218343 h 455"/>
              <a:gd name="T4" fmla="*/ 63654 w 206"/>
              <a:gd name="T5" fmla="*/ 210025 h 455"/>
              <a:gd name="T6" fmla="*/ 66837 w 206"/>
              <a:gd name="T7" fmla="*/ 202747 h 455"/>
              <a:gd name="T8" fmla="*/ 69111 w 206"/>
              <a:gd name="T9" fmla="*/ 193909 h 455"/>
              <a:gd name="T10" fmla="*/ 70020 w 206"/>
              <a:gd name="T11" fmla="*/ 182992 h 455"/>
              <a:gd name="T12" fmla="*/ 69565 w 206"/>
              <a:gd name="T13" fmla="*/ 174154 h 455"/>
              <a:gd name="T14" fmla="*/ 70929 w 206"/>
              <a:gd name="T15" fmla="*/ 172075 h 455"/>
              <a:gd name="T16" fmla="*/ 76385 w 206"/>
              <a:gd name="T17" fmla="*/ 171035 h 455"/>
              <a:gd name="T18" fmla="*/ 84115 w 206"/>
              <a:gd name="T19" fmla="*/ 168956 h 455"/>
              <a:gd name="T20" fmla="*/ 89116 w 206"/>
              <a:gd name="T21" fmla="*/ 165317 h 455"/>
              <a:gd name="T22" fmla="*/ 92299 w 206"/>
              <a:gd name="T23" fmla="*/ 158039 h 455"/>
              <a:gd name="T24" fmla="*/ 93663 w 206"/>
              <a:gd name="T25" fmla="*/ 145562 h 455"/>
              <a:gd name="T26" fmla="*/ 91844 w 206"/>
              <a:gd name="T27" fmla="*/ 137764 h 455"/>
              <a:gd name="T28" fmla="*/ 87752 w 206"/>
              <a:gd name="T29" fmla="*/ 137244 h 455"/>
              <a:gd name="T30" fmla="*/ 80477 w 206"/>
              <a:gd name="T31" fmla="*/ 133085 h 455"/>
              <a:gd name="T32" fmla="*/ 70475 w 206"/>
              <a:gd name="T33" fmla="*/ 125807 h 455"/>
              <a:gd name="T34" fmla="*/ 63654 w 206"/>
              <a:gd name="T35" fmla="*/ 120089 h 455"/>
              <a:gd name="T36" fmla="*/ 59108 w 206"/>
              <a:gd name="T37" fmla="*/ 118529 h 455"/>
              <a:gd name="T38" fmla="*/ 54106 w 206"/>
              <a:gd name="T39" fmla="*/ 115410 h 455"/>
              <a:gd name="T40" fmla="*/ 45922 w 206"/>
              <a:gd name="T41" fmla="*/ 110211 h 455"/>
              <a:gd name="T42" fmla="*/ 43194 w 206"/>
              <a:gd name="T43" fmla="*/ 107092 h 455"/>
              <a:gd name="T44" fmla="*/ 43194 w 206"/>
              <a:gd name="T45" fmla="*/ 103453 h 455"/>
              <a:gd name="T46" fmla="*/ 47286 w 206"/>
              <a:gd name="T47" fmla="*/ 94095 h 455"/>
              <a:gd name="T48" fmla="*/ 54106 w 206"/>
              <a:gd name="T49" fmla="*/ 82138 h 455"/>
              <a:gd name="T50" fmla="*/ 60926 w 206"/>
              <a:gd name="T51" fmla="*/ 72781 h 455"/>
              <a:gd name="T52" fmla="*/ 61836 w 206"/>
              <a:gd name="T53" fmla="*/ 67062 h 455"/>
              <a:gd name="T54" fmla="*/ 57289 w 206"/>
              <a:gd name="T55" fmla="*/ 60304 h 455"/>
              <a:gd name="T56" fmla="*/ 52288 w 206"/>
              <a:gd name="T57" fmla="*/ 54586 h 455"/>
              <a:gd name="T58" fmla="*/ 49105 w 206"/>
              <a:gd name="T59" fmla="*/ 48347 h 455"/>
              <a:gd name="T60" fmla="*/ 48650 w 206"/>
              <a:gd name="T61" fmla="*/ 43669 h 455"/>
              <a:gd name="T62" fmla="*/ 50469 w 206"/>
              <a:gd name="T63" fmla="*/ 40549 h 455"/>
              <a:gd name="T64" fmla="*/ 52742 w 206"/>
              <a:gd name="T65" fmla="*/ 37430 h 455"/>
              <a:gd name="T66" fmla="*/ 55925 w 206"/>
              <a:gd name="T67" fmla="*/ 35871 h 455"/>
              <a:gd name="T68" fmla="*/ 57289 w 206"/>
              <a:gd name="T69" fmla="*/ 19235 h 455"/>
              <a:gd name="T70" fmla="*/ 50014 w 206"/>
              <a:gd name="T71" fmla="*/ 16636 h 455"/>
              <a:gd name="T72" fmla="*/ 39557 w 206"/>
              <a:gd name="T73" fmla="*/ 10917 h 455"/>
              <a:gd name="T74" fmla="*/ 24098 w 206"/>
              <a:gd name="T75" fmla="*/ 0 h 455"/>
              <a:gd name="T76" fmla="*/ 21370 w 206"/>
              <a:gd name="T77" fmla="*/ 5719 h 455"/>
              <a:gd name="T78" fmla="*/ 15459 w 206"/>
              <a:gd name="T79" fmla="*/ 22874 h 455"/>
              <a:gd name="T80" fmla="*/ 12731 w 206"/>
              <a:gd name="T81" fmla="*/ 36390 h 455"/>
              <a:gd name="T82" fmla="*/ 10003 w 206"/>
              <a:gd name="T83" fmla="*/ 51467 h 455"/>
              <a:gd name="T84" fmla="*/ 9093 w 206"/>
              <a:gd name="T85" fmla="*/ 69142 h 455"/>
              <a:gd name="T86" fmla="*/ 9093 w 206"/>
              <a:gd name="T87" fmla="*/ 89417 h 455"/>
              <a:gd name="T88" fmla="*/ 5456 w 206"/>
              <a:gd name="T89" fmla="*/ 97734 h 455"/>
              <a:gd name="T90" fmla="*/ 3637 w 206"/>
              <a:gd name="T91" fmla="*/ 107092 h 455"/>
              <a:gd name="T92" fmla="*/ 0 w 206"/>
              <a:gd name="T93" fmla="*/ 122168 h 455"/>
              <a:gd name="T94" fmla="*/ 10003 w 206"/>
              <a:gd name="T95" fmla="*/ 134645 h 455"/>
              <a:gd name="T96" fmla="*/ 18642 w 206"/>
              <a:gd name="T97" fmla="*/ 146082 h 455"/>
              <a:gd name="T98" fmla="*/ 25007 w 206"/>
              <a:gd name="T99" fmla="*/ 158558 h 455"/>
              <a:gd name="T100" fmla="*/ 30009 w 206"/>
              <a:gd name="T101" fmla="*/ 171035 h 455"/>
              <a:gd name="T102" fmla="*/ 34101 w 206"/>
              <a:gd name="T103" fmla="*/ 184552 h 455"/>
              <a:gd name="T104" fmla="*/ 37283 w 206"/>
              <a:gd name="T105" fmla="*/ 199628 h 455"/>
              <a:gd name="T106" fmla="*/ 42285 w 206"/>
              <a:gd name="T107" fmla="*/ 236538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90" name="Freeform 240">
            <a:extLst>
              <a:ext uri="{FF2B5EF4-FFF2-40B4-BE49-F238E27FC236}">
                <a16:creationId xmlns:a16="http://schemas.microsoft.com/office/drawing/2014/main" id="{34B1465D-BAB9-41E1-80C1-1E73B70931DD}"/>
              </a:ext>
            </a:extLst>
          </p:cNvPr>
          <p:cNvSpPr>
            <a:spLocks/>
          </p:cNvSpPr>
          <p:nvPr>
            <p:custDataLst>
              <p:tags r:id="rId167"/>
            </p:custDataLst>
          </p:nvPr>
        </p:nvSpPr>
        <p:spPr bwMode="auto">
          <a:xfrm>
            <a:off x="6737571" y="5742601"/>
            <a:ext cx="491783" cy="458099"/>
          </a:xfrm>
          <a:custGeom>
            <a:avLst/>
            <a:gdLst>
              <a:gd name="T0" fmla="*/ 145866 w 518"/>
              <a:gd name="T1" fmla="*/ 58495 h 406"/>
              <a:gd name="T2" fmla="*/ 145866 w 518"/>
              <a:gd name="T3" fmla="*/ 137729 h 406"/>
              <a:gd name="T4" fmla="*/ 140944 w 518"/>
              <a:gd name="T5" fmla="*/ 140388 h 406"/>
              <a:gd name="T6" fmla="*/ 130206 w 518"/>
              <a:gd name="T7" fmla="*/ 144111 h 406"/>
              <a:gd name="T8" fmla="*/ 110071 w 518"/>
              <a:gd name="T9" fmla="*/ 150492 h 406"/>
              <a:gd name="T10" fmla="*/ 113203 w 518"/>
              <a:gd name="T11" fmla="*/ 160596 h 406"/>
              <a:gd name="T12" fmla="*/ 118572 w 518"/>
              <a:gd name="T13" fmla="*/ 173358 h 406"/>
              <a:gd name="T14" fmla="*/ 120362 w 518"/>
              <a:gd name="T15" fmla="*/ 187716 h 406"/>
              <a:gd name="T16" fmla="*/ 121704 w 518"/>
              <a:gd name="T17" fmla="*/ 203137 h 406"/>
              <a:gd name="T18" fmla="*/ 23267 w 518"/>
              <a:gd name="T19" fmla="*/ 209519 h 406"/>
              <a:gd name="T20" fmla="*/ 9844 w 518"/>
              <a:gd name="T21" fmla="*/ 215900 h 406"/>
              <a:gd name="T22" fmla="*/ 2237 w 518"/>
              <a:gd name="T23" fmla="*/ 214305 h 406"/>
              <a:gd name="T24" fmla="*/ 447 w 518"/>
              <a:gd name="T25" fmla="*/ 211646 h 406"/>
              <a:gd name="T26" fmla="*/ 447 w 518"/>
              <a:gd name="T27" fmla="*/ 204733 h 406"/>
              <a:gd name="T28" fmla="*/ 1790 w 518"/>
              <a:gd name="T29" fmla="*/ 197288 h 406"/>
              <a:gd name="T30" fmla="*/ 4922 w 518"/>
              <a:gd name="T31" fmla="*/ 188248 h 406"/>
              <a:gd name="T32" fmla="*/ 8949 w 518"/>
              <a:gd name="T33" fmla="*/ 181335 h 406"/>
              <a:gd name="T34" fmla="*/ 13423 w 518"/>
              <a:gd name="T35" fmla="*/ 177612 h 406"/>
              <a:gd name="T36" fmla="*/ 17003 w 518"/>
              <a:gd name="T37" fmla="*/ 173358 h 406"/>
              <a:gd name="T38" fmla="*/ 19687 w 518"/>
              <a:gd name="T39" fmla="*/ 168572 h 406"/>
              <a:gd name="T40" fmla="*/ 21925 w 518"/>
              <a:gd name="T41" fmla="*/ 155278 h 406"/>
              <a:gd name="T42" fmla="*/ 25057 w 518"/>
              <a:gd name="T43" fmla="*/ 140920 h 406"/>
              <a:gd name="T44" fmla="*/ 27741 w 518"/>
              <a:gd name="T45" fmla="*/ 136666 h 406"/>
              <a:gd name="T46" fmla="*/ 33111 w 518"/>
              <a:gd name="T47" fmla="*/ 130816 h 406"/>
              <a:gd name="T48" fmla="*/ 41165 w 518"/>
              <a:gd name="T49" fmla="*/ 126562 h 406"/>
              <a:gd name="T50" fmla="*/ 47876 w 518"/>
              <a:gd name="T51" fmla="*/ 122840 h 406"/>
              <a:gd name="T52" fmla="*/ 54588 w 518"/>
              <a:gd name="T53" fmla="*/ 115927 h 406"/>
              <a:gd name="T54" fmla="*/ 60852 w 518"/>
              <a:gd name="T55" fmla="*/ 103696 h 406"/>
              <a:gd name="T56" fmla="*/ 67116 w 518"/>
              <a:gd name="T57" fmla="*/ 82957 h 406"/>
              <a:gd name="T58" fmla="*/ 72486 w 518"/>
              <a:gd name="T59" fmla="*/ 62217 h 406"/>
              <a:gd name="T60" fmla="*/ 76960 w 518"/>
              <a:gd name="T61" fmla="*/ 49987 h 406"/>
              <a:gd name="T62" fmla="*/ 83224 w 518"/>
              <a:gd name="T63" fmla="*/ 38819 h 406"/>
              <a:gd name="T64" fmla="*/ 89936 w 518"/>
              <a:gd name="T65" fmla="*/ 32970 h 406"/>
              <a:gd name="T66" fmla="*/ 95305 w 518"/>
              <a:gd name="T67" fmla="*/ 30311 h 406"/>
              <a:gd name="T68" fmla="*/ 97990 w 518"/>
              <a:gd name="T69" fmla="*/ 23398 h 406"/>
              <a:gd name="T70" fmla="*/ 99780 w 518"/>
              <a:gd name="T71" fmla="*/ 14890 h 406"/>
              <a:gd name="T72" fmla="*/ 102017 w 518"/>
              <a:gd name="T73" fmla="*/ 8508 h 406"/>
              <a:gd name="T74" fmla="*/ 106939 w 518"/>
              <a:gd name="T75" fmla="*/ 4254 h 406"/>
              <a:gd name="T76" fmla="*/ 228643 w 518"/>
              <a:gd name="T77" fmla="*/ 0 h 406"/>
              <a:gd name="T78" fmla="*/ 230433 w 518"/>
              <a:gd name="T79" fmla="*/ 24462 h 406"/>
              <a:gd name="T80" fmla="*/ 231775 w 518"/>
              <a:gd name="T81" fmla="*/ 58495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91" name="Freeform 241">
            <a:extLst>
              <a:ext uri="{FF2B5EF4-FFF2-40B4-BE49-F238E27FC236}">
                <a16:creationId xmlns:a16="http://schemas.microsoft.com/office/drawing/2014/main" id="{9B07B1E9-3A8C-4AA1-A989-A6BE5026254F}"/>
              </a:ext>
            </a:extLst>
          </p:cNvPr>
          <p:cNvSpPr>
            <a:spLocks/>
          </p:cNvSpPr>
          <p:nvPr>
            <p:custDataLst>
              <p:tags r:id="rId168"/>
            </p:custDataLst>
          </p:nvPr>
        </p:nvSpPr>
        <p:spPr bwMode="auto">
          <a:xfrm>
            <a:off x="6670203" y="3212952"/>
            <a:ext cx="404205" cy="198733"/>
          </a:xfrm>
          <a:custGeom>
            <a:avLst/>
            <a:gdLst>
              <a:gd name="T0" fmla="*/ 14522 w 446"/>
              <a:gd name="T1" fmla="*/ 32098 h 178"/>
              <a:gd name="T2" fmla="*/ 17512 w 446"/>
              <a:gd name="T3" fmla="*/ 22100 h 178"/>
              <a:gd name="T4" fmla="*/ 29045 w 446"/>
              <a:gd name="T5" fmla="*/ 19469 h 178"/>
              <a:gd name="T6" fmla="*/ 34170 w 446"/>
              <a:gd name="T7" fmla="*/ 9471 h 178"/>
              <a:gd name="T8" fmla="*/ 30753 w 446"/>
              <a:gd name="T9" fmla="*/ 7367 h 178"/>
              <a:gd name="T10" fmla="*/ 25628 w 446"/>
              <a:gd name="T11" fmla="*/ 0 h 178"/>
              <a:gd name="T12" fmla="*/ 36306 w 446"/>
              <a:gd name="T13" fmla="*/ 5262 h 178"/>
              <a:gd name="T14" fmla="*/ 46130 w 446"/>
              <a:gd name="T15" fmla="*/ 20521 h 178"/>
              <a:gd name="T16" fmla="*/ 53391 w 446"/>
              <a:gd name="T17" fmla="*/ 32624 h 178"/>
              <a:gd name="T18" fmla="*/ 59371 w 446"/>
              <a:gd name="T19" fmla="*/ 35255 h 178"/>
              <a:gd name="T20" fmla="*/ 67059 w 446"/>
              <a:gd name="T21" fmla="*/ 33150 h 178"/>
              <a:gd name="T22" fmla="*/ 77311 w 446"/>
              <a:gd name="T23" fmla="*/ 23679 h 178"/>
              <a:gd name="T24" fmla="*/ 87562 w 446"/>
              <a:gd name="T25" fmla="*/ 12102 h 178"/>
              <a:gd name="T26" fmla="*/ 93969 w 446"/>
              <a:gd name="T27" fmla="*/ 16312 h 178"/>
              <a:gd name="T28" fmla="*/ 153340 w 446"/>
              <a:gd name="T29" fmla="*/ 5788 h 178"/>
              <a:gd name="T30" fmla="*/ 160601 w 446"/>
              <a:gd name="T31" fmla="*/ 12102 h 178"/>
              <a:gd name="T32" fmla="*/ 169143 w 446"/>
              <a:gd name="T33" fmla="*/ 11576 h 178"/>
              <a:gd name="T34" fmla="*/ 176405 w 446"/>
              <a:gd name="T35" fmla="*/ 19469 h 178"/>
              <a:gd name="T36" fmla="*/ 177259 w 446"/>
              <a:gd name="T37" fmla="*/ 22626 h 178"/>
              <a:gd name="T38" fmla="*/ 183239 w 446"/>
              <a:gd name="T39" fmla="*/ 28414 h 178"/>
              <a:gd name="T40" fmla="*/ 189219 w 446"/>
              <a:gd name="T41" fmla="*/ 35781 h 178"/>
              <a:gd name="T42" fmla="*/ 190500 w 446"/>
              <a:gd name="T43" fmla="*/ 42095 h 178"/>
              <a:gd name="T44" fmla="*/ 187083 w 446"/>
              <a:gd name="T45" fmla="*/ 50514 h 178"/>
              <a:gd name="T46" fmla="*/ 176405 w 446"/>
              <a:gd name="T47" fmla="*/ 58407 h 178"/>
              <a:gd name="T48" fmla="*/ 169571 w 446"/>
              <a:gd name="T49" fmla="*/ 63143 h 178"/>
              <a:gd name="T50" fmla="*/ 156330 w 446"/>
              <a:gd name="T51" fmla="*/ 64721 h 178"/>
              <a:gd name="T52" fmla="*/ 128139 w 446"/>
              <a:gd name="T53" fmla="*/ 76824 h 178"/>
              <a:gd name="T54" fmla="*/ 99948 w 446"/>
              <a:gd name="T55" fmla="*/ 89979 h 178"/>
              <a:gd name="T56" fmla="*/ 84999 w 446"/>
              <a:gd name="T57" fmla="*/ 93662 h 178"/>
              <a:gd name="T58" fmla="*/ 75602 w 446"/>
              <a:gd name="T59" fmla="*/ 91557 h 178"/>
              <a:gd name="T60" fmla="*/ 73466 w 446"/>
              <a:gd name="T61" fmla="*/ 86295 h 178"/>
              <a:gd name="T62" fmla="*/ 72612 w 446"/>
              <a:gd name="T63" fmla="*/ 84717 h 178"/>
              <a:gd name="T64" fmla="*/ 66632 w 446"/>
              <a:gd name="T65" fmla="*/ 84717 h 178"/>
              <a:gd name="T66" fmla="*/ 59371 w 446"/>
              <a:gd name="T67" fmla="*/ 84191 h 178"/>
              <a:gd name="T68" fmla="*/ 42713 w 446"/>
              <a:gd name="T69" fmla="*/ 77350 h 178"/>
              <a:gd name="T70" fmla="*/ 36306 w 446"/>
              <a:gd name="T71" fmla="*/ 72088 h 178"/>
              <a:gd name="T72" fmla="*/ 34598 w 446"/>
              <a:gd name="T73" fmla="*/ 65774 h 178"/>
              <a:gd name="T74" fmla="*/ 37160 w 446"/>
              <a:gd name="T75" fmla="*/ 58407 h 178"/>
              <a:gd name="T76" fmla="*/ 11533 w 446"/>
              <a:gd name="T77" fmla="*/ 54198 h 178"/>
              <a:gd name="T78" fmla="*/ 3844 w 446"/>
              <a:gd name="T79" fmla="*/ 55250 h 178"/>
              <a:gd name="T80" fmla="*/ 0 w 446"/>
              <a:gd name="T81" fmla="*/ 42095 h 178"/>
              <a:gd name="T82" fmla="*/ 25628 w 446"/>
              <a:gd name="T83" fmla="*/ 45252 h 178"/>
              <a:gd name="T84" fmla="*/ 37160 w 446"/>
              <a:gd name="T85" fmla="*/ 42095 h 178"/>
              <a:gd name="T86" fmla="*/ 9824 w 446"/>
              <a:gd name="T87" fmla="*/ 35781 h 178"/>
              <a:gd name="T88" fmla="*/ 6834 w 446"/>
              <a:gd name="T89" fmla="*/ 28941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92" name="Freeform 242">
            <a:extLst>
              <a:ext uri="{FF2B5EF4-FFF2-40B4-BE49-F238E27FC236}">
                <a16:creationId xmlns:a16="http://schemas.microsoft.com/office/drawing/2014/main" id="{AE83A48B-0A2E-43EB-BC06-A131B9F9CF3A}"/>
              </a:ext>
            </a:extLst>
          </p:cNvPr>
          <p:cNvSpPr>
            <a:spLocks/>
          </p:cNvSpPr>
          <p:nvPr>
            <p:custDataLst>
              <p:tags r:id="rId169"/>
            </p:custDataLst>
          </p:nvPr>
        </p:nvSpPr>
        <p:spPr bwMode="auto">
          <a:xfrm>
            <a:off x="8351022" y="3772102"/>
            <a:ext cx="30316" cy="121262"/>
          </a:xfrm>
          <a:custGeom>
            <a:avLst/>
            <a:gdLst>
              <a:gd name="T0" fmla="*/ 0 w 28"/>
              <a:gd name="T1" fmla="*/ 57150 h 73"/>
              <a:gd name="T2" fmla="*/ 1021 w 28"/>
              <a:gd name="T3" fmla="*/ 36795 h 73"/>
              <a:gd name="T4" fmla="*/ 3062 w 28"/>
              <a:gd name="T5" fmla="*/ 21921 h 73"/>
              <a:gd name="T6" fmla="*/ 3572 w 28"/>
              <a:gd name="T7" fmla="*/ 15658 h 73"/>
              <a:gd name="T8" fmla="*/ 3062 w 28"/>
              <a:gd name="T9" fmla="*/ 10177 h 73"/>
              <a:gd name="T10" fmla="*/ 2041 w 28"/>
              <a:gd name="T11" fmla="*/ 5480 h 73"/>
              <a:gd name="T12" fmla="*/ 0 w 28"/>
              <a:gd name="T13" fmla="*/ 0 h 73"/>
              <a:gd name="T14" fmla="*/ 14288 w 28"/>
              <a:gd name="T15" fmla="*/ 0 h 73"/>
              <a:gd name="T16" fmla="*/ 11226 w 28"/>
              <a:gd name="T17" fmla="*/ 12526 h 73"/>
              <a:gd name="T18" fmla="*/ 8675 w 28"/>
              <a:gd name="T19" fmla="*/ 23486 h 73"/>
              <a:gd name="T20" fmla="*/ 6123 w 28"/>
              <a:gd name="T21" fmla="*/ 33664 h 73"/>
              <a:gd name="T22" fmla="*/ 3572 w 28"/>
              <a:gd name="T23" fmla="*/ 43058 h 73"/>
              <a:gd name="T24" fmla="*/ 0 w 28"/>
              <a:gd name="T25" fmla="*/ 5715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793" name="Freeform 243">
            <a:extLst>
              <a:ext uri="{FF2B5EF4-FFF2-40B4-BE49-F238E27FC236}">
                <a16:creationId xmlns:a16="http://schemas.microsoft.com/office/drawing/2014/main" id="{34C4B68C-9EF0-45FC-AC2B-6C29FB5A8F98}"/>
              </a:ext>
            </a:extLst>
          </p:cNvPr>
          <p:cNvSpPr>
            <a:spLocks/>
          </p:cNvSpPr>
          <p:nvPr>
            <p:custDataLst>
              <p:tags r:id="rId170"/>
            </p:custDataLst>
          </p:nvPr>
        </p:nvSpPr>
        <p:spPr bwMode="auto">
          <a:xfrm>
            <a:off x="8111868" y="3058007"/>
            <a:ext cx="498520" cy="838724"/>
          </a:xfrm>
          <a:custGeom>
            <a:avLst/>
            <a:gdLst>
              <a:gd name="T0" fmla="*/ 185394 w 531"/>
              <a:gd name="T1" fmla="*/ 106002 h 757"/>
              <a:gd name="T2" fmla="*/ 179642 w 531"/>
              <a:gd name="T3" fmla="*/ 115401 h 757"/>
              <a:gd name="T4" fmla="*/ 178757 w 531"/>
              <a:gd name="T5" fmla="*/ 123756 h 757"/>
              <a:gd name="T6" fmla="*/ 169022 w 531"/>
              <a:gd name="T7" fmla="*/ 143598 h 757"/>
              <a:gd name="T8" fmla="*/ 143802 w 531"/>
              <a:gd name="T9" fmla="*/ 159786 h 757"/>
              <a:gd name="T10" fmla="*/ 111502 w 531"/>
              <a:gd name="T11" fmla="*/ 184850 h 757"/>
              <a:gd name="T12" fmla="*/ 104865 w 531"/>
              <a:gd name="T13" fmla="*/ 192683 h 757"/>
              <a:gd name="T14" fmla="*/ 108404 w 531"/>
              <a:gd name="T15" fmla="*/ 198949 h 757"/>
              <a:gd name="T16" fmla="*/ 106192 w 531"/>
              <a:gd name="T17" fmla="*/ 221402 h 757"/>
              <a:gd name="T18" fmla="*/ 105750 w 531"/>
              <a:gd name="T19" fmla="*/ 234457 h 757"/>
              <a:gd name="T20" fmla="*/ 115926 w 531"/>
              <a:gd name="T21" fmla="*/ 244378 h 757"/>
              <a:gd name="T22" fmla="*/ 141589 w 531"/>
              <a:gd name="T23" fmla="*/ 253255 h 757"/>
              <a:gd name="T24" fmla="*/ 146899 w 531"/>
              <a:gd name="T25" fmla="*/ 263699 h 757"/>
              <a:gd name="T26" fmla="*/ 137165 w 531"/>
              <a:gd name="T27" fmla="*/ 277275 h 757"/>
              <a:gd name="T28" fmla="*/ 120351 w 531"/>
              <a:gd name="T29" fmla="*/ 285630 h 757"/>
              <a:gd name="T30" fmla="*/ 117254 w 531"/>
              <a:gd name="T31" fmla="*/ 292418 h 757"/>
              <a:gd name="T32" fmla="*/ 111502 w 531"/>
              <a:gd name="T33" fmla="*/ 329493 h 757"/>
              <a:gd name="T34" fmla="*/ 105750 w 531"/>
              <a:gd name="T35" fmla="*/ 376489 h 757"/>
              <a:gd name="T36" fmla="*/ 76547 w 531"/>
              <a:gd name="T37" fmla="*/ 379622 h 757"/>
              <a:gd name="T38" fmla="*/ 67255 w 531"/>
              <a:gd name="T39" fmla="*/ 385366 h 757"/>
              <a:gd name="T40" fmla="*/ 67697 w 531"/>
              <a:gd name="T41" fmla="*/ 395287 h 757"/>
              <a:gd name="T42" fmla="*/ 46902 w 531"/>
              <a:gd name="T43" fmla="*/ 395287 h 757"/>
              <a:gd name="T44" fmla="*/ 42034 w 531"/>
              <a:gd name="T45" fmla="*/ 392676 h 757"/>
              <a:gd name="T46" fmla="*/ 31415 w 531"/>
              <a:gd name="T47" fmla="*/ 374922 h 757"/>
              <a:gd name="T48" fmla="*/ 18141 w 531"/>
              <a:gd name="T49" fmla="*/ 334192 h 757"/>
              <a:gd name="T50" fmla="*/ 15044 w 531"/>
              <a:gd name="T51" fmla="*/ 311739 h 757"/>
              <a:gd name="T52" fmla="*/ 6195 w 531"/>
              <a:gd name="T53" fmla="*/ 305995 h 757"/>
              <a:gd name="T54" fmla="*/ 8407 w 531"/>
              <a:gd name="T55" fmla="*/ 292941 h 757"/>
              <a:gd name="T56" fmla="*/ 15929 w 531"/>
              <a:gd name="T57" fmla="*/ 280931 h 757"/>
              <a:gd name="T58" fmla="*/ 23451 w 531"/>
              <a:gd name="T59" fmla="*/ 263177 h 757"/>
              <a:gd name="T60" fmla="*/ 26990 w 531"/>
              <a:gd name="T61" fmla="*/ 245945 h 757"/>
              <a:gd name="T62" fmla="*/ 28318 w 531"/>
              <a:gd name="T63" fmla="*/ 230279 h 757"/>
              <a:gd name="T64" fmla="*/ 25663 w 531"/>
              <a:gd name="T65" fmla="*/ 213048 h 757"/>
              <a:gd name="T66" fmla="*/ 19026 w 531"/>
              <a:gd name="T67" fmla="*/ 196860 h 757"/>
              <a:gd name="T68" fmla="*/ 32743 w 531"/>
              <a:gd name="T69" fmla="*/ 144120 h 757"/>
              <a:gd name="T70" fmla="*/ 45574 w 531"/>
              <a:gd name="T71" fmla="*/ 143598 h 757"/>
              <a:gd name="T72" fmla="*/ 49999 w 531"/>
              <a:gd name="T73" fmla="*/ 122189 h 757"/>
              <a:gd name="T74" fmla="*/ 60618 w 531"/>
              <a:gd name="T75" fmla="*/ 100258 h 757"/>
              <a:gd name="T76" fmla="*/ 79644 w 531"/>
              <a:gd name="T77" fmla="*/ 75715 h 757"/>
              <a:gd name="T78" fmla="*/ 87608 w 531"/>
              <a:gd name="T79" fmla="*/ 57962 h 757"/>
              <a:gd name="T80" fmla="*/ 100882 w 531"/>
              <a:gd name="T81" fmla="*/ 31331 h 757"/>
              <a:gd name="T82" fmla="*/ 110174 w 531"/>
              <a:gd name="T83" fmla="*/ 22454 h 757"/>
              <a:gd name="T84" fmla="*/ 136722 w 531"/>
              <a:gd name="T85" fmla="*/ 15143 h 757"/>
              <a:gd name="T86" fmla="*/ 162828 w 531"/>
              <a:gd name="T87" fmla="*/ 6788 h 757"/>
              <a:gd name="T88" fmla="*/ 177429 w 531"/>
              <a:gd name="T89" fmla="*/ 2611 h 757"/>
              <a:gd name="T90" fmla="*/ 190703 w 531"/>
              <a:gd name="T91" fmla="*/ 16710 h 757"/>
              <a:gd name="T92" fmla="*/ 202207 w 531"/>
              <a:gd name="T93" fmla="*/ 21931 h 757"/>
              <a:gd name="T94" fmla="*/ 226986 w 531"/>
              <a:gd name="T95" fmla="*/ 57962 h 757"/>
              <a:gd name="T96" fmla="*/ 233623 w 531"/>
              <a:gd name="T97" fmla="*/ 78326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794" name="Freeform 244">
            <a:extLst>
              <a:ext uri="{FF2B5EF4-FFF2-40B4-BE49-F238E27FC236}">
                <a16:creationId xmlns:a16="http://schemas.microsoft.com/office/drawing/2014/main" id="{9813172F-41F6-408C-969B-31620D89A150}"/>
              </a:ext>
            </a:extLst>
          </p:cNvPr>
          <p:cNvSpPr>
            <a:spLocks/>
          </p:cNvSpPr>
          <p:nvPr>
            <p:custDataLst>
              <p:tags r:id="rId171"/>
            </p:custDataLst>
          </p:nvPr>
        </p:nvSpPr>
        <p:spPr bwMode="auto">
          <a:xfrm>
            <a:off x="8404916" y="3724945"/>
            <a:ext cx="57263" cy="121262"/>
          </a:xfrm>
          <a:custGeom>
            <a:avLst/>
            <a:gdLst>
              <a:gd name="T0" fmla="*/ 0 w 60"/>
              <a:gd name="T1" fmla="*/ 41462 h 51"/>
              <a:gd name="T2" fmla="*/ 2699 w 60"/>
              <a:gd name="T3" fmla="*/ 33618 h 51"/>
              <a:gd name="T4" fmla="*/ 6747 w 60"/>
              <a:gd name="T5" fmla="*/ 21291 h 51"/>
              <a:gd name="T6" fmla="*/ 8996 w 60"/>
              <a:gd name="T7" fmla="*/ 14568 h 51"/>
              <a:gd name="T8" fmla="*/ 12145 w 60"/>
              <a:gd name="T9" fmla="*/ 8965 h 51"/>
              <a:gd name="T10" fmla="*/ 14843 w 60"/>
              <a:gd name="T11" fmla="*/ 4482 h 51"/>
              <a:gd name="T12" fmla="*/ 17992 w 60"/>
              <a:gd name="T13" fmla="*/ 0 h 51"/>
              <a:gd name="T14" fmla="*/ 22490 w 60"/>
              <a:gd name="T15" fmla="*/ 7844 h 51"/>
              <a:gd name="T16" fmla="*/ 26988 w 60"/>
              <a:gd name="T17" fmla="*/ 14568 h 51"/>
              <a:gd name="T18" fmla="*/ 26538 w 60"/>
              <a:gd name="T19" fmla="*/ 22412 h 51"/>
              <a:gd name="T20" fmla="*/ 25189 w 60"/>
              <a:gd name="T21" fmla="*/ 32497 h 51"/>
              <a:gd name="T22" fmla="*/ 24289 w 60"/>
              <a:gd name="T23" fmla="*/ 38100 h 51"/>
              <a:gd name="T24" fmla="*/ 23390 w 60"/>
              <a:gd name="T25" fmla="*/ 42582 h 51"/>
              <a:gd name="T26" fmla="*/ 22040 w 60"/>
              <a:gd name="T27" fmla="*/ 47065 h 51"/>
              <a:gd name="T28" fmla="*/ 20241 w 60"/>
              <a:gd name="T29" fmla="*/ 50426 h 51"/>
              <a:gd name="T30" fmla="*/ 18442 w 60"/>
              <a:gd name="T31" fmla="*/ 53788 h 51"/>
              <a:gd name="T32" fmla="*/ 16643 w 60"/>
              <a:gd name="T33" fmla="*/ 56029 h 51"/>
              <a:gd name="T34" fmla="*/ 13944 w 60"/>
              <a:gd name="T35" fmla="*/ 57150 h 51"/>
              <a:gd name="T36" fmla="*/ 12145 w 60"/>
              <a:gd name="T37" fmla="*/ 57150 h 51"/>
              <a:gd name="T38" fmla="*/ 8996 w 60"/>
              <a:gd name="T39" fmla="*/ 56029 h 51"/>
              <a:gd name="T40" fmla="*/ 6747 w 60"/>
              <a:gd name="T41" fmla="*/ 52668 h 51"/>
              <a:gd name="T42" fmla="*/ 3149 w 60"/>
              <a:gd name="T43" fmla="*/ 48185 h 51"/>
              <a:gd name="T44" fmla="*/ 0 w 60"/>
              <a:gd name="T45" fmla="*/ 41462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795" name="Freeform 245">
            <a:extLst>
              <a:ext uri="{FF2B5EF4-FFF2-40B4-BE49-F238E27FC236}">
                <a16:creationId xmlns:a16="http://schemas.microsoft.com/office/drawing/2014/main" id="{1AF1D348-79BD-4E58-9569-B112F12719C8}"/>
              </a:ext>
            </a:extLst>
          </p:cNvPr>
          <p:cNvSpPr>
            <a:spLocks/>
          </p:cNvSpPr>
          <p:nvPr>
            <p:custDataLst>
              <p:tags r:id="rId172"/>
            </p:custDataLst>
          </p:nvPr>
        </p:nvSpPr>
        <p:spPr bwMode="auto">
          <a:xfrm>
            <a:off x="7225984" y="4068519"/>
            <a:ext cx="60631" cy="121262"/>
          </a:xfrm>
          <a:custGeom>
            <a:avLst/>
            <a:gdLst>
              <a:gd name="T0" fmla="*/ 25544 w 66"/>
              <a:gd name="T1" fmla="*/ 53788 h 51"/>
              <a:gd name="T2" fmla="*/ 18184 w 66"/>
              <a:gd name="T3" fmla="*/ 56029 h 51"/>
              <a:gd name="T4" fmla="*/ 9525 w 66"/>
              <a:gd name="T5" fmla="*/ 57150 h 51"/>
              <a:gd name="T6" fmla="*/ 7360 w 66"/>
              <a:gd name="T7" fmla="*/ 56029 h 51"/>
              <a:gd name="T8" fmla="*/ 5628 w 66"/>
              <a:gd name="T9" fmla="*/ 54909 h 51"/>
              <a:gd name="T10" fmla="*/ 4330 w 66"/>
              <a:gd name="T11" fmla="*/ 53788 h 51"/>
              <a:gd name="T12" fmla="*/ 3031 w 66"/>
              <a:gd name="T13" fmla="*/ 51547 h 51"/>
              <a:gd name="T14" fmla="*/ 1299 w 66"/>
              <a:gd name="T15" fmla="*/ 48185 h 51"/>
              <a:gd name="T16" fmla="*/ 433 w 66"/>
              <a:gd name="T17" fmla="*/ 44824 h 51"/>
              <a:gd name="T18" fmla="*/ 0 w 66"/>
              <a:gd name="T19" fmla="*/ 39221 h 51"/>
              <a:gd name="T20" fmla="*/ 0 w 66"/>
              <a:gd name="T21" fmla="*/ 33618 h 51"/>
              <a:gd name="T22" fmla="*/ 1732 w 66"/>
              <a:gd name="T23" fmla="*/ 32497 h 51"/>
              <a:gd name="T24" fmla="*/ 4330 w 66"/>
              <a:gd name="T25" fmla="*/ 30256 h 51"/>
              <a:gd name="T26" fmla="*/ 6061 w 66"/>
              <a:gd name="T27" fmla="*/ 26894 h 51"/>
              <a:gd name="T28" fmla="*/ 8226 w 66"/>
              <a:gd name="T29" fmla="*/ 22412 h 51"/>
              <a:gd name="T30" fmla="*/ 11257 w 66"/>
              <a:gd name="T31" fmla="*/ 11206 h 51"/>
              <a:gd name="T32" fmla="*/ 14288 w 66"/>
              <a:gd name="T33" fmla="*/ 0 h 51"/>
              <a:gd name="T34" fmla="*/ 19916 w 66"/>
              <a:gd name="T35" fmla="*/ 1121 h 51"/>
              <a:gd name="T36" fmla="*/ 22514 w 66"/>
              <a:gd name="T37" fmla="*/ 2241 h 51"/>
              <a:gd name="T38" fmla="*/ 24245 w 66"/>
              <a:gd name="T39" fmla="*/ 3362 h 51"/>
              <a:gd name="T40" fmla="*/ 28575 w 66"/>
              <a:gd name="T41" fmla="*/ 0 h 51"/>
              <a:gd name="T42" fmla="*/ 28142 w 66"/>
              <a:gd name="T43" fmla="*/ 14568 h 51"/>
              <a:gd name="T44" fmla="*/ 27276 w 66"/>
              <a:gd name="T45" fmla="*/ 26894 h 51"/>
              <a:gd name="T46" fmla="*/ 25977 w 66"/>
              <a:gd name="T47" fmla="*/ 40341 h 51"/>
              <a:gd name="T48" fmla="*/ 25544 w 66"/>
              <a:gd name="T49" fmla="*/ 53788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796" name="Freeform 246">
            <a:extLst>
              <a:ext uri="{FF2B5EF4-FFF2-40B4-BE49-F238E27FC236}">
                <a16:creationId xmlns:a16="http://schemas.microsoft.com/office/drawing/2014/main" id="{517F01FE-E982-4B43-BFCB-A6FFCF3C09A8}"/>
              </a:ext>
            </a:extLst>
          </p:cNvPr>
          <p:cNvSpPr>
            <a:spLocks/>
          </p:cNvSpPr>
          <p:nvPr>
            <p:custDataLst>
              <p:tags r:id="rId173"/>
            </p:custDataLst>
          </p:nvPr>
        </p:nvSpPr>
        <p:spPr bwMode="auto">
          <a:xfrm>
            <a:off x="9247009" y="5190187"/>
            <a:ext cx="107788" cy="121262"/>
          </a:xfrm>
          <a:custGeom>
            <a:avLst/>
            <a:gdLst>
              <a:gd name="T0" fmla="*/ 0 w 113"/>
              <a:gd name="T1" fmla="*/ 33981 h 74"/>
              <a:gd name="T2" fmla="*/ 8991 w 113"/>
              <a:gd name="T3" fmla="*/ 57150 h 74"/>
              <a:gd name="T4" fmla="*/ 16634 w 113"/>
              <a:gd name="T5" fmla="*/ 53289 h 74"/>
              <a:gd name="T6" fmla="*/ 22927 w 113"/>
              <a:gd name="T7" fmla="*/ 50199 h 74"/>
              <a:gd name="T8" fmla="*/ 28772 w 113"/>
              <a:gd name="T9" fmla="*/ 45566 h 74"/>
              <a:gd name="T10" fmla="*/ 33267 w 113"/>
              <a:gd name="T11" fmla="*/ 40932 h 74"/>
              <a:gd name="T12" fmla="*/ 35065 w 113"/>
              <a:gd name="T13" fmla="*/ 37843 h 74"/>
              <a:gd name="T14" fmla="*/ 37313 w 113"/>
              <a:gd name="T15" fmla="*/ 34753 h 74"/>
              <a:gd name="T16" fmla="*/ 38662 w 113"/>
              <a:gd name="T17" fmla="*/ 31664 h 74"/>
              <a:gd name="T18" fmla="*/ 39561 w 113"/>
              <a:gd name="T19" fmla="*/ 28575 h 74"/>
              <a:gd name="T20" fmla="*/ 40460 w 113"/>
              <a:gd name="T21" fmla="*/ 24714 h 74"/>
              <a:gd name="T22" fmla="*/ 40910 w 113"/>
              <a:gd name="T23" fmla="*/ 20080 h 74"/>
              <a:gd name="T24" fmla="*/ 41809 w 113"/>
              <a:gd name="T25" fmla="*/ 14674 h 74"/>
              <a:gd name="T26" fmla="*/ 42258 w 113"/>
              <a:gd name="T27" fmla="*/ 10040 h 74"/>
              <a:gd name="T28" fmla="*/ 44506 w 113"/>
              <a:gd name="T29" fmla="*/ 9268 h 74"/>
              <a:gd name="T30" fmla="*/ 47653 w 113"/>
              <a:gd name="T31" fmla="*/ 6951 h 74"/>
              <a:gd name="T32" fmla="*/ 48552 w 113"/>
              <a:gd name="T33" fmla="*/ 5406 h 74"/>
              <a:gd name="T34" fmla="*/ 49901 w 113"/>
              <a:gd name="T35" fmla="*/ 3861 h 74"/>
              <a:gd name="T36" fmla="*/ 50350 w 113"/>
              <a:gd name="T37" fmla="*/ 2317 h 74"/>
              <a:gd name="T38" fmla="*/ 50800 w 113"/>
              <a:gd name="T39" fmla="*/ 0 h 74"/>
              <a:gd name="T40" fmla="*/ 44057 w 113"/>
              <a:gd name="T41" fmla="*/ 3089 h 74"/>
              <a:gd name="T42" fmla="*/ 36864 w 113"/>
              <a:gd name="T43" fmla="*/ 6178 h 74"/>
              <a:gd name="T44" fmla="*/ 29221 w 113"/>
              <a:gd name="T45" fmla="*/ 10040 h 74"/>
              <a:gd name="T46" fmla="*/ 22028 w 113"/>
              <a:gd name="T47" fmla="*/ 14674 h 74"/>
              <a:gd name="T48" fmla="*/ 8991 w 113"/>
              <a:gd name="T49" fmla="*/ 25486 h 74"/>
              <a:gd name="T50" fmla="*/ 0 w 113"/>
              <a:gd name="T51" fmla="*/ 33981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97" name="Freeform 247">
            <a:extLst>
              <a:ext uri="{FF2B5EF4-FFF2-40B4-BE49-F238E27FC236}">
                <a16:creationId xmlns:a16="http://schemas.microsoft.com/office/drawing/2014/main" id="{C6AB8156-2C35-4359-BD9E-71352E7A81C4}"/>
              </a:ext>
            </a:extLst>
          </p:cNvPr>
          <p:cNvSpPr>
            <a:spLocks/>
          </p:cNvSpPr>
          <p:nvPr>
            <p:custDataLst>
              <p:tags r:id="rId174"/>
            </p:custDataLst>
          </p:nvPr>
        </p:nvSpPr>
        <p:spPr bwMode="auto">
          <a:xfrm>
            <a:off x="8415022" y="6871007"/>
            <a:ext cx="690516" cy="518730"/>
          </a:xfrm>
          <a:custGeom>
            <a:avLst/>
            <a:gdLst>
              <a:gd name="T0" fmla="*/ 42752 w 746"/>
              <a:gd name="T1" fmla="*/ 235613 h 469"/>
              <a:gd name="T2" fmla="*/ 23557 w 746"/>
              <a:gd name="T3" fmla="*/ 229358 h 469"/>
              <a:gd name="T4" fmla="*/ 9161 w 746"/>
              <a:gd name="T5" fmla="*/ 223624 h 469"/>
              <a:gd name="T6" fmla="*/ 2181 w 746"/>
              <a:gd name="T7" fmla="*/ 215284 h 469"/>
              <a:gd name="T8" fmla="*/ 0 w 746"/>
              <a:gd name="T9" fmla="*/ 189221 h 469"/>
              <a:gd name="T10" fmla="*/ 2181 w 746"/>
              <a:gd name="T11" fmla="*/ 161072 h 469"/>
              <a:gd name="T12" fmla="*/ 10034 w 746"/>
              <a:gd name="T13" fmla="*/ 142306 h 469"/>
              <a:gd name="T14" fmla="*/ 24430 w 746"/>
              <a:gd name="T15" fmla="*/ 118849 h 469"/>
              <a:gd name="T16" fmla="*/ 52785 w 746"/>
              <a:gd name="T17" fmla="*/ 106339 h 469"/>
              <a:gd name="T18" fmla="*/ 72416 w 746"/>
              <a:gd name="T19" fmla="*/ 97999 h 469"/>
              <a:gd name="T20" fmla="*/ 102517 w 746"/>
              <a:gd name="T21" fmla="*/ 90179 h 469"/>
              <a:gd name="T22" fmla="*/ 114296 w 746"/>
              <a:gd name="T23" fmla="*/ 79754 h 469"/>
              <a:gd name="T24" fmla="*/ 116477 w 746"/>
              <a:gd name="T25" fmla="*/ 70893 h 469"/>
              <a:gd name="T26" fmla="*/ 127383 w 746"/>
              <a:gd name="T27" fmla="*/ 62552 h 469"/>
              <a:gd name="T28" fmla="*/ 144833 w 746"/>
              <a:gd name="T29" fmla="*/ 59946 h 469"/>
              <a:gd name="T30" fmla="*/ 156611 w 746"/>
              <a:gd name="T31" fmla="*/ 52648 h 469"/>
              <a:gd name="T32" fmla="*/ 169698 w 746"/>
              <a:gd name="T33" fmla="*/ 34925 h 469"/>
              <a:gd name="T34" fmla="*/ 185403 w 746"/>
              <a:gd name="T35" fmla="*/ 11468 h 469"/>
              <a:gd name="T36" fmla="*/ 196309 w 746"/>
              <a:gd name="T37" fmla="*/ 3128 h 469"/>
              <a:gd name="T38" fmla="*/ 212014 w 746"/>
              <a:gd name="T39" fmla="*/ 0 h 469"/>
              <a:gd name="T40" fmla="*/ 221175 w 746"/>
              <a:gd name="T41" fmla="*/ 15117 h 469"/>
              <a:gd name="T42" fmla="*/ 232081 w 746"/>
              <a:gd name="T43" fmla="*/ 27627 h 469"/>
              <a:gd name="T44" fmla="*/ 241242 w 746"/>
              <a:gd name="T45" fmla="*/ 55776 h 469"/>
              <a:gd name="T46" fmla="*/ 252584 w 746"/>
              <a:gd name="T47" fmla="*/ 82882 h 469"/>
              <a:gd name="T48" fmla="*/ 267417 w 746"/>
              <a:gd name="T49" fmla="*/ 89658 h 469"/>
              <a:gd name="T50" fmla="*/ 273960 w 746"/>
              <a:gd name="T51" fmla="*/ 100605 h 469"/>
              <a:gd name="T52" fmla="*/ 283558 w 746"/>
              <a:gd name="T53" fmla="*/ 121456 h 469"/>
              <a:gd name="T54" fmla="*/ 306242 w 746"/>
              <a:gd name="T55" fmla="*/ 145434 h 469"/>
              <a:gd name="T56" fmla="*/ 323256 w 746"/>
              <a:gd name="T57" fmla="*/ 164200 h 469"/>
              <a:gd name="T58" fmla="*/ 310169 w 746"/>
              <a:gd name="T59" fmla="*/ 179838 h 469"/>
              <a:gd name="T60" fmla="*/ 301444 w 746"/>
              <a:gd name="T61" fmla="*/ 178274 h 469"/>
              <a:gd name="T62" fmla="*/ 296209 w 746"/>
              <a:gd name="T63" fmla="*/ 167327 h 469"/>
              <a:gd name="T64" fmla="*/ 283994 w 746"/>
              <a:gd name="T65" fmla="*/ 172019 h 469"/>
              <a:gd name="T66" fmla="*/ 278759 w 746"/>
              <a:gd name="T67" fmla="*/ 183487 h 469"/>
              <a:gd name="T68" fmla="*/ 263491 w 746"/>
              <a:gd name="T69" fmla="*/ 185572 h 469"/>
              <a:gd name="T70" fmla="*/ 241242 w 746"/>
              <a:gd name="T71" fmla="*/ 185572 h 469"/>
              <a:gd name="T72" fmla="*/ 227719 w 746"/>
              <a:gd name="T73" fmla="*/ 190263 h 469"/>
              <a:gd name="T74" fmla="*/ 216376 w 746"/>
              <a:gd name="T75" fmla="*/ 201731 h 469"/>
              <a:gd name="T76" fmla="*/ 212014 w 746"/>
              <a:gd name="T77" fmla="*/ 205380 h 469"/>
              <a:gd name="T78" fmla="*/ 185839 w 746"/>
              <a:gd name="T79" fmla="*/ 208507 h 469"/>
              <a:gd name="T80" fmla="*/ 172752 w 746"/>
              <a:gd name="T81" fmla="*/ 204337 h 469"/>
              <a:gd name="T82" fmla="*/ 152249 w 746"/>
              <a:gd name="T83" fmla="*/ 184529 h 469"/>
              <a:gd name="T84" fmla="*/ 139161 w 746"/>
              <a:gd name="T85" fmla="*/ 179838 h 469"/>
              <a:gd name="T86" fmla="*/ 126947 w 746"/>
              <a:gd name="T87" fmla="*/ 185050 h 469"/>
              <a:gd name="T88" fmla="*/ 116041 w 746"/>
              <a:gd name="T89" fmla="*/ 196518 h 469"/>
              <a:gd name="T90" fmla="*/ 99027 w 746"/>
              <a:gd name="T91" fmla="*/ 227794 h 469"/>
              <a:gd name="T92" fmla="*/ 65436 w 746"/>
              <a:gd name="T93" fmla="*/ 228837 h 469"/>
              <a:gd name="T94" fmla="*/ 58893 w 746"/>
              <a:gd name="T95" fmla="*/ 233528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98" name="Freeform 248">
            <a:extLst>
              <a:ext uri="{FF2B5EF4-FFF2-40B4-BE49-F238E27FC236}">
                <a16:creationId xmlns:a16="http://schemas.microsoft.com/office/drawing/2014/main" id="{879391E1-5A56-4B25-B3D7-357E25FB450D}"/>
              </a:ext>
            </a:extLst>
          </p:cNvPr>
          <p:cNvSpPr>
            <a:spLocks/>
          </p:cNvSpPr>
          <p:nvPr>
            <p:custDataLst>
              <p:tags r:id="rId175"/>
            </p:custDataLst>
          </p:nvPr>
        </p:nvSpPr>
        <p:spPr bwMode="auto">
          <a:xfrm>
            <a:off x="8280287" y="7228055"/>
            <a:ext cx="1061037" cy="1172195"/>
          </a:xfrm>
          <a:custGeom>
            <a:avLst/>
            <a:gdLst>
              <a:gd name="T0" fmla="*/ 393935 w 1145"/>
              <a:gd name="T1" fmla="*/ 29905 h 1053"/>
              <a:gd name="T2" fmla="*/ 433678 w 1145"/>
              <a:gd name="T3" fmla="*/ 34626 h 1053"/>
              <a:gd name="T4" fmla="*/ 471674 w 1145"/>
              <a:gd name="T5" fmla="*/ 42496 h 1053"/>
              <a:gd name="T6" fmla="*/ 491764 w 1145"/>
              <a:gd name="T7" fmla="*/ 91813 h 1053"/>
              <a:gd name="T8" fmla="*/ 494821 w 1145"/>
              <a:gd name="T9" fmla="*/ 110700 h 1053"/>
              <a:gd name="T10" fmla="*/ 462066 w 1145"/>
              <a:gd name="T11" fmla="*/ 142703 h 1053"/>
              <a:gd name="T12" fmla="*/ 456388 w 1145"/>
              <a:gd name="T13" fmla="*/ 188872 h 1053"/>
              <a:gd name="T14" fmla="*/ 438046 w 1145"/>
              <a:gd name="T15" fmla="*/ 230843 h 1053"/>
              <a:gd name="T16" fmla="*/ 432368 w 1145"/>
              <a:gd name="T17" fmla="*/ 249730 h 1053"/>
              <a:gd name="T18" fmla="*/ 445033 w 1145"/>
              <a:gd name="T19" fmla="*/ 302195 h 1053"/>
              <a:gd name="T20" fmla="*/ 448090 w 1145"/>
              <a:gd name="T21" fmla="*/ 348364 h 1053"/>
              <a:gd name="T22" fmla="*/ 457262 w 1145"/>
              <a:gd name="T23" fmla="*/ 383515 h 1053"/>
              <a:gd name="T24" fmla="*/ 471237 w 1145"/>
              <a:gd name="T25" fmla="*/ 401353 h 1053"/>
              <a:gd name="T26" fmla="*/ 476915 w 1145"/>
              <a:gd name="T27" fmla="*/ 432831 h 1053"/>
              <a:gd name="T28" fmla="*/ 454205 w 1145"/>
              <a:gd name="T29" fmla="*/ 442799 h 1053"/>
              <a:gd name="T30" fmla="*/ 435425 w 1145"/>
              <a:gd name="T31" fmla="*/ 449095 h 1053"/>
              <a:gd name="T32" fmla="*/ 419266 w 1145"/>
              <a:gd name="T33" fmla="*/ 520447 h 1053"/>
              <a:gd name="T34" fmla="*/ 406164 w 1145"/>
              <a:gd name="T35" fmla="*/ 538285 h 1053"/>
              <a:gd name="T36" fmla="*/ 393935 w 1145"/>
              <a:gd name="T37" fmla="*/ 540908 h 1053"/>
              <a:gd name="T38" fmla="*/ 366858 w 1145"/>
              <a:gd name="T39" fmla="*/ 552450 h 1053"/>
              <a:gd name="T40" fmla="*/ 341527 w 1145"/>
              <a:gd name="T41" fmla="*/ 544056 h 1053"/>
              <a:gd name="T42" fmla="*/ 324494 w 1145"/>
              <a:gd name="T43" fmla="*/ 531989 h 1053"/>
              <a:gd name="T44" fmla="*/ 308772 w 1145"/>
              <a:gd name="T45" fmla="*/ 523070 h 1053"/>
              <a:gd name="T46" fmla="*/ 294360 w 1145"/>
              <a:gd name="T47" fmla="*/ 517299 h 1053"/>
              <a:gd name="T48" fmla="*/ 265535 w 1145"/>
              <a:gd name="T49" fmla="*/ 517824 h 1053"/>
              <a:gd name="T50" fmla="*/ 259421 w 1145"/>
              <a:gd name="T51" fmla="*/ 494215 h 1053"/>
              <a:gd name="T52" fmla="*/ 251123 w 1145"/>
              <a:gd name="T53" fmla="*/ 463785 h 1053"/>
              <a:gd name="T54" fmla="*/ 257674 w 1145"/>
              <a:gd name="T55" fmla="*/ 443849 h 1053"/>
              <a:gd name="T56" fmla="*/ 257674 w 1145"/>
              <a:gd name="T57" fmla="*/ 408698 h 1053"/>
              <a:gd name="T58" fmla="*/ 198278 w 1145"/>
              <a:gd name="T59" fmla="*/ 396106 h 1053"/>
              <a:gd name="T60" fmla="*/ 193474 w 1145"/>
              <a:gd name="T61" fmla="*/ 411845 h 1053"/>
              <a:gd name="T62" fmla="*/ 172947 w 1145"/>
              <a:gd name="T63" fmla="*/ 428634 h 1053"/>
              <a:gd name="T64" fmla="*/ 147180 w 1145"/>
              <a:gd name="T65" fmla="*/ 418141 h 1053"/>
              <a:gd name="T66" fmla="*/ 129710 w 1145"/>
              <a:gd name="T67" fmla="*/ 371448 h 1053"/>
              <a:gd name="T68" fmla="*/ 1310 w 1145"/>
              <a:gd name="T69" fmla="*/ 352036 h 1053"/>
              <a:gd name="T70" fmla="*/ 19653 w 1145"/>
              <a:gd name="T71" fmla="*/ 349937 h 1053"/>
              <a:gd name="T72" fmla="*/ 11355 w 1145"/>
              <a:gd name="T73" fmla="*/ 331050 h 1053"/>
              <a:gd name="T74" fmla="*/ 32755 w 1145"/>
              <a:gd name="T75" fmla="*/ 322656 h 1053"/>
              <a:gd name="T76" fmla="*/ 63327 w 1145"/>
              <a:gd name="T77" fmla="*/ 322131 h 1053"/>
              <a:gd name="T78" fmla="*/ 79923 w 1145"/>
              <a:gd name="T79" fmla="*/ 325279 h 1053"/>
              <a:gd name="T80" fmla="*/ 96082 w 1145"/>
              <a:gd name="T81" fmla="*/ 301146 h 1053"/>
              <a:gd name="T82" fmla="*/ 113551 w 1145"/>
              <a:gd name="T83" fmla="*/ 291177 h 1053"/>
              <a:gd name="T84" fmla="*/ 122723 w 1145"/>
              <a:gd name="T85" fmla="*/ 230843 h 1053"/>
              <a:gd name="T86" fmla="*/ 151110 w 1145"/>
              <a:gd name="T87" fmla="*/ 194118 h 1053"/>
              <a:gd name="T88" fmla="*/ 161592 w 1145"/>
              <a:gd name="T89" fmla="*/ 144802 h 1053"/>
              <a:gd name="T90" fmla="*/ 162466 w 1145"/>
              <a:gd name="T91" fmla="*/ 94436 h 1053"/>
              <a:gd name="T92" fmla="*/ 167270 w 1145"/>
              <a:gd name="T93" fmla="*/ 64007 h 1053"/>
              <a:gd name="T94" fmla="*/ 192164 w 1145"/>
              <a:gd name="T95" fmla="*/ 18363 h 1053"/>
              <a:gd name="T96" fmla="*/ 214437 w 1145"/>
              <a:gd name="T97" fmla="*/ 15739 h 1053"/>
              <a:gd name="T98" fmla="*/ 243698 w 1145"/>
              <a:gd name="T99" fmla="*/ 40398 h 1053"/>
              <a:gd name="T100" fmla="*/ 278200 w 1145"/>
              <a:gd name="T101" fmla="*/ 38299 h 1053"/>
              <a:gd name="T102" fmla="*/ 292613 w 1145"/>
              <a:gd name="T103" fmla="*/ 23084 h 1053"/>
              <a:gd name="T104" fmla="*/ 320564 w 1145"/>
              <a:gd name="T105" fmla="*/ 17838 h 1053"/>
              <a:gd name="T106" fmla="*/ 347205 w 1145"/>
              <a:gd name="T107" fmla="*/ 8919 h 1053"/>
              <a:gd name="T108" fmla="*/ 361617 w 1145"/>
              <a:gd name="T109" fmla="*/ 4197 h 1053"/>
              <a:gd name="T110" fmla="*/ 375156 w 1145"/>
              <a:gd name="T111" fmla="*/ 12591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799" name="Freeform 249">
            <a:extLst>
              <a:ext uri="{FF2B5EF4-FFF2-40B4-BE49-F238E27FC236}">
                <a16:creationId xmlns:a16="http://schemas.microsoft.com/office/drawing/2014/main" id="{260E5831-D8BF-4154-9F9A-5EF48205718E}"/>
              </a:ext>
            </a:extLst>
          </p:cNvPr>
          <p:cNvSpPr>
            <a:spLocks/>
          </p:cNvSpPr>
          <p:nvPr>
            <p:custDataLst>
              <p:tags r:id="rId176"/>
            </p:custDataLst>
          </p:nvPr>
        </p:nvSpPr>
        <p:spPr bwMode="auto">
          <a:xfrm>
            <a:off x="8145552" y="7440262"/>
            <a:ext cx="117892" cy="117894"/>
          </a:xfrm>
          <a:custGeom>
            <a:avLst/>
            <a:gdLst>
              <a:gd name="T0" fmla="*/ 53340 w 125"/>
              <a:gd name="T1" fmla="*/ 0 h 81"/>
              <a:gd name="T2" fmla="*/ 53784 w 125"/>
              <a:gd name="T3" fmla="*/ 18521 h 81"/>
              <a:gd name="T4" fmla="*/ 55118 w 125"/>
              <a:gd name="T5" fmla="*/ 31554 h 81"/>
              <a:gd name="T6" fmla="*/ 55562 w 125"/>
              <a:gd name="T7" fmla="*/ 36356 h 81"/>
              <a:gd name="T8" fmla="*/ 55562 w 125"/>
              <a:gd name="T9" fmla="*/ 40472 h 81"/>
              <a:gd name="T10" fmla="*/ 55562 w 125"/>
              <a:gd name="T11" fmla="*/ 44588 h 81"/>
              <a:gd name="T12" fmla="*/ 54673 w 125"/>
              <a:gd name="T13" fmla="*/ 47331 h 81"/>
              <a:gd name="T14" fmla="*/ 52895 w 125"/>
              <a:gd name="T15" fmla="*/ 49389 h 81"/>
              <a:gd name="T16" fmla="*/ 49784 w 125"/>
              <a:gd name="T17" fmla="*/ 50761 h 81"/>
              <a:gd name="T18" fmla="*/ 45783 w 125"/>
              <a:gd name="T19" fmla="*/ 52133 h 81"/>
              <a:gd name="T20" fmla="*/ 40449 w 125"/>
              <a:gd name="T21" fmla="*/ 52819 h 81"/>
              <a:gd name="T22" fmla="*/ 25336 w 125"/>
              <a:gd name="T23" fmla="*/ 54191 h 81"/>
              <a:gd name="T24" fmla="*/ 3111 w 125"/>
              <a:gd name="T25" fmla="*/ 55563 h 81"/>
              <a:gd name="T26" fmla="*/ 2222 w 125"/>
              <a:gd name="T27" fmla="*/ 54191 h 81"/>
              <a:gd name="T28" fmla="*/ 1333 w 125"/>
              <a:gd name="T29" fmla="*/ 49389 h 81"/>
              <a:gd name="T30" fmla="*/ 444 w 125"/>
              <a:gd name="T31" fmla="*/ 40472 h 81"/>
              <a:gd name="T32" fmla="*/ 0 w 125"/>
              <a:gd name="T33" fmla="*/ 29496 h 81"/>
              <a:gd name="T34" fmla="*/ 0 w 125"/>
              <a:gd name="T35" fmla="*/ 25381 h 81"/>
              <a:gd name="T36" fmla="*/ 444 w 125"/>
              <a:gd name="T37" fmla="*/ 21265 h 81"/>
              <a:gd name="T38" fmla="*/ 889 w 125"/>
              <a:gd name="T39" fmla="*/ 17149 h 81"/>
              <a:gd name="T40" fmla="*/ 1778 w 125"/>
              <a:gd name="T41" fmla="*/ 13719 h 81"/>
              <a:gd name="T42" fmla="*/ 3556 w 125"/>
              <a:gd name="T43" fmla="*/ 10289 h 81"/>
              <a:gd name="T44" fmla="*/ 4889 w 125"/>
              <a:gd name="T45" fmla="*/ 6860 h 81"/>
              <a:gd name="T46" fmla="*/ 6223 w 125"/>
              <a:gd name="T47" fmla="*/ 3430 h 81"/>
              <a:gd name="T48" fmla="*/ 8890 w 125"/>
              <a:gd name="T49" fmla="*/ 0 h 81"/>
              <a:gd name="T50" fmla="*/ 5334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00" name="Freeform 250">
            <a:extLst>
              <a:ext uri="{FF2B5EF4-FFF2-40B4-BE49-F238E27FC236}">
                <a16:creationId xmlns:a16="http://schemas.microsoft.com/office/drawing/2014/main" id="{2C517032-DF7A-4987-9D92-933F34CD83AC}"/>
              </a:ext>
            </a:extLst>
          </p:cNvPr>
          <p:cNvSpPr>
            <a:spLocks/>
          </p:cNvSpPr>
          <p:nvPr>
            <p:custDataLst>
              <p:tags r:id="rId177"/>
            </p:custDataLst>
          </p:nvPr>
        </p:nvSpPr>
        <p:spPr bwMode="auto">
          <a:xfrm>
            <a:off x="8108499" y="7440262"/>
            <a:ext cx="323364" cy="427785"/>
          </a:xfrm>
          <a:custGeom>
            <a:avLst/>
            <a:gdLst>
              <a:gd name="T0" fmla="*/ 112475 w 355"/>
              <a:gd name="T1" fmla="*/ 7794 h 388"/>
              <a:gd name="T2" fmla="*/ 110329 w 355"/>
              <a:gd name="T3" fmla="*/ 19226 h 388"/>
              <a:gd name="T4" fmla="*/ 113334 w 355"/>
              <a:gd name="T5" fmla="*/ 26501 h 388"/>
              <a:gd name="T6" fmla="*/ 121491 w 355"/>
              <a:gd name="T7" fmla="*/ 31177 h 388"/>
              <a:gd name="T8" fmla="*/ 136945 w 355"/>
              <a:gd name="T9" fmla="*/ 28579 h 388"/>
              <a:gd name="T10" fmla="*/ 142526 w 355"/>
              <a:gd name="T11" fmla="*/ 29618 h 388"/>
              <a:gd name="T12" fmla="*/ 145961 w 355"/>
              <a:gd name="T13" fmla="*/ 35334 h 388"/>
              <a:gd name="T14" fmla="*/ 148107 w 355"/>
              <a:gd name="T15" fmla="*/ 43129 h 388"/>
              <a:gd name="T16" fmla="*/ 150683 w 355"/>
              <a:gd name="T17" fmla="*/ 48844 h 388"/>
              <a:gd name="T18" fmla="*/ 148107 w 355"/>
              <a:gd name="T19" fmla="*/ 56119 h 388"/>
              <a:gd name="T20" fmla="*/ 137375 w 355"/>
              <a:gd name="T21" fmla="*/ 70668 h 388"/>
              <a:gd name="T22" fmla="*/ 149395 w 355"/>
              <a:gd name="T23" fmla="*/ 90934 h 388"/>
              <a:gd name="T24" fmla="*/ 152400 w 355"/>
              <a:gd name="T25" fmla="*/ 104963 h 388"/>
              <a:gd name="T26" fmla="*/ 151541 w 355"/>
              <a:gd name="T27" fmla="*/ 113797 h 388"/>
              <a:gd name="T28" fmla="*/ 148107 w 355"/>
              <a:gd name="T29" fmla="*/ 131984 h 388"/>
              <a:gd name="T30" fmla="*/ 142955 w 355"/>
              <a:gd name="T31" fmla="*/ 140817 h 388"/>
              <a:gd name="T32" fmla="*/ 133940 w 355"/>
              <a:gd name="T33" fmla="*/ 145494 h 388"/>
              <a:gd name="T34" fmla="*/ 122779 w 355"/>
              <a:gd name="T35" fmla="*/ 146533 h 388"/>
              <a:gd name="T36" fmla="*/ 115910 w 355"/>
              <a:gd name="T37" fmla="*/ 146533 h 388"/>
              <a:gd name="T38" fmla="*/ 108183 w 355"/>
              <a:gd name="T39" fmla="*/ 137700 h 388"/>
              <a:gd name="T40" fmla="*/ 103031 w 355"/>
              <a:gd name="T41" fmla="*/ 134582 h 388"/>
              <a:gd name="T42" fmla="*/ 94874 w 355"/>
              <a:gd name="T43" fmla="*/ 139778 h 388"/>
              <a:gd name="T44" fmla="*/ 88006 w 355"/>
              <a:gd name="T45" fmla="*/ 144974 h 388"/>
              <a:gd name="T46" fmla="*/ 83283 w 355"/>
              <a:gd name="T47" fmla="*/ 148092 h 388"/>
              <a:gd name="T48" fmla="*/ 79420 w 355"/>
              <a:gd name="T49" fmla="*/ 154847 h 388"/>
              <a:gd name="T50" fmla="*/ 80278 w 355"/>
              <a:gd name="T51" fmla="*/ 166798 h 388"/>
              <a:gd name="T52" fmla="*/ 88864 w 355"/>
              <a:gd name="T53" fmla="*/ 186024 h 388"/>
              <a:gd name="T54" fmla="*/ 83713 w 355"/>
              <a:gd name="T55" fmla="*/ 183426 h 388"/>
              <a:gd name="T56" fmla="*/ 75985 w 355"/>
              <a:gd name="T57" fmla="*/ 184466 h 388"/>
              <a:gd name="T58" fmla="*/ 69546 w 355"/>
              <a:gd name="T59" fmla="*/ 189662 h 388"/>
              <a:gd name="T60" fmla="*/ 62677 w 355"/>
              <a:gd name="T61" fmla="*/ 201613 h 388"/>
              <a:gd name="T62" fmla="*/ 52803 w 355"/>
              <a:gd name="T63" fmla="*/ 192260 h 388"/>
              <a:gd name="T64" fmla="*/ 48510 w 355"/>
              <a:gd name="T65" fmla="*/ 186024 h 388"/>
              <a:gd name="T66" fmla="*/ 41212 w 355"/>
              <a:gd name="T67" fmla="*/ 168357 h 388"/>
              <a:gd name="T68" fmla="*/ 21465 w 355"/>
              <a:gd name="T69" fmla="*/ 145494 h 388"/>
              <a:gd name="T70" fmla="*/ 9445 w 355"/>
              <a:gd name="T71" fmla="*/ 131984 h 388"/>
              <a:gd name="T72" fmla="*/ 2146 w 355"/>
              <a:gd name="T73" fmla="*/ 115876 h 388"/>
              <a:gd name="T74" fmla="*/ 429 w 355"/>
              <a:gd name="T75" fmla="*/ 97169 h 388"/>
              <a:gd name="T76" fmla="*/ 4722 w 355"/>
              <a:gd name="T77" fmla="*/ 84179 h 388"/>
              <a:gd name="T78" fmla="*/ 17601 w 355"/>
              <a:gd name="T79" fmla="*/ 69629 h 388"/>
              <a:gd name="T80" fmla="*/ 23182 w 355"/>
              <a:gd name="T81" fmla="*/ 60276 h 388"/>
              <a:gd name="T82" fmla="*/ 24041 w 355"/>
              <a:gd name="T83" fmla="*/ 47286 h 388"/>
              <a:gd name="T84" fmla="*/ 46364 w 355"/>
              <a:gd name="T85" fmla="*/ 43129 h 388"/>
              <a:gd name="T86" fmla="*/ 66970 w 355"/>
              <a:gd name="T87" fmla="*/ 41570 h 388"/>
              <a:gd name="T88" fmla="*/ 73839 w 355"/>
              <a:gd name="T89" fmla="*/ 37932 h 388"/>
              <a:gd name="T90" fmla="*/ 75985 w 355"/>
              <a:gd name="T91" fmla="*/ 32736 h 388"/>
              <a:gd name="T92" fmla="*/ 74697 w 355"/>
              <a:gd name="T93" fmla="*/ 21304 h 388"/>
              <a:gd name="T94" fmla="*/ 71692 w 355"/>
              <a:gd name="T95" fmla="*/ 6235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01" name="Freeform 251">
            <a:extLst>
              <a:ext uri="{FF2B5EF4-FFF2-40B4-BE49-F238E27FC236}">
                <a16:creationId xmlns:a16="http://schemas.microsoft.com/office/drawing/2014/main" id="{90604E27-D912-4E9B-9A93-B2CD899D9B4C}"/>
              </a:ext>
            </a:extLst>
          </p:cNvPr>
          <p:cNvSpPr>
            <a:spLocks/>
          </p:cNvSpPr>
          <p:nvPr>
            <p:custDataLst>
              <p:tags r:id="rId178"/>
            </p:custDataLst>
          </p:nvPr>
        </p:nvSpPr>
        <p:spPr bwMode="auto">
          <a:xfrm>
            <a:off x="9240273" y="8299199"/>
            <a:ext cx="552414" cy="1104827"/>
          </a:xfrm>
          <a:custGeom>
            <a:avLst/>
            <a:gdLst>
              <a:gd name="T0" fmla="*/ 0 w 599"/>
              <a:gd name="T1" fmla="*/ 135812 h 993"/>
              <a:gd name="T2" fmla="*/ 79105 w 599"/>
              <a:gd name="T3" fmla="*/ 117459 h 993"/>
              <a:gd name="T4" fmla="*/ 99967 w 599"/>
              <a:gd name="T5" fmla="*/ 125849 h 993"/>
              <a:gd name="T6" fmla="*/ 112137 w 599"/>
              <a:gd name="T7" fmla="*/ 135288 h 993"/>
              <a:gd name="T8" fmla="*/ 109530 w 599"/>
              <a:gd name="T9" fmla="*/ 155214 h 993"/>
              <a:gd name="T10" fmla="*/ 101706 w 599"/>
              <a:gd name="T11" fmla="*/ 171469 h 993"/>
              <a:gd name="T12" fmla="*/ 108660 w 599"/>
              <a:gd name="T13" fmla="*/ 187200 h 993"/>
              <a:gd name="T14" fmla="*/ 127784 w 599"/>
              <a:gd name="T15" fmla="*/ 191395 h 993"/>
              <a:gd name="T16" fmla="*/ 138651 w 599"/>
              <a:gd name="T17" fmla="*/ 178286 h 993"/>
              <a:gd name="T18" fmla="*/ 146909 w 599"/>
              <a:gd name="T19" fmla="*/ 166225 h 993"/>
              <a:gd name="T20" fmla="*/ 144301 w 599"/>
              <a:gd name="T21" fmla="*/ 136861 h 993"/>
              <a:gd name="T22" fmla="*/ 136477 w 599"/>
              <a:gd name="T23" fmla="*/ 106972 h 993"/>
              <a:gd name="T24" fmla="*/ 117788 w 599"/>
              <a:gd name="T25" fmla="*/ 82326 h 993"/>
              <a:gd name="T26" fmla="*/ 110399 w 599"/>
              <a:gd name="T27" fmla="*/ 65546 h 993"/>
              <a:gd name="T28" fmla="*/ 117353 w 599"/>
              <a:gd name="T29" fmla="*/ 32511 h 993"/>
              <a:gd name="T30" fmla="*/ 139085 w 599"/>
              <a:gd name="T31" fmla="*/ 28840 h 993"/>
              <a:gd name="T32" fmla="*/ 181680 w 599"/>
              <a:gd name="T33" fmla="*/ 31462 h 993"/>
              <a:gd name="T34" fmla="*/ 226448 w 599"/>
              <a:gd name="T35" fmla="*/ 18877 h 993"/>
              <a:gd name="T36" fmla="*/ 259481 w 599"/>
              <a:gd name="T37" fmla="*/ 1573 h 993"/>
              <a:gd name="T38" fmla="*/ 259481 w 599"/>
              <a:gd name="T39" fmla="*/ 15731 h 993"/>
              <a:gd name="T40" fmla="*/ 259481 w 599"/>
              <a:gd name="T41" fmla="*/ 66071 h 993"/>
              <a:gd name="T42" fmla="*/ 257308 w 599"/>
              <a:gd name="T43" fmla="*/ 119556 h 993"/>
              <a:gd name="T44" fmla="*/ 254265 w 599"/>
              <a:gd name="T45" fmla="*/ 144726 h 993"/>
              <a:gd name="T46" fmla="*/ 239053 w 599"/>
              <a:gd name="T47" fmla="*/ 176713 h 993"/>
              <a:gd name="T48" fmla="*/ 203412 w 599"/>
              <a:gd name="T49" fmla="*/ 210797 h 993"/>
              <a:gd name="T50" fmla="*/ 162556 w 599"/>
              <a:gd name="T51" fmla="*/ 223382 h 993"/>
              <a:gd name="T52" fmla="*/ 153428 w 599"/>
              <a:gd name="T53" fmla="*/ 243308 h 993"/>
              <a:gd name="T54" fmla="*/ 127350 w 599"/>
              <a:gd name="T55" fmla="*/ 265856 h 993"/>
              <a:gd name="T56" fmla="*/ 105618 w 599"/>
              <a:gd name="T57" fmla="*/ 287879 h 993"/>
              <a:gd name="T58" fmla="*/ 99533 w 599"/>
              <a:gd name="T59" fmla="*/ 305184 h 993"/>
              <a:gd name="T60" fmla="*/ 103010 w 599"/>
              <a:gd name="T61" fmla="*/ 324585 h 993"/>
              <a:gd name="T62" fmla="*/ 116049 w 599"/>
              <a:gd name="T63" fmla="*/ 342938 h 993"/>
              <a:gd name="T64" fmla="*/ 110399 w 599"/>
              <a:gd name="T65" fmla="*/ 363913 h 993"/>
              <a:gd name="T66" fmla="*/ 115180 w 599"/>
              <a:gd name="T67" fmla="*/ 382266 h 993"/>
              <a:gd name="T68" fmla="*/ 116049 w 599"/>
              <a:gd name="T69" fmla="*/ 414253 h 993"/>
              <a:gd name="T70" fmla="*/ 111268 w 599"/>
              <a:gd name="T71" fmla="*/ 426838 h 993"/>
              <a:gd name="T72" fmla="*/ 83886 w 599"/>
              <a:gd name="T73" fmla="*/ 457776 h 993"/>
              <a:gd name="T74" fmla="*/ 63892 w 599"/>
              <a:gd name="T75" fmla="*/ 465117 h 993"/>
              <a:gd name="T76" fmla="*/ 44333 w 599"/>
              <a:gd name="T77" fmla="*/ 468787 h 993"/>
              <a:gd name="T78" fmla="*/ 37814 w 599"/>
              <a:gd name="T79" fmla="*/ 478750 h 993"/>
              <a:gd name="T80" fmla="*/ 41291 w 599"/>
              <a:gd name="T81" fmla="*/ 492384 h 993"/>
              <a:gd name="T82" fmla="*/ 39552 w 599"/>
              <a:gd name="T83" fmla="*/ 520176 h 993"/>
              <a:gd name="T84" fmla="*/ 32163 w 599"/>
              <a:gd name="T85" fmla="*/ 424740 h 993"/>
              <a:gd name="T86" fmla="*/ 25209 w 599"/>
              <a:gd name="T87" fmla="*/ 401144 h 993"/>
              <a:gd name="T88" fmla="*/ 17820 w 599"/>
              <a:gd name="T89" fmla="*/ 377547 h 993"/>
              <a:gd name="T90" fmla="*/ 46941 w 599"/>
              <a:gd name="T91" fmla="*/ 349231 h 993"/>
              <a:gd name="T92" fmla="*/ 47376 w 599"/>
              <a:gd name="T93" fmla="*/ 321964 h 993"/>
              <a:gd name="T94" fmla="*/ 64762 w 599"/>
              <a:gd name="T95" fmla="*/ 299416 h 993"/>
              <a:gd name="T96" fmla="*/ 75628 w 599"/>
              <a:gd name="T97" fmla="*/ 275819 h 993"/>
              <a:gd name="T98" fmla="*/ 73020 w 599"/>
              <a:gd name="T99" fmla="*/ 231247 h 993"/>
              <a:gd name="T100" fmla="*/ 66065 w 599"/>
              <a:gd name="T101" fmla="*/ 190871 h 993"/>
              <a:gd name="T102" fmla="*/ 35206 w 599"/>
              <a:gd name="T103" fmla="*/ 17881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02" name="Freeform 252">
            <a:extLst>
              <a:ext uri="{FF2B5EF4-FFF2-40B4-BE49-F238E27FC236}">
                <a16:creationId xmlns:a16="http://schemas.microsoft.com/office/drawing/2014/main" id="{AA249231-B2BF-4D0A-9A74-4C351DE065A3}"/>
              </a:ext>
            </a:extLst>
          </p:cNvPr>
          <p:cNvSpPr>
            <a:spLocks/>
          </p:cNvSpPr>
          <p:nvPr>
            <p:custDataLst>
              <p:tags r:id="rId179"/>
            </p:custDataLst>
          </p:nvPr>
        </p:nvSpPr>
        <p:spPr bwMode="auto">
          <a:xfrm>
            <a:off x="8677755" y="8807822"/>
            <a:ext cx="505256" cy="609677"/>
          </a:xfrm>
          <a:custGeom>
            <a:avLst/>
            <a:gdLst>
              <a:gd name="T0" fmla="*/ 13108 w 545"/>
              <a:gd name="T1" fmla="*/ 224008 h 549"/>
              <a:gd name="T2" fmla="*/ 20099 w 545"/>
              <a:gd name="T3" fmla="*/ 237616 h 549"/>
              <a:gd name="T4" fmla="*/ 20099 w 545"/>
              <a:gd name="T5" fmla="*/ 267973 h 549"/>
              <a:gd name="T6" fmla="*/ 20972 w 545"/>
              <a:gd name="T7" fmla="*/ 275824 h 549"/>
              <a:gd name="T8" fmla="*/ 24031 w 545"/>
              <a:gd name="T9" fmla="*/ 281057 h 549"/>
              <a:gd name="T10" fmla="*/ 29711 w 545"/>
              <a:gd name="T11" fmla="*/ 285244 h 549"/>
              <a:gd name="T12" fmla="*/ 43693 w 545"/>
              <a:gd name="T13" fmla="*/ 287338 h 549"/>
              <a:gd name="T14" fmla="*/ 49373 w 545"/>
              <a:gd name="T15" fmla="*/ 285768 h 549"/>
              <a:gd name="T16" fmla="*/ 56800 w 545"/>
              <a:gd name="T17" fmla="*/ 278964 h 549"/>
              <a:gd name="T18" fmla="*/ 62481 w 545"/>
              <a:gd name="T19" fmla="*/ 265356 h 549"/>
              <a:gd name="T20" fmla="*/ 67287 w 545"/>
              <a:gd name="T21" fmla="*/ 249654 h 549"/>
              <a:gd name="T22" fmla="*/ 73841 w 545"/>
              <a:gd name="T23" fmla="*/ 237616 h 549"/>
              <a:gd name="T24" fmla="*/ 79958 w 545"/>
              <a:gd name="T25" fmla="*/ 232906 h 549"/>
              <a:gd name="T26" fmla="*/ 87822 w 545"/>
              <a:gd name="T27" fmla="*/ 232383 h 549"/>
              <a:gd name="T28" fmla="*/ 96998 w 545"/>
              <a:gd name="T29" fmla="*/ 234476 h 549"/>
              <a:gd name="T30" fmla="*/ 110106 w 545"/>
              <a:gd name="T31" fmla="*/ 241280 h 549"/>
              <a:gd name="T32" fmla="*/ 118844 w 545"/>
              <a:gd name="T33" fmla="*/ 244944 h 549"/>
              <a:gd name="T34" fmla="*/ 129767 w 545"/>
              <a:gd name="T35" fmla="*/ 245467 h 549"/>
              <a:gd name="T36" fmla="*/ 139380 w 545"/>
              <a:gd name="T37" fmla="*/ 242850 h 549"/>
              <a:gd name="T38" fmla="*/ 145060 w 545"/>
              <a:gd name="T39" fmla="*/ 237093 h 549"/>
              <a:gd name="T40" fmla="*/ 156857 w 545"/>
              <a:gd name="T41" fmla="*/ 203073 h 549"/>
              <a:gd name="T42" fmla="*/ 166906 w 545"/>
              <a:gd name="T43" fmla="*/ 189989 h 549"/>
              <a:gd name="T44" fmla="*/ 195306 w 545"/>
              <a:gd name="T45" fmla="*/ 164343 h 549"/>
              <a:gd name="T46" fmla="*/ 230260 w 545"/>
              <a:gd name="T47" fmla="*/ 138173 h 549"/>
              <a:gd name="T48" fmla="*/ 230697 w 545"/>
              <a:gd name="T49" fmla="*/ 121425 h 549"/>
              <a:gd name="T50" fmla="*/ 219774 w 545"/>
              <a:gd name="T51" fmla="*/ 114098 h 549"/>
              <a:gd name="T52" fmla="*/ 211909 w 545"/>
              <a:gd name="T53" fmla="*/ 104153 h 549"/>
              <a:gd name="T54" fmla="*/ 200986 w 545"/>
              <a:gd name="T55" fmla="*/ 82171 h 549"/>
              <a:gd name="T56" fmla="*/ 192248 w 545"/>
              <a:gd name="T57" fmla="*/ 69087 h 549"/>
              <a:gd name="T58" fmla="*/ 164721 w 545"/>
              <a:gd name="T59" fmla="*/ 39777 h 549"/>
              <a:gd name="T60" fmla="*/ 156857 w 545"/>
              <a:gd name="T61" fmla="*/ 27739 h 549"/>
              <a:gd name="T62" fmla="*/ 152050 w 545"/>
              <a:gd name="T63" fmla="*/ 12561 h 549"/>
              <a:gd name="T64" fmla="*/ 139380 w 545"/>
              <a:gd name="T65" fmla="*/ 0 h 549"/>
              <a:gd name="T66" fmla="*/ 106610 w 545"/>
              <a:gd name="T67" fmla="*/ 1047 h 549"/>
              <a:gd name="T68" fmla="*/ 76899 w 545"/>
              <a:gd name="T69" fmla="*/ 6804 h 549"/>
              <a:gd name="T70" fmla="*/ 41508 w 545"/>
              <a:gd name="T71" fmla="*/ 11514 h 549"/>
              <a:gd name="T72" fmla="*/ 31022 w 545"/>
              <a:gd name="T73" fmla="*/ 14131 h 549"/>
              <a:gd name="T74" fmla="*/ 29274 w 545"/>
              <a:gd name="T75" fmla="*/ 19889 h 549"/>
              <a:gd name="T76" fmla="*/ 31896 w 545"/>
              <a:gd name="T77" fmla="*/ 29310 h 549"/>
              <a:gd name="T78" fmla="*/ 36702 w 545"/>
              <a:gd name="T79" fmla="*/ 38730 h 549"/>
              <a:gd name="T80" fmla="*/ 37576 w 545"/>
              <a:gd name="T81" fmla="*/ 56002 h 549"/>
              <a:gd name="T82" fmla="*/ 32333 w 545"/>
              <a:gd name="T83" fmla="*/ 89499 h 549"/>
              <a:gd name="T84" fmla="*/ 27089 w 545"/>
              <a:gd name="T85" fmla="*/ 124042 h 549"/>
              <a:gd name="T86" fmla="*/ 20536 w 545"/>
              <a:gd name="T87" fmla="*/ 137650 h 549"/>
              <a:gd name="T88" fmla="*/ 11360 w 545"/>
              <a:gd name="T89" fmla="*/ 144977 h 549"/>
              <a:gd name="T90" fmla="*/ 2185 w 545"/>
              <a:gd name="T91" fmla="*/ 160679 h 549"/>
              <a:gd name="T92" fmla="*/ 437 w 545"/>
              <a:gd name="T93" fmla="*/ 177427 h 549"/>
              <a:gd name="T94" fmla="*/ 3495 w 545"/>
              <a:gd name="T95" fmla="*/ 192082 h 549"/>
              <a:gd name="T96" fmla="*/ 3495 w 545"/>
              <a:gd name="T97" fmla="*/ 204643 h 549"/>
              <a:gd name="T98" fmla="*/ 0 w 545"/>
              <a:gd name="T99" fmla="*/ 213541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03" name="Freeform 253">
            <a:extLst>
              <a:ext uri="{FF2B5EF4-FFF2-40B4-BE49-F238E27FC236}">
                <a16:creationId xmlns:a16="http://schemas.microsoft.com/office/drawing/2014/main" id="{EC3A0A82-1402-4C2F-A977-6901D7CEB35D}"/>
              </a:ext>
            </a:extLst>
          </p:cNvPr>
          <p:cNvSpPr>
            <a:spLocks/>
          </p:cNvSpPr>
          <p:nvPr>
            <p:custDataLst>
              <p:tags r:id="rId180"/>
            </p:custDataLst>
          </p:nvPr>
        </p:nvSpPr>
        <p:spPr bwMode="auto">
          <a:xfrm>
            <a:off x="9893738" y="8386776"/>
            <a:ext cx="417679" cy="922935"/>
          </a:xfrm>
          <a:custGeom>
            <a:avLst/>
            <a:gdLst>
              <a:gd name="T0" fmla="*/ 48777 w 452"/>
              <a:gd name="T1" fmla="*/ 136452 h 832"/>
              <a:gd name="T2" fmla="*/ 60100 w 452"/>
              <a:gd name="T3" fmla="*/ 129656 h 832"/>
              <a:gd name="T4" fmla="*/ 71859 w 452"/>
              <a:gd name="T5" fmla="*/ 125474 h 832"/>
              <a:gd name="T6" fmla="*/ 83618 w 452"/>
              <a:gd name="T7" fmla="*/ 121291 h 832"/>
              <a:gd name="T8" fmla="*/ 93634 w 452"/>
              <a:gd name="T9" fmla="*/ 113449 h 832"/>
              <a:gd name="T10" fmla="*/ 101038 w 452"/>
              <a:gd name="T11" fmla="*/ 104561 h 832"/>
              <a:gd name="T12" fmla="*/ 101038 w 452"/>
              <a:gd name="T13" fmla="*/ 93582 h 832"/>
              <a:gd name="T14" fmla="*/ 115410 w 452"/>
              <a:gd name="T15" fmla="*/ 93060 h 832"/>
              <a:gd name="T16" fmla="*/ 122813 w 452"/>
              <a:gd name="T17" fmla="*/ 90446 h 832"/>
              <a:gd name="T18" fmla="*/ 129782 w 452"/>
              <a:gd name="T19" fmla="*/ 84695 h 832"/>
              <a:gd name="T20" fmla="*/ 139363 w 452"/>
              <a:gd name="T21" fmla="*/ 69533 h 832"/>
              <a:gd name="T22" fmla="*/ 152428 w 452"/>
              <a:gd name="T23" fmla="*/ 39210 h 832"/>
              <a:gd name="T24" fmla="*/ 164622 w 452"/>
              <a:gd name="T25" fmla="*/ 0 h 832"/>
              <a:gd name="T26" fmla="*/ 167671 w 452"/>
              <a:gd name="T27" fmla="*/ 9933 h 832"/>
              <a:gd name="T28" fmla="*/ 177252 w 452"/>
              <a:gd name="T29" fmla="*/ 24572 h 832"/>
              <a:gd name="T30" fmla="*/ 195108 w 452"/>
              <a:gd name="T31" fmla="*/ 44439 h 832"/>
              <a:gd name="T32" fmla="*/ 191624 w 452"/>
              <a:gd name="T33" fmla="*/ 53849 h 832"/>
              <a:gd name="T34" fmla="*/ 193366 w 452"/>
              <a:gd name="T35" fmla="*/ 72147 h 832"/>
              <a:gd name="T36" fmla="*/ 196850 w 452"/>
              <a:gd name="T37" fmla="*/ 96719 h 832"/>
              <a:gd name="T38" fmla="*/ 195108 w 452"/>
              <a:gd name="T39" fmla="*/ 107698 h 832"/>
              <a:gd name="T40" fmla="*/ 186398 w 452"/>
              <a:gd name="T41" fmla="*/ 122337 h 832"/>
              <a:gd name="T42" fmla="*/ 178123 w 452"/>
              <a:gd name="T43" fmla="*/ 136452 h 832"/>
              <a:gd name="T44" fmla="*/ 176381 w 452"/>
              <a:gd name="T45" fmla="*/ 147954 h 832"/>
              <a:gd name="T46" fmla="*/ 171155 w 452"/>
              <a:gd name="T47" fmla="*/ 161024 h 832"/>
              <a:gd name="T48" fmla="*/ 166800 w 452"/>
              <a:gd name="T49" fmla="*/ 166252 h 832"/>
              <a:gd name="T50" fmla="*/ 164187 w 452"/>
              <a:gd name="T51" fmla="*/ 173572 h 832"/>
              <a:gd name="T52" fmla="*/ 160267 w 452"/>
              <a:gd name="T53" fmla="*/ 190302 h 832"/>
              <a:gd name="T54" fmla="*/ 147202 w 452"/>
              <a:gd name="T55" fmla="*/ 223238 h 832"/>
              <a:gd name="T56" fmla="*/ 139798 w 452"/>
              <a:gd name="T57" fmla="*/ 245719 h 832"/>
              <a:gd name="T58" fmla="*/ 138492 w 452"/>
              <a:gd name="T59" fmla="*/ 261403 h 832"/>
              <a:gd name="T60" fmla="*/ 135008 w 452"/>
              <a:gd name="T61" fmla="*/ 277610 h 832"/>
              <a:gd name="T62" fmla="*/ 122378 w 452"/>
              <a:gd name="T63" fmla="*/ 314730 h 832"/>
              <a:gd name="T64" fmla="*/ 113232 w 452"/>
              <a:gd name="T65" fmla="*/ 333028 h 832"/>
              <a:gd name="T66" fmla="*/ 105393 w 452"/>
              <a:gd name="T67" fmla="*/ 342438 h 832"/>
              <a:gd name="T68" fmla="*/ 101038 w 452"/>
              <a:gd name="T69" fmla="*/ 345052 h 832"/>
              <a:gd name="T70" fmla="*/ 99296 w 452"/>
              <a:gd name="T71" fmla="*/ 373284 h 832"/>
              <a:gd name="T72" fmla="*/ 93634 w 452"/>
              <a:gd name="T73" fmla="*/ 396810 h 832"/>
              <a:gd name="T74" fmla="*/ 83182 w 452"/>
              <a:gd name="T75" fmla="*/ 415631 h 832"/>
              <a:gd name="T76" fmla="*/ 68375 w 452"/>
              <a:gd name="T77" fmla="*/ 428179 h 832"/>
              <a:gd name="T78" fmla="*/ 47906 w 452"/>
              <a:gd name="T79" fmla="*/ 434452 h 832"/>
              <a:gd name="T80" fmla="*/ 34841 w 452"/>
              <a:gd name="T81" fmla="*/ 432361 h 832"/>
              <a:gd name="T82" fmla="*/ 31792 w 452"/>
              <a:gd name="T83" fmla="*/ 427133 h 832"/>
              <a:gd name="T84" fmla="*/ 21775 w 452"/>
              <a:gd name="T85" fmla="*/ 423473 h 832"/>
              <a:gd name="T86" fmla="*/ 11323 w 452"/>
              <a:gd name="T87" fmla="*/ 417200 h 832"/>
              <a:gd name="T88" fmla="*/ 5226 w 452"/>
              <a:gd name="T89" fmla="*/ 406221 h 832"/>
              <a:gd name="T90" fmla="*/ 1307 w 452"/>
              <a:gd name="T91" fmla="*/ 393150 h 832"/>
              <a:gd name="T92" fmla="*/ 0 w 452"/>
              <a:gd name="T93" fmla="*/ 370147 h 832"/>
              <a:gd name="T94" fmla="*/ 1742 w 452"/>
              <a:gd name="T95" fmla="*/ 362828 h 832"/>
              <a:gd name="T96" fmla="*/ 8275 w 452"/>
              <a:gd name="T97" fmla="*/ 354463 h 832"/>
              <a:gd name="T98" fmla="*/ 4791 w 452"/>
              <a:gd name="T99" fmla="*/ 351326 h 832"/>
              <a:gd name="T100" fmla="*/ 0 w 452"/>
              <a:gd name="T101" fmla="*/ 340870 h 832"/>
              <a:gd name="T102" fmla="*/ 2178 w 452"/>
              <a:gd name="T103" fmla="*/ 328322 h 832"/>
              <a:gd name="T104" fmla="*/ 3484 w 452"/>
              <a:gd name="T105" fmla="*/ 318912 h 832"/>
              <a:gd name="T106" fmla="*/ 2178 w 452"/>
              <a:gd name="T107" fmla="*/ 308979 h 832"/>
              <a:gd name="T108" fmla="*/ 7839 w 452"/>
              <a:gd name="T109" fmla="*/ 306887 h 832"/>
              <a:gd name="T110" fmla="*/ 18727 w 452"/>
              <a:gd name="T111" fmla="*/ 296954 h 832"/>
              <a:gd name="T112" fmla="*/ 27437 w 452"/>
              <a:gd name="T113" fmla="*/ 281270 h 832"/>
              <a:gd name="T114" fmla="*/ 33099 w 452"/>
              <a:gd name="T115" fmla="*/ 264540 h 832"/>
              <a:gd name="T116" fmla="*/ 37454 w 452"/>
              <a:gd name="T117" fmla="*/ 241537 h 832"/>
              <a:gd name="T118" fmla="*/ 36147 w 452"/>
              <a:gd name="T119" fmla="*/ 228989 h 832"/>
              <a:gd name="T120" fmla="*/ 30486 w 452"/>
              <a:gd name="T121" fmla="*/ 213305 h 832"/>
              <a:gd name="T122" fmla="*/ 24388 w 452"/>
              <a:gd name="T123" fmla="*/ 199712 h 832"/>
              <a:gd name="T124" fmla="*/ 23082 w 452"/>
              <a:gd name="T125" fmla="*/ 189779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04" name="Freeform 254">
            <a:extLst>
              <a:ext uri="{FF2B5EF4-FFF2-40B4-BE49-F238E27FC236}">
                <a16:creationId xmlns:a16="http://schemas.microsoft.com/office/drawing/2014/main" id="{010CB77F-AD71-4B8B-B423-C664171179B6}"/>
              </a:ext>
            </a:extLst>
          </p:cNvPr>
          <p:cNvSpPr>
            <a:spLocks/>
          </p:cNvSpPr>
          <p:nvPr>
            <p:custDataLst>
              <p:tags r:id="rId181"/>
            </p:custDataLst>
          </p:nvPr>
        </p:nvSpPr>
        <p:spPr bwMode="auto">
          <a:xfrm>
            <a:off x="9206589" y="7746785"/>
            <a:ext cx="77474" cy="141472"/>
          </a:xfrm>
          <a:custGeom>
            <a:avLst/>
            <a:gdLst>
              <a:gd name="T0" fmla="*/ 36513 w 80"/>
              <a:gd name="T1" fmla="*/ 1058 h 126"/>
              <a:gd name="T2" fmla="*/ 36513 w 80"/>
              <a:gd name="T3" fmla="*/ 53446 h 126"/>
              <a:gd name="T4" fmla="*/ 35600 w 80"/>
              <a:gd name="T5" fmla="*/ 55033 h 126"/>
              <a:gd name="T6" fmla="*/ 34231 w 80"/>
              <a:gd name="T7" fmla="*/ 56621 h 126"/>
              <a:gd name="T8" fmla="*/ 31949 w 80"/>
              <a:gd name="T9" fmla="*/ 57679 h 126"/>
              <a:gd name="T10" fmla="*/ 30580 w 80"/>
              <a:gd name="T11" fmla="*/ 58737 h 126"/>
              <a:gd name="T12" fmla="*/ 26472 w 80"/>
              <a:gd name="T13" fmla="*/ 60325 h 126"/>
              <a:gd name="T14" fmla="*/ 21908 w 80"/>
              <a:gd name="T15" fmla="*/ 61383 h 126"/>
              <a:gd name="T16" fmla="*/ 16431 w 80"/>
              <a:gd name="T17" fmla="*/ 61912 h 126"/>
              <a:gd name="T18" fmla="*/ 11410 w 80"/>
              <a:gd name="T19" fmla="*/ 62971 h 126"/>
              <a:gd name="T20" fmla="*/ 5933 w 80"/>
              <a:gd name="T21" fmla="*/ 65087 h 126"/>
              <a:gd name="T22" fmla="*/ 0 w 80"/>
              <a:gd name="T23" fmla="*/ 66675 h 126"/>
              <a:gd name="T24" fmla="*/ 3195 w 80"/>
              <a:gd name="T25" fmla="*/ 21167 h 126"/>
              <a:gd name="T26" fmla="*/ 10497 w 80"/>
              <a:gd name="T27" fmla="*/ 14287 h 126"/>
              <a:gd name="T28" fmla="*/ 18713 w 80"/>
              <a:gd name="T29" fmla="*/ 6350 h 126"/>
              <a:gd name="T30" fmla="*/ 23277 w 80"/>
              <a:gd name="T31" fmla="*/ 2646 h 126"/>
              <a:gd name="T32" fmla="*/ 27385 w 80"/>
              <a:gd name="T33" fmla="*/ 529 h 126"/>
              <a:gd name="T34" fmla="*/ 29667 w 80"/>
              <a:gd name="T35" fmla="*/ 0 h 126"/>
              <a:gd name="T36" fmla="*/ 31949 w 80"/>
              <a:gd name="T37" fmla="*/ 0 h 126"/>
              <a:gd name="T38" fmla="*/ 34231 w 80"/>
              <a:gd name="T39" fmla="*/ 529 h 126"/>
              <a:gd name="T40" fmla="*/ 36513 w 80"/>
              <a:gd name="T41" fmla="*/ 1058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05" name="Freeform 255">
            <a:extLst>
              <a:ext uri="{FF2B5EF4-FFF2-40B4-BE49-F238E27FC236}">
                <a16:creationId xmlns:a16="http://schemas.microsoft.com/office/drawing/2014/main" id="{29359690-C3BA-481D-9527-031500A8684C}"/>
              </a:ext>
            </a:extLst>
          </p:cNvPr>
          <p:cNvSpPr>
            <a:spLocks/>
          </p:cNvSpPr>
          <p:nvPr>
            <p:custDataLst>
              <p:tags r:id="rId182"/>
            </p:custDataLst>
          </p:nvPr>
        </p:nvSpPr>
        <p:spPr bwMode="auto">
          <a:xfrm>
            <a:off x="9183011" y="7662575"/>
            <a:ext cx="117892" cy="127998"/>
          </a:xfrm>
          <a:custGeom>
            <a:avLst/>
            <a:gdLst>
              <a:gd name="T0" fmla="*/ 50633 w 124"/>
              <a:gd name="T1" fmla="*/ 0 h 117"/>
              <a:gd name="T2" fmla="*/ 51977 w 124"/>
              <a:gd name="T3" fmla="*/ 7734 h 117"/>
              <a:gd name="T4" fmla="*/ 54666 w 124"/>
              <a:gd name="T5" fmla="*/ 18046 h 117"/>
              <a:gd name="T6" fmla="*/ 55562 w 124"/>
              <a:gd name="T7" fmla="*/ 23202 h 117"/>
              <a:gd name="T8" fmla="*/ 55562 w 124"/>
              <a:gd name="T9" fmla="*/ 27842 h 117"/>
              <a:gd name="T10" fmla="*/ 55562 w 124"/>
              <a:gd name="T11" fmla="*/ 30420 h 117"/>
              <a:gd name="T12" fmla="*/ 55114 w 124"/>
              <a:gd name="T13" fmla="*/ 32998 h 117"/>
              <a:gd name="T14" fmla="*/ 54666 w 124"/>
              <a:gd name="T15" fmla="*/ 35576 h 117"/>
              <a:gd name="T16" fmla="*/ 53322 w 124"/>
              <a:gd name="T17" fmla="*/ 37639 h 117"/>
              <a:gd name="T18" fmla="*/ 51081 w 124"/>
              <a:gd name="T19" fmla="*/ 37123 h 117"/>
              <a:gd name="T20" fmla="*/ 48393 w 124"/>
              <a:gd name="T21" fmla="*/ 36607 h 117"/>
              <a:gd name="T22" fmla="*/ 46152 w 124"/>
              <a:gd name="T23" fmla="*/ 37123 h 117"/>
              <a:gd name="T24" fmla="*/ 43016 w 124"/>
              <a:gd name="T25" fmla="*/ 37639 h 117"/>
              <a:gd name="T26" fmla="*/ 37191 w 124"/>
              <a:gd name="T27" fmla="*/ 40217 h 117"/>
              <a:gd name="T28" fmla="*/ 31814 w 124"/>
              <a:gd name="T29" fmla="*/ 43826 h 117"/>
              <a:gd name="T30" fmla="*/ 20612 w 124"/>
              <a:gd name="T31" fmla="*/ 53107 h 117"/>
              <a:gd name="T32" fmla="*/ 11650 w 124"/>
              <a:gd name="T33" fmla="*/ 60325 h 117"/>
              <a:gd name="T34" fmla="*/ 10306 w 124"/>
              <a:gd name="T35" fmla="*/ 57747 h 117"/>
              <a:gd name="T36" fmla="*/ 5825 w 124"/>
              <a:gd name="T37" fmla="*/ 52075 h 117"/>
              <a:gd name="T38" fmla="*/ 1792 w 124"/>
              <a:gd name="T39" fmla="*/ 45888 h 117"/>
              <a:gd name="T40" fmla="*/ 0 w 124"/>
              <a:gd name="T41" fmla="*/ 40732 h 117"/>
              <a:gd name="T42" fmla="*/ 448 w 124"/>
              <a:gd name="T43" fmla="*/ 39185 h 117"/>
              <a:gd name="T44" fmla="*/ 896 w 124"/>
              <a:gd name="T45" fmla="*/ 37123 h 117"/>
              <a:gd name="T46" fmla="*/ 2240 w 124"/>
              <a:gd name="T47" fmla="*/ 34545 h 117"/>
              <a:gd name="T48" fmla="*/ 4033 w 124"/>
              <a:gd name="T49" fmla="*/ 31967 h 117"/>
              <a:gd name="T50" fmla="*/ 7617 w 124"/>
              <a:gd name="T51" fmla="*/ 26811 h 117"/>
              <a:gd name="T52" fmla="*/ 12098 w 124"/>
              <a:gd name="T53" fmla="*/ 21655 h 117"/>
              <a:gd name="T54" fmla="*/ 21508 w 124"/>
              <a:gd name="T55" fmla="*/ 11343 h 117"/>
              <a:gd name="T56" fmla="*/ 26885 w 124"/>
              <a:gd name="T57" fmla="*/ 6187 h 117"/>
              <a:gd name="T58" fmla="*/ 32710 w 124"/>
              <a:gd name="T59" fmla="*/ 6187 h 117"/>
              <a:gd name="T60" fmla="*/ 38535 w 124"/>
              <a:gd name="T61" fmla="*/ 6187 h 117"/>
              <a:gd name="T62" fmla="*/ 44808 w 124"/>
              <a:gd name="T63" fmla="*/ 3094 h 117"/>
              <a:gd name="T64" fmla="*/ 50633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06" name="Freeform 256">
            <a:extLst>
              <a:ext uri="{FF2B5EF4-FFF2-40B4-BE49-F238E27FC236}">
                <a16:creationId xmlns:a16="http://schemas.microsoft.com/office/drawing/2014/main" id="{FE0F244D-085B-4450-B9D9-7F70AEF0DDDA}"/>
              </a:ext>
            </a:extLst>
          </p:cNvPr>
          <p:cNvSpPr>
            <a:spLocks/>
          </p:cNvSpPr>
          <p:nvPr>
            <p:custDataLst>
              <p:tags r:id="rId183"/>
            </p:custDataLst>
          </p:nvPr>
        </p:nvSpPr>
        <p:spPr bwMode="auto">
          <a:xfrm>
            <a:off x="9839844" y="4903876"/>
            <a:ext cx="1067776" cy="1003776"/>
          </a:xfrm>
          <a:custGeom>
            <a:avLst/>
            <a:gdLst>
              <a:gd name="T0" fmla="*/ 403983 w 1156"/>
              <a:gd name="T1" fmla="*/ 100397 h 900"/>
              <a:gd name="T2" fmla="*/ 373946 w 1156"/>
              <a:gd name="T3" fmla="*/ 85154 h 900"/>
              <a:gd name="T4" fmla="*/ 336508 w 1156"/>
              <a:gd name="T5" fmla="*/ 58346 h 900"/>
              <a:gd name="T6" fmla="*/ 268597 w 1156"/>
              <a:gd name="T7" fmla="*/ 54666 h 900"/>
              <a:gd name="T8" fmla="*/ 239865 w 1156"/>
              <a:gd name="T9" fmla="*/ 80948 h 900"/>
              <a:gd name="T10" fmla="*/ 219405 w 1156"/>
              <a:gd name="T11" fmla="*/ 94089 h 900"/>
              <a:gd name="T12" fmla="*/ 185449 w 1156"/>
              <a:gd name="T13" fmla="*/ 103551 h 900"/>
              <a:gd name="T14" fmla="*/ 166730 w 1156"/>
              <a:gd name="T15" fmla="*/ 104602 h 900"/>
              <a:gd name="T16" fmla="*/ 154541 w 1156"/>
              <a:gd name="T17" fmla="*/ 90936 h 900"/>
              <a:gd name="T18" fmla="*/ 113185 w 1156"/>
              <a:gd name="T19" fmla="*/ 71487 h 900"/>
              <a:gd name="T20" fmla="*/ 99255 w 1156"/>
              <a:gd name="T21" fmla="*/ 45205 h 900"/>
              <a:gd name="T22" fmla="*/ 95772 w 1156"/>
              <a:gd name="T23" fmla="*/ 12090 h 900"/>
              <a:gd name="T24" fmla="*/ 81841 w 1156"/>
              <a:gd name="T25" fmla="*/ 526 h 900"/>
              <a:gd name="T26" fmla="*/ 67476 w 1156"/>
              <a:gd name="T27" fmla="*/ 11038 h 900"/>
              <a:gd name="T28" fmla="*/ 59204 w 1156"/>
              <a:gd name="T29" fmla="*/ 35218 h 900"/>
              <a:gd name="T30" fmla="*/ 34391 w 1156"/>
              <a:gd name="T31" fmla="*/ 28385 h 900"/>
              <a:gd name="T32" fmla="*/ 1741 w 1156"/>
              <a:gd name="T33" fmla="*/ 8410 h 900"/>
              <a:gd name="T34" fmla="*/ 2177 w 1156"/>
              <a:gd name="T35" fmla="*/ 37846 h 900"/>
              <a:gd name="T36" fmla="*/ 19590 w 1156"/>
              <a:gd name="T37" fmla="*/ 76743 h 900"/>
              <a:gd name="T38" fmla="*/ 31779 w 1156"/>
              <a:gd name="T39" fmla="*/ 107756 h 900"/>
              <a:gd name="T40" fmla="*/ 58769 w 1156"/>
              <a:gd name="T41" fmla="*/ 149281 h 900"/>
              <a:gd name="T42" fmla="*/ 53110 w 1156"/>
              <a:gd name="T43" fmla="*/ 166102 h 900"/>
              <a:gd name="T44" fmla="*/ 57898 w 1156"/>
              <a:gd name="T45" fmla="*/ 194486 h 900"/>
              <a:gd name="T46" fmla="*/ 81841 w 1156"/>
              <a:gd name="T47" fmla="*/ 224973 h 900"/>
              <a:gd name="T48" fmla="*/ 112750 w 1156"/>
              <a:gd name="T49" fmla="*/ 239691 h 900"/>
              <a:gd name="T50" fmla="*/ 112750 w 1156"/>
              <a:gd name="T51" fmla="*/ 275435 h 900"/>
              <a:gd name="T52" fmla="*/ 145835 w 1156"/>
              <a:gd name="T53" fmla="*/ 305396 h 900"/>
              <a:gd name="T54" fmla="*/ 184143 w 1156"/>
              <a:gd name="T55" fmla="*/ 349024 h 900"/>
              <a:gd name="T56" fmla="*/ 205039 w 1156"/>
              <a:gd name="T57" fmla="*/ 378460 h 900"/>
              <a:gd name="T58" fmla="*/ 219405 w 1156"/>
              <a:gd name="T59" fmla="*/ 385293 h 900"/>
              <a:gd name="T60" fmla="*/ 235947 w 1156"/>
              <a:gd name="T61" fmla="*/ 396857 h 900"/>
              <a:gd name="T62" fmla="*/ 260326 w 1156"/>
              <a:gd name="T63" fmla="*/ 413678 h 900"/>
              <a:gd name="T64" fmla="*/ 298199 w 1156"/>
              <a:gd name="T65" fmla="*/ 417883 h 900"/>
              <a:gd name="T66" fmla="*/ 318659 w 1156"/>
              <a:gd name="T67" fmla="*/ 409998 h 900"/>
              <a:gd name="T68" fmla="*/ 339120 w 1156"/>
              <a:gd name="T69" fmla="*/ 401588 h 900"/>
              <a:gd name="T70" fmla="*/ 348697 w 1156"/>
              <a:gd name="T71" fmla="*/ 418409 h 900"/>
              <a:gd name="T72" fmla="*/ 353921 w 1156"/>
              <a:gd name="T73" fmla="*/ 450473 h 900"/>
              <a:gd name="T74" fmla="*/ 380476 w 1156"/>
              <a:gd name="T75" fmla="*/ 459408 h 900"/>
              <a:gd name="T76" fmla="*/ 440116 w 1156"/>
              <a:gd name="T77" fmla="*/ 468870 h 900"/>
              <a:gd name="T78" fmla="*/ 474942 w 1156"/>
              <a:gd name="T79" fmla="*/ 462037 h 900"/>
              <a:gd name="T80" fmla="*/ 478424 w 1156"/>
              <a:gd name="T81" fmla="*/ 436806 h 900"/>
              <a:gd name="T82" fmla="*/ 503238 w 1156"/>
              <a:gd name="T83" fmla="*/ 404742 h 900"/>
              <a:gd name="T84" fmla="*/ 492790 w 1156"/>
              <a:gd name="T85" fmla="*/ 394229 h 900"/>
              <a:gd name="T86" fmla="*/ 477118 w 1156"/>
              <a:gd name="T87" fmla="*/ 372152 h 900"/>
              <a:gd name="T88" fmla="*/ 448822 w 1156"/>
              <a:gd name="T89" fmla="*/ 337986 h 900"/>
              <a:gd name="T90" fmla="*/ 443163 w 1156"/>
              <a:gd name="T91" fmla="*/ 316960 h 900"/>
              <a:gd name="T92" fmla="*/ 454481 w 1156"/>
              <a:gd name="T93" fmla="*/ 293832 h 900"/>
              <a:gd name="T94" fmla="*/ 456223 w 1156"/>
              <a:gd name="T95" fmla="*/ 276486 h 900"/>
              <a:gd name="T96" fmla="*/ 448387 w 1156"/>
              <a:gd name="T97" fmla="*/ 269127 h 900"/>
              <a:gd name="T98" fmla="*/ 427926 w 1156"/>
              <a:gd name="T99" fmla="*/ 266499 h 900"/>
              <a:gd name="T100" fmla="*/ 415302 w 1156"/>
              <a:gd name="T101" fmla="*/ 238114 h 900"/>
              <a:gd name="T102" fmla="*/ 407901 w 1156"/>
              <a:gd name="T103" fmla="*/ 196063 h 900"/>
              <a:gd name="T104" fmla="*/ 402242 w 1156"/>
              <a:gd name="T105" fmla="*/ 187653 h 900"/>
              <a:gd name="T106" fmla="*/ 409207 w 1156"/>
              <a:gd name="T107" fmla="*/ 175563 h 900"/>
              <a:gd name="T108" fmla="*/ 417914 w 1156"/>
              <a:gd name="T109" fmla="*/ 154012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07" name="Freeform 257">
            <a:extLst>
              <a:ext uri="{FF2B5EF4-FFF2-40B4-BE49-F238E27FC236}">
                <a16:creationId xmlns:a16="http://schemas.microsoft.com/office/drawing/2014/main" id="{D4856E93-317A-4B30-BF55-F31029D81807}"/>
              </a:ext>
            </a:extLst>
          </p:cNvPr>
          <p:cNvSpPr>
            <a:spLocks/>
          </p:cNvSpPr>
          <p:nvPr>
            <p:custDataLst>
              <p:tags r:id="rId184"/>
            </p:custDataLst>
          </p:nvPr>
        </p:nvSpPr>
        <p:spPr bwMode="auto">
          <a:xfrm>
            <a:off x="9890370" y="6298384"/>
            <a:ext cx="525467" cy="485046"/>
          </a:xfrm>
          <a:custGeom>
            <a:avLst/>
            <a:gdLst>
              <a:gd name="T0" fmla="*/ 11277 w 571"/>
              <a:gd name="T1" fmla="*/ 98045 h 443"/>
              <a:gd name="T2" fmla="*/ 16047 w 571"/>
              <a:gd name="T3" fmla="*/ 91337 h 443"/>
              <a:gd name="T4" fmla="*/ 17782 w 571"/>
              <a:gd name="T5" fmla="*/ 84628 h 443"/>
              <a:gd name="T6" fmla="*/ 16915 w 571"/>
              <a:gd name="T7" fmla="*/ 66567 h 443"/>
              <a:gd name="T8" fmla="*/ 19083 w 571"/>
              <a:gd name="T9" fmla="*/ 61923 h 443"/>
              <a:gd name="T10" fmla="*/ 23854 w 571"/>
              <a:gd name="T11" fmla="*/ 57795 h 443"/>
              <a:gd name="T12" fmla="*/ 29492 w 571"/>
              <a:gd name="T13" fmla="*/ 55215 h 443"/>
              <a:gd name="T14" fmla="*/ 34697 w 571"/>
              <a:gd name="T15" fmla="*/ 53667 h 443"/>
              <a:gd name="T16" fmla="*/ 44672 w 571"/>
              <a:gd name="T17" fmla="*/ 54699 h 443"/>
              <a:gd name="T18" fmla="*/ 53780 w 571"/>
              <a:gd name="T19" fmla="*/ 56247 h 443"/>
              <a:gd name="T20" fmla="*/ 68527 w 571"/>
              <a:gd name="T21" fmla="*/ 61923 h 443"/>
              <a:gd name="T22" fmla="*/ 79803 w 571"/>
              <a:gd name="T23" fmla="*/ 69664 h 443"/>
              <a:gd name="T24" fmla="*/ 89345 w 571"/>
              <a:gd name="T25" fmla="*/ 79468 h 443"/>
              <a:gd name="T26" fmla="*/ 110163 w 571"/>
              <a:gd name="T27" fmla="*/ 47474 h 443"/>
              <a:gd name="T28" fmla="*/ 123608 w 571"/>
              <a:gd name="T29" fmla="*/ 25285 h 443"/>
              <a:gd name="T30" fmla="*/ 233337 w 571"/>
              <a:gd name="T31" fmla="*/ 22189 h 443"/>
              <a:gd name="T32" fmla="*/ 241578 w 571"/>
              <a:gd name="T33" fmla="*/ 40250 h 443"/>
              <a:gd name="T34" fmla="*/ 243747 w 571"/>
              <a:gd name="T35" fmla="*/ 50571 h 443"/>
              <a:gd name="T36" fmla="*/ 244614 w 571"/>
              <a:gd name="T37" fmla="*/ 63471 h 443"/>
              <a:gd name="T38" fmla="*/ 246349 w 571"/>
              <a:gd name="T39" fmla="*/ 77920 h 443"/>
              <a:gd name="T40" fmla="*/ 247650 w 571"/>
              <a:gd name="T41" fmla="*/ 91853 h 443"/>
              <a:gd name="T42" fmla="*/ 244614 w 571"/>
              <a:gd name="T43" fmla="*/ 92885 h 443"/>
              <a:gd name="T44" fmla="*/ 243747 w 571"/>
              <a:gd name="T45" fmla="*/ 92369 h 443"/>
              <a:gd name="T46" fmla="*/ 242012 w 571"/>
              <a:gd name="T47" fmla="*/ 94949 h 443"/>
              <a:gd name="T48" fmla="*/ 237675 w 571"/>
              <a:gd name="T49" fmla="*/ 106818 h 443"/>
              <a:gd name="T50" fmla="*/ 231603 w 571"/>
              <a:gd name="T51" fmla="*/ 116106 h 443"/>
              <a:gd name="T52" fmla="*/ 223362 w 571"/>
              <a:gd name="T53" fmla="*/ 123330 h 443"/>
              <a:gd name="T54" fmla="*/ 214254 w 571"/>
              <a:gd name="T55" fmla="*/ 128491 h 443"/>
              <a:gd name="T56" fmla="*/ 175654 w 571"/>
              <a:gd name="T57" fmla="*/ 146036 h 443"/>
              <a:gd name="T58" fmla="*/ 150498 w 571"/>
              <a:gd name="T59" fmla="*/ 158420 h 443"/>
              <a:gd name="T60" fmla="*/ 127945 w 571"/>
              <a:gd name="T61" fmla="*/ 169257 h 443"/>
              <a:gd name="T62" fmla="*/ 106260 w 571"/>
              <a:gd name="T63" fmla="*/ 178029 h 443"/>
              <a:gd name="T64" fmla="*/ 80671 w 571"/>
              <a:gd name="T65" fmla="*/ 187318 h 443"/>
              <a:gd name="T66" fmla="*/ 72430 w 571"/>
              <a:gd name="T67" fmla="*/ 191446 h 443"/>
              <a:gd name="T68" fmla="*/ 64623 w 571"/>
              <a:gd name="T69" fmla="*/ 196606 h 443"/>
              <a:gd name="T70" fmla="*/ 51612 w 571"/>
              <a:gd name="T71" fmla="*/ 207959 h 443"/>
              <a:gd name="T72" fmla="*/ 39902 w 571"/>
              <a:gd name="T73" fmla="*/ 219828 h 443"/>
              <a:gd name="T74" fmla="*/ 29059 w 571"/>
              <a:gd name="T75" fmla="*/ 228600 h 443"/>
              <a:gd name="T76" fmla="*/ 21686 w 571"/>
              <a:gd name="T77" fmla="*/ 195058 h 443"/>
              <a:gd name="T78" fmla="*/ 14313 w 571"/>
              <a:gd name="T79" fmla="*/ 161516 h 443"/>
              <a:gd name="T80" fmla="*/ 6939 w 571"/>
              <a:gd name="T81" fmla="*/ 129523 h 443"/>
              <a:gd name="T82" fmla="*/ 0 w 571"/>
              <a:gd name="T83" fmla="*/ 101141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08" name="Freeform 258">
            <a:extLst>
              <a:ext uri="{FF2B5EF4-FFF2-40B4-BE49-F238E27FC236}">
                <a16:creationId xmlns:a16="http://schemas.microsoft.com/office/drawing/2014/main" id="{6A780FA2-446A-4B67-9795-A059CDB49BE3}"/>
              </a:ext>
            </a:extLst>
          </p:cNvPr>
          <p:cNvSpPr>
            <a:spLocks/>
          </p:cNvSpPr>
          <p:nvPr>
            <p:custDataLst>
              <p:tags r:id="rId185"/>
            </p:custDataLst>
          </p:nvPr>
        </p:nvSpPr>
        <p:spPr bwMode="auto">
          <a:xfrm>
            <a:off x="10304679" y="5820074"/>
            <a:ext cx="255997" cy="255997"/>
          </a:xfrm>
          <a:custGeom>
            <a:avLst/>
            <a:gdLst>
              <a:gd name="T0" fmla="*/ 0 w 286"/>
              <a:gd name="T1" fmla="*/ 58737 h 228"/>
              <a:gd name="T2" fmla="*/ 1687 w 286"/>
              <a:gd name="T3" fmla="*/ 57679 h 228"/>
              <a:gd name="T4" fmla="*/ 2953 w 286"/>
              <a:gd name="T5" fmla="*/ 57679 h 228"/>
              <a:gd name="T6" fmla="*/ 4219 w 286"/>
              <a:gd name="T7" fmla="*/ 58208 h 228"/>
              <a:gd name="T8" fmla="*/ 4640 w 286"/>
              <a:gd name="T9" fmla="*/ 58737 h 228"/>
              <a:gd name="T10" fmla="*/ 5062 w 286"/>
              <a:gd name="T11" fmla="*/ 61912 h 228"/>
              <a:gd name="T12" fmla="*/ 5484 w 286"/>
              <a:gd name="T13" fmla="*/ 65087 h 228"/>
              <a:gd name="T14" fmla="*/ 5906 w 286"/>
              <a:gd name="T15" fmla="*/ 67733 h 228"/>
              <a:gd name="T16" fmla="*/ 6750 w 286"/>
              <a:gd name="T17" fmla="*/ 69321 h 228"/>
              <a:gd name="T18" fmla="*/ 8015 w 286"/>
              <a:gd name="T19" fmla="*/ 70908 h 228"/>
              <a:gd name="T20" fmla="*/ 10124 w 286"/>
              <a:gd name="T21" fmla="*/ 71967 h 228"/>
              <a:gd name="T22" fmla="*/ 12234 w 286"/>
              <a:gd name="T23" fmla="*/ 72496 h 228"/>
              <a:gd name="T24" fmla="*/ 15609 w 286"/>
              <a:gd name="T25" fmla="*/ 73025 h 228"/>
              <a:gd name="T26" fmla="*/ 20249 w 286"/>
              <a:gd name="T27" fmla="*/ 73025 h 228"/>
              <a:gd name="T28" fmla="*/ 25311 w 286"/>
              <a:gd name="T29" fmla="*/ 71967 h 228"/>
              <a:gd name="T30" fmla="*/ 41342 w 286"/>
              <a:gd name="T31" fmla="*/ 68792 h 228"/>
              <a:gd name="T32" fmla="*/ 54419 w 286"/>
              <a:gd name="T33" fmla="*/ 64558 h 228"/>
              <a:gd name="T34" fmla="*/ 60325 w 286"/>
              <a:gd name="T35" fmla="*/ 62442 h 228"/>
              <a:gd name="T36" fmla="*/ 65809 w 286"/>
              <a:gd name="T37" fmla="*/ 60325 h 228"/>
              <a:gd name="T38" fmla="*/ 70449 w 286"/>
              <a:gd name="T39" fmla="*/ 57679 h 228"/>
              <a:gd name="T40" fmla="*/ 75090 w 286"/>
              <a:gd name="T41" fmla="*/ 54504 h 228"/>
              <a:gd name="T42" fmla="*/ 79308 w 286"/>
              <a:gd name="T43" fmla="*/ 50800 h 228"/>
              <a:gd name="T44" fmla="*/ 83527 w 286"/>
              <a:gd name="T45" fmla="*/ 46038 h 228"/>
              <a:gd name="T46" fmla="*/ 87745 w 286"/>
              <a:gd name="T47" fmla="*/ 41275 h 228"/>
              <a:gd name="T48" fmla="*/ 92386 w 286"/>
              <a:gd name="T49" fmla="*/ 34396 h 228"/>
              <a:gd name="T50" fmla="*/ 96604 w 286"/>
              <a:gd name="T51" fmla="*/ 27517 h 228"/>
              <a:gd name="T52" fmla="*/ 101667 w 286"/>
              <a:gd name="T53" fmla="*/ 19579 h 228"/>
              <a:gd name="T54" fmla="*/ 106729 w 286"/>
              <a:gd name="T55" fmla="*/ 10583 h 228"/>
              <a:gd name="T56" fmla="*/ 112213 w 286"/>
              <a:gd name="T57" fmla="*/ 0 h 228"/>
              <a:gd name="T58" fmla="*/ 113900 w 286"/>
              <a:gd name="T59" fmla="*/ 3704 h 228"/>
              <a:gd name="T60" fmla="*/ 115588 w 286"/>
              <a:gd name="T61" fmla="*/ 6879 h 228"/>
              <a:gd name="T62" fmla="*/ 116431 w 286"/>
              <a:gd name="T63" fmla="*/ 10583 h 228"/>
              <a:gd name="T64" fmla="*/ 117697 w 286"/>
              <a:gd name="T65" fmla="*/ 14287 h 228"/>
              <a:gd name="T66" fmla="*/ 118963 w 286"/>
              <a:gd name="T67" fmla="*/ 22225 h 228"/>
              <a:gd name="T68" fmla="*/ 120650 w 286"/>
              <a:gd name="T69" fmla="*/ 32808 h 228"/>
              <a:gd name="T70" fmla="*/ 103776 w 286"/>
              <a:gd name="T71" fmla="*/ 104775 h 228"/>
              <a:gd name="T72" fmla="*/ 95339 w 286"/>
              <a:gd name="T73" fmla="*/ 120650 h 228"/>
              <a:gd name="T74" fmla="*/ 22358 w 286"/>
              <a:gd name="T75" fmla="*/ 111125 h 228"/>
              <a:gd name="T76" fmla="*/ 0 w 286"/>
              <a:gd name="T77" fmla="*/ 5873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09" name="Freeform 259">
            <a:extLst>
              <a:ext uri="{FF2B5EF4-FFF2-40B4-BE49-F238E27FC236}">
                <a16:creationId xmlns:a16="http://schemas.microsoft.com/office/drawing/2014/main" id="{B7A4CBD8-BE27-4958-BEAC-72019BDCE9D7}"/>
              </a:ext>
            </a:extLst>
          </p:cNvPr>
          <p:cNvSpPr>
            <a:spLocks/>
          </p:cNvSpPr>
          <p:nvPr>
            <p:custDataLst>
              <p:tags r:id="rId186"/>
            </p:custDataLst>
          </p:nvPr>
        </p:nvSpPr>
        <p:spPr bwMode="auto">
          <a:xfrm>
            <a:off x="9641110" y="5082399"/>
            <a:ext cx="471573" cy="559150"/>
          </a:xfrm>
          <a:custGeom>
            <a:avLst/>
            <a:gdLst>
              <a:gd name="T0" fmla="*/ 202740 w 524"/>
              <a:gd name="T1" fmla="*/ 193078 h 505"/>
              <a:gd name="T2" fmla="*/ 205284 w 524"/>
              <a:gd name="T3" fmla="*/ 180554 h 505"/>
              <a:gd name="T4" fmla="*/ 204860 w 524"/>
              <a:gd name="T5" fmla="*/ 171683 h 505"/>
              <a:gd name="T6" fmla="*/ 202740 w 524"/>
              <a:gd name="T7" fmla="*/ 157593 h 505"/>
              <a:gd name="T8" fmla="*/ 192984 w 524"/>
              <a:gd name="T9" fmla="*/ 156028 h 505"/>
              <a:gd name="T10" fmla="*/ 182805 w 524"/>
              <a:gd name="T11" fmla="*/ 150288 h 505"/>
              <a:gd name="T12" fmla="*/ 172625 w 524"/>
              <a:gd name="T13" fmla="*/ 142982 h 505"/>
              <a:gd name="T14" fmla="*/ 163719 w 524"/>
              <a:gd name="T15" fmla="*/ 133589 h 505"/>
              <a:gd name="T16" fmla="*/ 155236 w 524"/>
              <a:gd name="T17" fmla="*/ 123674 h 505"/>
              <a:gd name="T18" fmla="*/ 149298 w 524"/>
              <a:gd name="T19" fmla="*/ 112716 h 505"/>
              <a:gd name="T20" fmla="*/ 145056 w 524"/>
              <a:gd name="T21" fmla="*/ 102279 h 505"/>
              <a:gd name="T22" fmla="*/ 143784 w 524"/>
              <a:gd name="T23" fmla="*/ 92886 h 505"/>
              <a:gd name="T24" fmla="*/ 144632 w 524"/>
              <a:gd name="T25" fmla="*/ 84537 h 505"/>
              <a:gd name="T26" fmla="*/ 148025 w 524"/>
              <a:gd name="T27" fmla="*/ 78275 h 505"/>
              <a:gd name="T28" fmla="*/ 154812 w 524"/>
              <a:gd name="T29" fmla="*/ 70969 h 505"/>
              <a:gd name="T30" fmla="*/ 150146 w 524"/>
              <a:gd name="T31" fmla="*/ 67838 h 505"/>
              <a:gd name="T32" fmla="*/ 144632 w 524"/>
              <a:gd name="T33" fmla="*/ 62098 h 505"/>
              <a:gd name="T34" fmla="*/ 133604 w 524"/>
              <a:gd name="T35" fmla="*/ 45399 h 505"/>
              <a:gd name="T36" fmla="*/ 123849 w 524"/>
              <a:gd name="T37" fmla="*/ 26613 h 505"/>
              <a:gd name="T38" fmla="*/ 118335 w 524"/>
              <a:gd name="T39" fmla="*/ 13046 h 505"/>
              <a:gd name="T40" fmla="*/ 110277 w 524"/>
              <a:gd name="T41" fmla="*/ 12524 h 505"/>
              <a:gd name="T42" fmla="*/ 101370 w 524"/>
              <a:gd name="T43" fmla="*/ 9915 h 505"/>
              <a:gd name="T44" fmla="*/ 92887 w 524"/>
              <a:gd name="T45" fmla="*/ 5740 h 505"/>
              <a:gd name="T46" fmla="*/ 83556 w 524"/>
              <a:gd name="T47" fmla="*/ 3131 h 505"/>
              <a:gd name="T48" fmla="*/ 72104 w 524"/>
              <a:gd name="T49" fmla="*/ 1565 h 505"/>
              <a:gd name="T50" fmla="*/ 63197 w 524"/>
              <a:gd name="T51" fmla="*/ 4175 h 505"/>
              <a:gd name="T52" fmla="*/ 48352 w 524"/>
              <a:gd name="T53" fmla="*/ 21395 h 505"/>
              <a:gd name="T54" fmla="*/ 41566 w 524"/>
              <a:gd name="T55" fmla="*/ 29744 h 505"/>
              <a:gd name="T56" fmla="*/ 39445 w 524"/>
              <a:gd name="T57" fmla="*/ 33397 h 505"/>
              <a:gd name="T58" fmla="*/ 39869 w 524"/>
              <a:gd name="T59" fmla="*/ 49052 h 505"/>
              <a:gd name="T60" fmla="*/ 40293 w 524"/>
              <a:gd name="T61" fmla="*/ 73056 h 505"/>
              <a:gd name="T62" fmla="*/ 39869 w 524"/>
              <a:gd name="T63" fmla="*/ 85580 h 505"/>
              <a:gd name="T64" fmla="*/ 36476 w 524"/>
              <a:gd name="T65" fmla="*/ 93930 h 505"/>
              <a:gd name="T66" fmla="*/ 28417 w 524"/>
              <a:gd name="T67" fmla="*/ 102801 h 505"/>
              <a:gd name="T68" fmla="*/ 16966 w 524"/>
              <a:gd name="T69" fmla="*/ 111672 h 505"/>
              <a:gd name="T70" fmla="*/ 5514 w 524"/>
              <a:gd name="T71" fmla="*/ 118978 h 505"/>
              <a:gd name="T72" fmla="*/ 848 w 524"/>
              <a:gd name="T73" fmla="*/ 128371 h 505"/>
              <a:gd name="T74" fmla="*/ 848 w 524"/>
              <a:gd name="T75" fmla="*/ 137764 h 505"/>
              <a:gd name="T76" fmla="*/ 0 w 524"/>
              <a:gd name="T77" fmla="*/ 145069 h 505"/>
              <a:gd name="T78" fmla="*/ 0 w 524"/>
              <a:gd name="T79" fmla="*/ 150809 h 505"/>
              <a:gd name="T80" fmla="*/ 2969 w 524"/>
              <a:gd name="T81" fmla="*/ 157071 h 505"/>
              <a:gd name="T82" fmla="*/ 11028 w 524"/>
              <a:gd name="T83" fmla="*/ 163855 h 505"/>
              <a:gd name="T84" fmla="*/ 26297 w 524"/>
              <a:gd name="T85" fmla="*/ 172726 h 505"/>
              <a:gd name="T86" fmla="*/ 50897 w 524"/>
              <a:gd name="T87" fmla="*/ 185250 h 505"/>
              <a:gd name="T88" fmla="*/ 76345 w 524"/>
              <a:gd name="T89" fmla="*/ 195165 h 505"/>
              <a:gd name="T90" fmla="*/ 90766 w 524"/>
              <a:gd name="T91" fmla="*/ 200905 h 505"/>
              <a:gd name="T92" fmla="*/ 100521 w 524"/>
              <a:gd name="T93" fmla="*/ 208733 h 505"/>
              <a:gd name="T94" fmla="*/ 106884 w 524"/>
              <a:gd name="T95" fmla="*/ 218126 h 505"/>
              <a:gd name="T96" fmla="*/ 111125 w 524"/>
              <a:gd name="T97" fmla="*/ 226997 h 505"/>
              <a:gd name="T98" fmla="*/ 112822 w 524"/>
              <a:gd name="T99" fmla="*/ 235346 h 505"/>
              <a:gd name="T100" fmla="*/ 114518 w 524"/>
              <a:gd name="T101" fmla="*/ 244739 h 505"/>
              <a:gd name="T102" fmla="*/ 117487 w 524"/>
              <a:gd name="T103" fmla="*/ 251001 h 505"/>
              <a:gd name="T104" fmla="*/ 121729 w 524"/>
              <a:gd name="T105" fmla="*/ 255176 h 505"/>
              <a:gd name="T106" fmla="*/ 130211 w 524"/>
              <a:gd name="T107" fmla="*/ 259350 h 505"/>
              <a:gd name="T108" fmla="*/ 139118 w 524"/>
              <a:gd name="T109" fmla="*/ 262481 h 505"/>
              <a:gd name="T110" fmla="*/ 142087 w 524"/>
              <a:gd name="T111" fmla="*/ 260916 h 505"/>
              <a:gd name="T112" fmla="*/ 146753 w 524"/>
              <a:gd name="T113" fmla="*/ 260394 h 505"/>
              <a:gd name="T114" fmla="*/ 155236 w 524"/>
              <a:gd name="T115" fmla="*/ 262481 h 505"/>
              <a:gd name="T116" fmla="*/ 162446 w 524"/>
              <a:gd name="T117" fmla="*/ 263525 h 505"/>
              <a:gd name="T118" fmla="*/ 185350 w 524"/>
              <a:gd name="T119" fmla="*/ 263525 h 505"/>
              <a:gd name="T120" fmla="*/ 197226 w 524"/>
              <a:gd name="T121" fmla="*/ 234302 h 505"/>
              <a:gd name="T122" fmla="*/ 208677 w 524"/>
              <a:gd name="T123" fmla="*/ 22804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10" name="Freeform 260">
            <a:extLst>
              <a:ext uri="{FF2B5EF4-FFF2-40B4-BE49-F238E27FC236}">
                <a16:creationId xmlns:a16="http://schemas.microsoft.com/office/drawing/2014/main" id="{36F2BE92-1892-41E9-B373-34AA4CD79F83}"/>
              </a:ext>
            </a:extLst>
          </p:cNvPr>
          <p:cNvSpPr>
            <a:spLocks/>
          </p:cNvSpPr>
          <p:nvPr>
            <p:custDataLst>
              <p:tags r:id="rId187"/>
            </p:custDataLst>
          </p:nvPr>
        </p:nvSpPr>
        <p:spPr bwMode="auto">
          <a:xfrm>
            <a:off x="10702148" y="4998191"/>
            <a:ext cx="703991" cy="616412"/>
          </a:xfrm>
          <a:custGeom>
            <a:avLst/>
            <a:gdLst>
              <a:gd name="T0" fmla="*/ 26925 w 764"/>
              <a:gd name="T1" fmla="*/ 102595 h 555"/>
              <a:gd name="T2" fmla="*/ 40388 w 764"/>
              <a:gd name="T3" fmla="*/ 99455 h 555"/>
              <a:gd name="T4" fmla="*/ 55588 w 764"/>
              <a:gd name="T5" fmla="*/ 95267 h 555"/>
              <a:gd name="T6" fmla="*/ 75999 w 764"/>
              <a:gd name="T7" fmla="*/ 79040 h 555"/>
              <a:gd name="T8" fmla="*/ 84250 w 764"/>
              <a:gd name="T9" fmla="*/ 65954 h 555"/>
              <a:gd name="T10" fmla="*/ 86421 w 764"/>
              <a:gd name="T11" fmla="*/ 46063 h 555"/>
              <a:gd name="T12" fmla="*/ 90330 w 764"/>
              <a:gd name="T13" fmla="*/ 36118 h 555"/>
              <a:gd name="T14" fmla="*/ 104227 w 764"/>
              <a:gd name="T15" fmla="*/ 31407 h 555"/>
              <a:gd name="T16" fmla="*/ 127678 w 764"/>
              <a:gd name="T17" fmla="*/ 32454 h 555"/>
              <a:gd name="T18" fmla="*/ 142877 w 764"/>
              <a:gd name="T19" fmla="*/ 37165 h 555"/>
              <a:gd name="T20" fmla="*/ 157208 w 764"/>
              <a:gd name="T21" fmla="*/ 47110 h 555"/>
              <a:gd name="T22" fmla="*/ 167631 w 764"/>
              <a:gd name="T23" fmla="*/ 48680 h 555"/>
              <a:gd name="T24" fmla="*/ 181962 w 764"/>
              <a:gd name="T25" fmla="*/ 43969 h 555"/>
              <a:gd name="T26" fmla="*/ 199768 w 764"/>
              <a:gd name="T27" fmla="*/ 31930 h 555"/>
              <a:gd name="T28" fmla="*/ 208019 w 764"/>
              <a:gd name="T29" fmla="*/ 17274 h 555"/>
              <a:gd name="T30" fmla="*/ 220613 w 764"/>
              <a:gd name="T31" fmla="*/ 2094 h 555"/>
              <a:gd name="T32" fmla="*/ 230167 w 764"/>
              <a:gd name="T33" fmla="*/ 9945 h 555"/>
              <a:gd name="T34" fmla="*/ 238853 w 764"/>
              <a:gd name="T35" fmla="*/ 23555 h 555"/>
              <a:gd name="T36" fmla="*/ 243630 w 764"/>
              <a:gd name="T37" fmla="*/ 45540 h 555"/>
              <a:gd name="T38" fmla="*/ 247538 w 764"/>
              <a:gd name="T39" fmla="*/ 52868 h 555"/>
              <a:gd name="T40" fmla="*/ 255789 w 764"/>
              <a:gd name="T41" fmla="*/ 54438 h 555"/>
              <a:gd name="T42" fmla="*/ 270121 w 764"/>
              <a:gd name="T43" fmla="*/ 38211 h 555"/>
              <a:gd name="T44" fmla="*/ 322668 w 764"/>
              <a:gd name="T45" fmla="*/ 34547 h 555"/>
              <a:gd name="T46" fmla="*/ 329617 w 764"/>
              <a:gd name="T47" fmla="*/ 45540 h 555"/>
              <a:gd name="T48" fmla="*/ 294874 w 764"/>
              <a:gd name="T49" fmla="*/ 52345 h 555"/>
              <a:gd name="T50" fmla="*/ 262738 w 764"/>
              <a:gd name="T51" fmla="*/ 58626 h 555"/>
              <a:gd name="T52" fmla="*/ 249275 w 764"/>
              <a:gd name="T53" fmla="*/ 68048 h 555"/>
              <a:gd name="T54" fmla="*/ 247972 w 764"/>
              <a:gd name="T55" fmla="*/ 76946 h 555"/>
              <a:gd name="T56" fmla="*/ 252749 w 764"/>
              <a:gd name="T57" fmla="*/ 85845 h 555"/>
              <a:gd name="T58" fmla="*/ 261001 w 764"/>
              <a:gd name="T59" fmla="*/ 94220 h 555"/>
              <a:gd name="T60" fmla="*/ 262304 w 764"/>
              <a:gd name="T61" fmla="*/ 102072 h 555"/>
              <a:gd name="T62" fmla="*/ 257961 w 764"/>
              <a:gd name="T63" fmla="*/ 111494 h 555"/>
              <a:gd name="T64" fmla="*/ 249275 w 764"/>
              <a:gd name="T65" fmla="*/ 124056 h 555"/>
              <a:gd name="T66" fmla="*/ 245367 w 764"/>
              <a:gd name="T67" fmla="*/ 133478 h 555"/>
              <a:gd name="T68" fmla="*/ 235378 w 764"/>
              <a:gd name="T69" fmla="*/ 140807 h 555"/>
              <a:gd name="T70" fmla="*/ 225390 w 764"/>
              <a:gd name="T71" fmla="*/ 162268 h 555"/>
              <a:gd name="T72" fmla="*/ 220613 w 764"/>
              <a:gd name="T73" fmla="*/ 190011 h 555"/>
              <a:gd name="T74" fmla="*/ 215836 w 764"/>
              <a:gd name="T75" fmla="*/ 222464 h 555"/>
              <a:gd name="T76" fmla="*/ 207150 w 764"/>
              <a:gd name="T77" fmla="*/ 215659 h 555"/>
              <a:gd name="T78" fmla="*/ 199768 w 764"/>
              <a:gd name="T79" fmla="*/ 213042 h 555"/>
              <a:gd name="T80" fmla="*/ 190648 w 764"/>
              <a:gd name="T81" fmla="*/ 218800 h 555"/>
              <a:gd name="T82" fmla="*/ 178488 w 764"/>
              <a:gd name="T83" fmla="*/ 230316 h 555"/>
              <a:gd name="T84" fmla="*/ 170671 w 764"/>
              <a:gd name="T85" fmla="*/ 232410 h 555"/>
              <a:gd name="T86" fmla="*/ 162854 w 764"/>
              <a:gd name="T87" fmla="*/ 242355 h 555"/>
              <a:gd name="T88" fmla="*/ 158511 w 764"/>
              <a:gd name="T89" fmla="*/ 267480 h 555"/>
              <a:gd name="T90" fmla="*/ 151997 w 764"/>
              <a:gd name="T91" fmla="*/ 274809 h 555"/>
              <a:gd name="T92" fmla="*/ 117255 w 764"/>
              <a:gd name="T93" fmla="*/ 285801 h 555"/>
              <a:gd name="T94" fmla="*/ 84250 w 764"/>
              <a:gd name="T95" fmla="*/ 289989 h 555"/>
              <a:gd name="T96" fmla="*/ 49073 w 764"/>
              <a:gd name="T97" fmla="*/ 283707 h 555"/>
              <a:gd name="T98" fmla="*/ 41256 w 764"/>
              <a:gd name="T99" fmla="*/ 271145 h 555"/>
              <a:gd name="T100" fmla="*/ 49942 w 764"/>
              <a:gd name="T101" fmla="*/ 255441 h 555"/>
              <a:gd name="T102" fmla="*/ 54285 w 764"/>
              <a:gd name="T103" fmla="*/ 241832 h 555"/>
              <a:gd name="T104" fmla="*/ 53416 w 764"/>
              <a:gd name="T105" fmla="*/ 231363 h 555"/>
              <a:gd name="T106" fmla="*/ 48205 w 764"/>
              <a:gd name="T107" fmla="*/ 226652 h 555"/>
              <a:gd name="T108" fmla="*/ 29965 w 764"/>
              <a:gd name="T109" fmla="*/ 225605 h 555"/>
              <a:gd name="T110" fmla="*/ 22582 w 764"/>
              <a:gd name="T111" fmla="*/ 220370 h 555"/>
              <a:gd name="T112" fmla="*/ 14765 w 764"/>
              <a:gd name="T113" fmla="*/ 201003 h 555"/>
              <a:gd name="T114" fmla="*/ 8251 w 764"/>
              <a:gd name="T115" fmla="*/ 161745 h 555"/>
              <a:gd name="T116" fmla="*/ 4343 w 764"/>
              <a:gd name="T117" fmla="*/ 152323 h 555"/>
              <a:gd name="T118" fmla="*/ 0 w 764"/>
              <a:gd name="T119" fmla="*/ 146565 h 555"/>
              <a:gd name="T120" fmla="*/ 869 w 764"/>
              <a:gd name="T121" fmla="*/ 140283 h 555"/>
              <a:gd name="T122" fmla="*/ 9554 w 764"/>
              <a:gd name="T123" fmla="*/ 129814 h 555"/>
              <a:gd name="T124" fmla="*/ 14765 w 764"/>
              <a:gd name="T125" fmla="*/ 115681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11" name="Freeform 261">
            <a:extLst>
              <a:ext uri="{FF2B5EF4-FFF2-40B4-BE49-F238E27FC236}">
                <a16:creationId xmlns:a16="http://schemas.microsoft.com/office/drawing/2014/main" id="{C721AFD9-C9F3-4D19-BD05-A6D3655D2A05}"/>
              </a:ext>
            </a:extLst>
          </p:cNvPr>
          <p:cNvSpPr>
            <a:spLocks/>
          </p:cNvSpPr>
          <p:nvPr>
            <p:custDataLst>
              <p:tags r:id="rId188"/>
            </p:custDataLst>
          </p:nvPr>
        </p:nvSpPr>
        <p:spPr bwMode="auto">
          <a:xfrm>
            <a:off x="10769515" y="5102609"/>
            <a:ext cx="774726" cy="899357"/>
          </a:xfrm>
          <a:custGeom>
            <a:avLst/>
            <a:gdLst>
              <a:gd name="T0" fmla="*/ 342277 w 831"/>
              <a:gd name="T1" fmla="*/ 42804 h 812"/>
              <a:gd name="T2" fmla="*/ 310642 w 831"/>
              <a:gd name="T3" fmla="*/ 15138 h 812"/>
              <a:gd name="T4" fmla="*/ 246932 w 831"/>
              <a:gd name="T5" fmla="*/ 5220 h 812"/>
              <a:gd name="T6" fmla="*/ 219251 w 831"/>
              <a:gd name="T7" fmla="*/ 15138 h 812"/>
              <a:gd name="T8" fmla="*/ 213539 w 831"/>
              <a:gd name="T9" fmla="*/ 25578 h 812"/>
              <a:gd name="T10" fmla="*/ 218372 w 831"/>
              <a:gd name="T11" fmla="*/ 37062 h 812"/>
              <a:gd name="T12" fmla="*/ 227160 w 831"/>
              <a:gd name="T13" fmla="*/ 46980 h 812"/>
              <a:gd name="T14" fmla="*/ 226720 w 831"/>
              <a:gd name="T15" fmla="*/ 57942 h 812"/>
              <a:gd name="T16" fmla="*/ 215736 w 831"/>
              <a:gd name="T17" fmla="*/ 73080 h 812"/>
              <a:gd name="T18" fmla="*/ 210903 w 831"/>
              <a:gd name="T19" fmla="*/ 84564 h 812"/>
              <a:gd name="T20" fmla="*/ 197721 w 831"/>
              <a:gd name="T21" fmla="*/ 96048 h 812"/>
              <a:gd name="T22" fmla="*/ 187615 w 831"/>
              <a:gd name="T23" fmla="*/ 126846 h 812"/>
              <a:gd name="T24" fmla="*/ 184540 w 831"/>
              <a:gd name="T25" fmla="*/ 173304 h 812"/>
              <a:gd name="T26" fmla="*/ 172237 w 831"/>
              <a:gd name="T27" fmla="*/ 166518 h 812"/>
              <a:gd name="T28" fmla="*/ 162571 w 831"/>
              <a:gd name="T29" fmla="*/ 164430 h 812"/>
              <a:gd name="T30" fmla="*/ 148511 w 831"/>
              <a:gd name="T31" fmla="*/ 176958 h 812"/>
              <a:gd name="T32" fmla="*/ 137526 w 831"/>
              <a:gd name="T33" fmla="*/ 183222 h 812"/>
              <a:gd name="T34" fmla="*/ 127420 w 831"/>
              <a:gd name="T35" fmla="*/ 193140 h 812"/>
              <a:gd name="T36" fmla="*/ 123026 w 831"/>
              <a:gd name="T37" fmla="*/ 221327 h 812"/>
              <a:gd name="T38" fmla="*/ 103254 w 831"/>
              <a:gd name="T39" fmla="*/ 230723 h 812"/>
              <a:gd name="T40" fmla="*/ 55801 w 831"/>
              <a:gd name="T41" fmla="*/ 241163 h 812"/>
              <a:gd name="T42" fmla="*/ 11424 w 831"/>
              <a:gd name="T43" fmla="*/ 234377 h 812"/>
              <a:gd name="T44" fmla="*/ 22408 w 831"/>
              <a:gd name="T45" fmla="*/ 263609 h 812"/>
              <a:gd name="T46" fmla="*/ 42181 w 831"/>
              <a:gd name="T47" fmla="*/ 281879 h 812"/>
              <a:gd name="T48" fmla="*/ 54044 w 831"/>
              <a:gd name="T49" fmla="*/ 301193 h 812"/>
              <a:gd name="T50" fmla="*/ 62392 w 831"/>
              <a:gd name="T51" fmla="*/ 311111 h 812"/>
              <a:gd name="T52" fmla="*/ 43499 w 831"/>
              <a:gd name="T53" fmla="*/ 337733 h 812"/>
              <a:gd name="T54" fmla="*/ 38226 w 831"/>
              <a:gd name="T55" fmla="*/ 350261 h 812"/>
              <a:gd name="T56" fmla="*/ 47892 w 831"/>
              <a:gd name="T57" fmla="*/ 375839 h 812"/>
              <a:gd name="T58" fmla="*/ 97542 w 831"/>
              <a:gd name="T59" fmla="*/ 370619 h 812"/>
              <a:gd name="T60" fmla="*/ 132693 w 831"/>
              <a:gd name="T61" fmla="*/ 368009 h 812"/>
              <a:gd name="T62" fmla="*/ 144995 w 831"/>
              <a:gd name="T63" fmla="*/ 376361 h 812"/>
              <a:gd name="T64" fmla="*/ 157738 w 831"/>
              <a:gd name="T65" fmla="*/ 394631 h 812"/>
              <a:gd name="T66" fmla="*/ 179267 w 831"/>
              <a:gd name="T67" fmla="*/ 409769 h 812"/>
              <a:gd name="T68" fmla="*/ 197282 w 831"/>
              <a:gd name="T69" fmla="*/ 419165 h 812"/>
              <a:gd name="T70" fmla="*/ 202115 w 831"/>
              <a:gd name="T71" fmla="*/ 412901 h 812"/>
              <a:gd name="T72" fmla="*/ 213978 w 831"/>
              <a:gd name="T73" fmla="*/ 404027 h 812"/>
              <a:gd name="T74" fmla="*/ 243417 w 831"/>
              <a:gd name="T75" fmla="*/ 398807 h 812"/>
              <a:gd name="T76" fmla="*/ 262310 w 831"/>
              <a:gd name="T77" fmla="*/ 391499 h 812"/>
              <a:gd name="T78" fmla="*/ 271537 w 831"/>
              <a:gd name="T79" fmla="*/ 379493 h 812"/>
              <a:gd name="T80" fmla="*/ 256598 w 831"/>
              <a:gd name="T81" fmla="*/ 365399 h 812"/>
              <a:gd name="T82" fmla="*/ 238144 w 831"/>
              <a:gd name="T83" fmla="*/ 334601 h 812"/>
              <a:gd name="T84" fmla="*/ 231114 w 831"/>
              <a:gd name="T85" fmla="*/ 325727 h 812"/>
              <a:gd name="T86" fmla="*/ 231114 w 831"/>
              <a:gd name="T87" fmla="*/ 301715 h 812"/>
              <a:gd name="T88" fmla="*/ 255719 w 831"/>
              <a:gd name="T89" fmla="*/ 293885 h 812"/>
              <a:gd name="T90" fmla="*/ 273295 w 831"/>
              <a:gd name="T91" fmla="*/ 277181 h 812"/>
              <a:gd name="T92" fmla="*/ 302294 w 831"/>
              <a:gd name="T93" fmla="*/ 217673 h 812"/>
              <a:gd name="T94" fmla="*/ 320748 w 831"/>
              <a:gd name="T95" fmla="*/ 192096 h 812"/>
              <a:gd name="T96" fmla="*/ 318551 w 831"/>
              <a:gd name="T97" fmla="*/ 172260 h 812"/>
              <a:gd name="T98" fmla="*/ 320308 w 831"/>
              <a:gd name="T99" fmla="*/ 159210 h 812"/>
              <a:gd name="T100" fmla="*/ 329975 w 831"/>
              <a:gd name="T101" fmla="*/ 150858 h 812"/>
              <a:gd name="T102" fmla="*/ 294385 w 831"/>
              <a:gd name="T103" fmla="*/ 108054 h 812"/>
              <a:gd name="T104" fmla="*/ 333050 w 831"/>
              <a:gd name="T105" fmla="*/ 73080 h 812"/>
              <a:gd name="T106" fmla="*/ 353701 w 831"/>
              <a:gd name="T107" fmla="*/ 64206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12" name="Freeform 262">
            <a:extLst>
              <a:ext uri="{FF2B5EF4-FFF2-40B4-BE49-F238E27FC236}">
                <a16:creationId xmlns:a16="http://schemas.microsoft.com/office/drawing/2014/main" id="{E4C05A99-5AF5-42E5-A5C7-40C515E3FFC9}"/>
              </a:ext>
            </a:extLst>
          </p:cNvPr>
          <p:cNvSpPr>
            <a:spLocks/>
          </p:cNvSpPr>
          <p:nvPr>
            <p:custDataLst>
              <p:tags r:id="rId189"/>
            </p:custDataLst>
          </p:nvPr>
        </p:nvSpPr>
        <p:spPr bwMode="auto">
          <a:xfrm>
            <a:off x="12446966" y="5671866"/>
            <a:ext cx="468205" cy="1242929"/>
          </a:xfrm>
          <a:custGeom>
            <a:avLst/>
            <a:gdLst>
              <a:gd name="T0" fmla="*/ 191387 w 505"/>
              <a:gd name="T1" fmla="*/ 557569 h 1121"/>
              <a:gd name="T2" fmla="*/ 193572 w 505"/>
              <a:gd name="T3" fmla="*/ 537189 h 1121"/>
              <a:gd name="T4" fmla="*/ 174346 w 505"/>
              <a:gd name="T5" fmla="*/ 534054 h 1121"/>
              <a:gd name="T6" fmla="*/ 176967 w 505"/>
              <a:gd name="T7" fmla="*/ 500088 h 1121"/>
              <a:gd name="T8" fmla="*/ 183085 w 505"/>
              <a:gd name="T9" fmla="*/ 486501 h 1121"/>
              <a:gd name="T10" fmla="*/ 180463 w 505"/>
              <a:gd name="T11" fmla="*/ 469779 h 1121"/>
              <a:gd name="T12" fmla="*/ 173909 w 505"/>
              <a:gd name="T13" fmla="*/ 466644 h 1121"/>
              <a:gd name="T14" fmla="*/ 166917 w 505"/>
              <a:gd name="T15" fmla="*/ 437903 h 1121"/>
              <a:gd name="T16" fmla="*/ 141574 w 505"/>
              <a:gd name="T17" fmla="*/ 375719 h 1121"/>
              <a:gd name="T18" fmla="*/ 129339 w 505"/>
              <a:gd name="T19" fmla="*/ 367358 h 1121"/>
              <a:gd name="T20" fmla="*/ 123222 w 505"/>
              <a:gd name="T21" fmla="*/ 375196 h 1121"/>
              <a:gd name="T22" fmla="*/ 98752 w 505"/>
              <a:gd name="T23" fmla="*/ 387738 h 1121"/>
              <a:gd name="T24" fmla="*/ 73846 w 505"/>
              <a:gd name="T25" fmla="*/ 384602 h 1121"/>
              <a:gd name="T26" fmla="*/ 58115 w 505"/>
              <a:gd name="T27" fmla="*/ 296290 h 1121"/>
              <a:gd name="T28" fmla="*/ 44133 w 505"/>
              <a:gd name="T29" fmla="*/ 271730 h 1121"/>
              <a:gd name="T30" fmla="*/ 22285 w 505"/>
              <a:gd name="T31" fmla="*/ 262324 h 1121"/>
              <a:gd name="T32" fmla="*/ 3496 w 505"/>
              <a:gd name="T33" fmla="*/ 246125 h 1121"/>
              <a:gd name="T34" fmla="*/ 10050 w 505"/>
              <a:gd name="T35" fmla="*/ 232538 h 1121"/>
              <a:gd name="T36" fmla="*/ 25343 w 505"/>
              <a:gd name="T37" fmla="*/ 188643 h 1121"/>
              <a:gd name="T38" fmla="*/ 29276 w 505"/>
              <a:gd name="T39" fmla="*/ 144748 h 1121"/>
              <a:gd name="T40" fmla="*/ 34957 w 505"/>
              <a:gd name="T41" fmla="*/ 138478 h 1121"/>
              <a:gd name="T42" fmla="*/ 49376 w 505"/>
              <a:gd name="T43" fmla="*/ 134820 h 1121"/>
              <a:gd name="T44" fmla="*/ 58552 w 505"/>
              <a:gd name="T45" fmla="*/ 116008 h 1121"/>
              <a:gd name="T46" fmla="*/ 61174 w 505"/>
              <a:gd name="T47" fmla="*/ 61139 h 1121"/>
              <a:gd name="T48" fmla="*/ 69476 w 505"/>
              <a:gd name="T49" fmla="*/ 51211 h 1121"/>
              <a:gd name="T50" fmla="*/ 93072 w 505"/>
              <a:gd name="T51" fmla="*/ 38669 h 1121"/>
              <a:gd name="T52" fmla="*/ 102248 w 505"/>
              <a:gd name="T53" fmla="*/ 10974 h 1121"/>
              <a:gd name="T54" fmla="*/ 121037 w 505"/>
              <a:gd name="T55" fmla="*/ 16199 h 1121"/>
              <a:gd name="T56" fmla="*/ 136330 w 505"/>
              <a:gd name="T57" fmla="*/ 25605 h 1121"/>
              <a:gd name="T58" fmla="*/ 147254 w 505"/>
              <a:gd name="T59" fmla="*/ 63752 h 1121"/>
              <a:gd name="T60" fmla="*/ 146380 w 505"/>
              <a:gd name="T61" fmla="*/ 87267 h 1121"/>
              <a:gd name="T62" fmla="*/ 131087 w 505"/>
              <a:gd name="T63" fmla="*/ 112872 h 1121"/>
              <a:gd name="T64" fmla="*/ 128028 w 505"/>
              <a:gd name="T65" fmla="*/ 128027 h 1121"/>
              <a:gd name="T66" fmla="*/ 135020 w 505"/>
              <a:gd name="T67" fmla="*/ 136388 h 1121"/>
              <a:gd name="T68" fmla="*/ 151187 w 505"/>
              <a:gd name="T69" fmla="*/ 141091 h 1121"/>
              <a:gd name="T70" fmla="*/ 162111 w 505"/>
              <a:gd name="T71" fmla="*/ 152064 h 1121"/>
              <a:gd name="T72" fmla="*/ 173909 w 505"/>
              <a:gd name="T73" fmla="*/ 180282 h 1121"/>
              <a:gd name="T74" fmla="*/ 187891 w 505"/>
              <a:gd name="T75" fmla="*/ 209023 h 1121"/>
              <a:gd name="T76" fmla="*/ 202748 w 505"/>
              <a:gd name="T77" fmla="*/ 218429 h 1121"/>
              <a:gd name="T78" fmla="*/ 220663 w 505"/>
              <a:gd name="T79" fmla="*/ 218429 h 1121"/>
              <a:gd name="T80" fmla="*/ 207991 w 505"/>
              <a:gd name="T81" fmla="*/ 258143 h 1121"/>
              <a:gd name="T82" fmla="*/ 186580 w 505"/>
              <a:gd name="T83" fmla="*/ 266504 h 1121"/>
              <a:gd name="T84" fmla="*/ 167354 w 505"/>
              <a:gd name="T85" fmla="*/ 275910 h 1121"/>
              <a:gd name="T86" fmla="*/ 157304 w 505"/>
              <a:gd name="T87" fmla="*/ 298903 h 1121"/>
              <a:gd name="T88" fmla="*/ 161674 w 505"/>
              <a:gd name="T89" fmla="*/ 332869 h 1121"/>
              <a:gd name="T90" fmla="*/ 175656 w 505"/>
              <a:gd name="T91" fmla="*/ 356907 h 1121"/>
              <a:gd name="T92" fmla="*/ 187891 w 505"/>
              <a:gd name="T93" fmla="*/ 384080 h 1121"/>
              <a:gd name="T94" fmla="*/ 187017 w 505"/>
              <a:gd name="T95" fmla="*/ 405505 h 1121"/>
              <a:gd name="T96" fmla="*/ 183085 w 505"/>
              <a:gd name="T97" fmla="*/ 418569 h 1121"/>
              <a:gd name="T98" fmla="*/ 190076 w 505"/>
              <a:gd name="T99" fmla="*/ 444696 h 1121"/>
              <a:gd name="T100" fmla="*/ 211050 w 505"/>
              <a:gd name="T101" fmla="*/ 504268 h 1121"/>
              <a:gd name="T102" fmla="*/ 200126 w 505"/>
              <a:gd name="T103" fmla="*/ 56540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13" name="Freeform 263">
            <a:extLst>
              <a:ext uri="{FF2B5EF4-FFF2-40B4-BE49-F238E27FC236}">
                <a16:creationId xmlns:a16="http://schemas.microsoft.com/office/drawing/2014/main" id="{828CBC8C-6BAB-47AD-BA2B-1CEF33727292}"/>
              </a:ext>
            </a:extLst>
          </p:cNvPr>
          <p:cNvSpPr>
            <a:spLocks/>
          </p:cNvSpPr>
          <p:nvPr>
            <p:custDataLst>
              <p:tags r:id="rId190"/>
            </p:custDataLst>
          </p:nvPr>
        </p:nvSpPr>
        <p:spPr bwMode="auto">
          <a:xfrm>
            <a:off x="6767885" y="6753113"/>
            <a:ext cx="171788" cy="124631"/>
          </a:xfrm>
          <a:custGeom>
            <a:avLst/>
            <a:gdLst>
              <a:gd name="T0" fmla="*/ 80963 w 180"/>
              <a:gd name="T1" fmla="*/ 3671 h 112"/>
              <a:gd name="T2" fmla="*/ 76915 w 180"/>
              <a:gd name="T3" fmla="*/ 12587 h 112"/>
              <a:gd name="T4" fmla="*/ 73316 w 180"/>
              <a:gd name="T5" fmla="*/ 20453 h 112"/>
              <a:gd name="T6" fmla="*/ 68369 w 180"/>
              <a:gd name="T7" fmla="*/ 27796 h 112"/>
              <a:gd name="T8" fmla="*/ 63421 w 180"/>
              <a:gd name="T9" fmla="*/ 34613 h 112"/>
              <a:gd name="T10" fmla="*/ 58023 w 180"/>
              <a:gd name="T11" fmla="*/ 41956 h 112"/>
              <a:gd name="T12" fmla="*/ 51726 w 180"/>
              <a:gd name="T13" fmla="*/ 48249 h 112"/>
              <a:gd name="T14" fmla="*/ 45429 w 180"/>
              <a:gd name="T15" fmla="*/ 53494 h 112"/>
              <a:gd name="T16" fmla="*/ 39132 w 180"/>
              <a:gd name="T17" fmla="*/ 58738 h 112"/>
              <a:gd name="T18" fmla="*/ 36883 w 180"/>
              <a:gd name="T19" fmla="*/ 56116 h 112"/>
              <a:gd name="T20" fmla="*/ 35534 w 180"/>
              <a:gd name="T21" fmla="*/ 52969 h 112"/>
              <a:gd name="T22" fmla="*/ 34184 w 180"/>
              <a:gd name="T23" fmla="*/ 49822 h 112"/>
              <a:gd name="T24" fmla="*/ 33285 w 180"/>
              <a:gd name="T25" fmla="*/ 46151 h 112"/>
              <a:gd name="T26" fmla="*/ 31486 w 180"/>
              <a:gd name="T27" fmla="*/ 42480 h 112"/>
              <a:gd name="T28" fmla="*/ 30586 w 180"/>
              <a:gd name="T29" fmla="*/ 38809 h 112"/>
              <a:gd name="T30" fmla="*/ 29237 w 180"/>
              <a:gd name="T31" fmla="*/ 36187 h 112"/>
              <a:gd name="T32" fmla="*/ 26988 w 180"/>
              <a:gd name="T33" fmla="*/ 33040 h 112"/>
              <a:gd name="T34" fmla="*/ 20241 w 180"/>
              <a:gd name="T35" fmla="*/ 25173 h 112"/>
              <a:gd name="T36" fmla="*/ 16193 w 180"/>
              <a:gd name="T37" fmla="*/ 19929 h 112"/>
              <a:gd name="T38" fmla="*/ 13494 w 180"/>
              <a:gd name="T39" fmla="*/ 17307 h 112"/>
              <a:gd name="T40" fmla="*/ 11245 w 180"/>
              <a:gd name="T41" fmla="*/ 16258 h 112"/>
              <a:gd name="T42" fmla="*/ 8096 w 180"/>
              <a:gd name="T43" fmla="*/ 15733 h 112"/>
              <a:gd name="T44" fmla="*/ 0 w 180"/>
              <a:gd name="T45" fmla="*/ 13636 h 112"/>
              <a:gd name="T46" fmla="*/ 11695 w 180"/>
              <a:gd name="T47" fmla="*/ 7342 h 112"/>
              <a:gd name="T48" fmla="*/ 18442 w 180"/>
              <a:gd name="T49" fmla="*/ 4720 h 112"/>
              <a:gd name="T50" fmla="*/ 25188 w 180"/>
              <a:gd name="T51" fmla="*/ 2622 h 112"/>
              <a:gd name="T52" fmla="*/ 33285 w 180"/>
              <a:gd name="T53" fmla="*/ 1573 h 112"/>
              <a:gd name="T54" fmla="*/ 41831 w 180"/>
              <a:gd name="T55" fmla="*/ 524 h 112"/>
              <a:gd name="T56" fmla="*/ 51277 w 180"/>
              <a:gd name="T57" fmla="*/ 0 h 112"/>
              <a:gd name="T58" fmla="*/ 60722 w 180"/>
              <a:gd name="T59" fmla="*/ 524 h 112"/>
              <a:gd name="T60" fmla="*/ 70618 w 180"/>
              <a:gd name="T61" fmla="*/ 1573 h 112"/>
              <a:gd name="T62" fmla="*/ 80963 w 180"/>
              <a:gd name="T63" fmla="*/ 3671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14" name="Freeform 264">
            <a:extLst>
              <a:ext uri="{FF2B5EF4-FFF2-40B4-BE49-F238E27FC236}">
                <a16:creationId xmlns:a16="http://schemas.microsoft.com/office/drawing/2014/main" id="{294BB494-1179-4053-9ED9-FFFE40E6EAD6}"/>
              </a:ext>
            </a:extLst>
          </p:cNvPr>
          <p:cNvSpPr>
            <a:spLocks/>
          </p:cNvSpPr>
          <p:nvPr>
            <p:custDataLst>
              <p:tags r:id="rId191"/>
            </p:custDataLst>
          </p:nvPr>
        </p:nvSpPr>
        <p:spPr bwMode="auto">
          <a:xfrm>
            <a:off x="6946410" y="6928269"/>
            <a:ext cx="158313" cy="212209"/>
          </a:xfrm>
          <a:custGeom>
            <a:avLst/>
            <a:gdLst>
              <a:gd name="T0" fmla="*/ 0 w 173"/>
              <a:gd name="T1" fmla="*/ 35421 h 192"/>
              <a:gd name="T2" fmla="*/ 11645 w 173"/>
              <a:gd name="T3" fmla="*/ 21878 h 192"/>
              <a:gd name="T4" fmla="*/ 21995 w 173"/>
              <a:gd name="T5" fmla="*/ 10939 h 192"/>
              <a:gd name="T6" fmla="*/ 24152 w 173"/>
              <a:gd name="T7" fmla="*/ 8334 h 192"/>
              <a:gd name="T8" fmla="*/ 27171 w 173"/>
              <a:gd name="T9" fmla="*/ 6251 h 192"/>
              <a:gd name="T10" fmla="*/ 30190 w 173"/>
              <a:gd name="T11" fmla="*/ 4167 h 192"/>
              <a:gd name="T12" fmla="*/ 32778 w 173"/>
              <a:gd name="T13" fmla="*/ 3125 h 192"/>
              <a:gd name="T14" fmla="*/ 35797 w 173"/>
              <a:gd name="T15" fmla="*/ 1563 h 192"/>
              <a:gd name="T16" fmla="*/ 38815 w 173"/>
              <a:gd name="T17" fmla="*/ 1042 h 192"/>
              <a:gd name="T18" fmla="*/ 42266 w 173"/>
              <a:gd name="T19" fmla="*/ 521 h 192"/>
              <a:gd name="T20" fmla="*/ 46147 w 173"/>
              <a:gd name="T21" fmla="*/ 0 h 192"/>
              <a:gd name="T22" fmla="*/ 50029 w 173"/>
              <a:gd name="T23" fmla="*/ 521 h 192"/>
              <a:gd name="T24" fmla="*/ 53479 w 173"/>
              <a:gd name="T25" fmla="*/ 1042 h 192"/>
              <a:gd name="T26" fmla="*/ 56929 w 173"/>
              <a:gd name="T27" fmla="*/ 2605 h 192"/>
              <a:gd name="T28" fmla="*/ 59948 w 173"/>
              <a:gd name="T29" fmla="*/ 4167 h 192"/>
              <a:gd name="T30" fmla="*/ 62536 w 173"/>
              <a:gd name="T31" fmla="*/ 6772 h 192"/>
              <a:gd name="T32" fmla="*/ 65124 w 173"/>
              <a:gd name="T33" fmla="*/ 9897 h 192"/>
              <a:gd name="T34" fmla="*/ 66849 w 173"/>
              <a:gd name="T35" fmla="*/ 12502 h 192"/>
              <a:gd name="T36" fmla="*/ 69005 w 173"/>
              <a:gd name="T37" fmla="*/ 15627 h 192"/>
              <a:gd name="T38" fmla="*/ 70299 w 173"/>
              <a:gd name="T39" fmla="*/ 19273 h 192"/>
              <a:gd name="T40" fmla="*/ 71593 w 173"/>
              <a:gd name="T41" fmla="*/ 22399 h 192"/>
              <a:gd name="T42" fmla="*/ 72456 w 173"/>
              <a:gd name="T43" fmla="*/ 26045 h 192"/>
              <a:gd name="T44" fmla="*/ 72887 w 173"/>
              <a:gd name="T45" fmla="*/ 29691 h 192"/>
              <a:gd name="T46" fmla="*/ 74181 w 173"/>
              <a:gd name="T47" fmla="*/ 37505 h 192"/>
              <a:gd name="T48" fmla="*/ 74612 w 173"/>
              <a:gd name="T49" fmla="*/ 45318 h 192"/>
              <a:gd name="T50" fmla="*/ 67711 w 173"/>
              <a:gd name="T51" fmla="*/ 59383 h 192"/>
              <a:gd name="T52" fmla="*/ 62967 w 173"/>
              <a:gd name="T53" fmla="*/ 71363 h 192"/>
              <a:gd name="T54" fmla="*/ 59948 w 173"/>
              <a:gd name="T55" fmla="*/ 77093 h 192"/>
              <a:gd name="T56" fmla="*/ 56067 w 173"/>
              <a:gd name="T57" fmla="*/ 83344 h 192"/>
              <a:gd name="T58" fmla="*/ 50460 w 173"/>
              <a:gd name="T59" fmla="*/ 90637 h 192"/>
              <a:gd name="T60" fmla="*/ 42697 w 173"/>
              <a:gd name="T61" fmla="*/ 100013 h 192"/>
              <a:gd name="T62" fmla="*/ 37090 w 173"/>
              <a:gd name="T63" fmla="*/ 95325 h 192"/>
              <a:gd name="T64" fmla="*/ 31915 w 173"/>
              <a:gd name="T65" fmla="*/ 91679 h 192"/>
              <a:gd name="T66" fmla="*/ 27171 w 173"/>
              <a:gd name="T67" fmla="*/ 88032 h 192"/>
              <a:gd name="T68" fmla="*/ 23289 w 173"/>
              <a:gd name="T69" fmla="*/ 84907 h 192"/>
              <a:gd name="T70" fmla="*/ 19839 w 173"/>
              <a:gd name="T71" fmla="*/ 81261 h 192"/>
              <a:gd name="T72" fmla="*/ 17251 w 173"/>
              <a:gd name="T73" fmla="*/ 78135 h 192"/>
              <a:gd name="T74" fmla="*/ 14664 w 173"/>
              <a:gd name="T75" fmla="*/ 75010 h 192"/>
              <a:gd name="T76" fmla="*/ 12938 w 173"/>
              <a:gd name="T77" fmla="*/ 71363 h 192"/>
              <a:gd name="T78" fmla="*/ 9488 w 173"/>
              <a:gd name="T79" fmla="*/ 64071 h 192"/>
              <a:gd name="T80" fmla="*/ 6901 w 173"/>
              <a:gd name="T81" fmla="*/ 55736 h 192"/>
              <a:gd name="T82" fmla="*/ 3882 w 173"/>
              <a:gd name="T83" fmla="*/ 46881 h 192"/>
              <a:gd name="T84" fmla="*/ 0 w 173"/>
              <a:gd name="T85" fmla="*/ 35421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15" name="Freeform 265">
            <a:extLst>
              <a:ext uri="{FF2B5EF4-FFF2-40B4-BE49-F238E27FC236}">
                <a16:creationId xmlns:a16="http://schemas.microsoft.com/office/drawing/2014/main" id="{811E622B-1EA2-4D13-8EDF-ADAEDD5C7AD6}"/>
              </a:ext>
            </a:extLst>
          </p:cNvPr>
          <p:cNvSpPr>
            <a:spLocks/>
          </p:cNvSpPr>
          <p:nvPr>
            <p:custDataLst>
              <p:tags r:id="rId192"/>
            </p:custDataLst>
          </p:nvPr>
        </p:nvSpPr>
        <p:spPr bwMode="auto">
          <a:xfrm>
            <a:off x="7037355" y="7036057"/>
            <a:ext cx="222313" cy="279576"/>
          </a:xfrm>
          <a:custGeom>
            <a:avLst/>
            <a:gdLst>
              <a:gd name="T0" fmla="*/ 33276 w 233"/>
              <a:gd name="T1" fmla="*/ 0 h 252"/>
              <a:gd name="T2" fmla="*/ 37323 w 233"/>
              <a:gd name="T3" fmla="*/ 1046 h 252"/>
              <a:gd name="T4" fmla="*/ 40021 w 233"/>
              <a:gd name="T5" fmla="*/ 1569 h 252"/>
              <a:gd name="T6" fmla="*/ 42719 w 233"/>
              <a:gd name="T7" fmla="*/ 1569 h 252"/>
              <a:gd name="T8" fmla="*/ 44518 w 233"/>
              <a:gd name="T9" fmla="*/ 1046 h 252"/>
              <a:gd name="T10" fmla="*/ 47666 w 233"/>
              <a:gd name="T11" fmla="*/ 523 h 252"/>
              <a:gd name="T12" fmla="*/ 50814 w 233"/>
              <a:gd name="T13" fmla="*/ 0 h 252"/>
              <a:gd name="T14" fmla="*/ 56210 w 233"/>
              <a:gd name="T15" fmla="*/ 8889 h 252"/>
              <a:gd name="T16" fmla="*/ 62955 w 233"/>
              <a:gd name="T17" fmla="*/ 19346 h 252"/>
              <a:gd name="T18" fmla="*/ 64754 w 233"/>
              <a:gd name="T19" fmla="*/ 21961 h 252"/>
              <a:gd name="T20" fmla="*/ 66552 w 233"/>
              <a:gd name="T21" fmla="*/ 24052 h 252"/>
              <a:gd name="T22" fmla="*/ 68801 w 233"/>
              <a:gd name="T23" fmla="*/ 25621 h 252"/>
              <a:gd name="T24" fmla="*/ 70599 w 233"/>
              <a:gd name="T25" fmla="*/ 27189 h 252"/>
              <a:gd name="T26" fmla="*/ 73298 w 233"/>
              <a:gd name="T27" fmla="*/ 28235 h 252"/>
              <a:gd name="T28" fmla="*/ 75546 w 233"/>
              <a:gd name="T29" fmla="*/ 29281 h 252"/>
              <a:gd name="T30" fmla="*/ 78244 w 233"/>
              <a:gd name="T31" fmla="*/ 29281 h 252"/>
              <a:gd name="T32" fmla="*/ 80942 w 233"/>
              <a:gd name="T33" fmla="*/ 29281 h 252"/>
              <a:gd name="T34" fmla="*/ 80942 w 233"/>
              <a:gd name="T35" fmla="*/ 41830 h 252"/>
              <a:gd name="T36" fmla="*/ 86788 w 233"/>
              <a:gd name="T37" fmla="*/ 53856 h 252"/>
              <a:gd name="T38" fmla="*/ 95332 w 233"/>
              <a:gd name="T39" fmla="*/ 66927 h 252"/>
              <a:gd name="T40" fmla="*/ 96681 w 233"/>
              <a:gd name="T41" fmla="*/ 70587 h 252"/>
              <a:gd name="T42" fmla="*/ 98929 w 233"/>
              <a:gd name="T43" fmla="*/ 74247 h 252"/>
              <a:gd name="T44" fmla="*/ 100278 w 233"/>
              <a:gd name="T45" fmla="*/ 78953 h 252"/>
              <a:gd name="T46" fmla="*/ 101627 w 233"/>
              <a:gd name="T47" fmla="*/ 83659 h 252"/>
              <a:gd name="T48" fmla="*/ 103426 w 233"/>
              <a:gd name="T49" fmla="*/ 88888 h 252"/>
              <a:gd name="T50" fmla="*/ 104325 w 233"/>
              <a:gd name="T51" fmla="*/ 94116 h 252"/>
              <a:gd name="T52" fmla="*/ 104775 w 233"/>
              <a:gd name="T53" fmla="*/ 99868 h 252"/>
              <a:gd name="T54" fmla="*/ 104775 w 233"/>
              <a:gd name="T55" fmla="*/ 106665 h 252"/>
              <a:gd name="T56" fmla="*/ 104325 w 233"/>
              <a:gd name="T57" fmla="*/ 112940 h 252"/>
              <a:gd name="T58" fmla="*/ 103426 w 233"/>
              <a:gd name="T59" fmla="*/ 119214 h 252"/>
              <a:gd name="T60" fmla="*/ 102077 w 233"/>
              <a:gd name="T61" fmla="*/ 125489 h 252"/>
              <a:gd name="T62" fmla="*/ 101627 w 233"/>
              <a:gd name="T63" fmla="*/ 131763 h 252"/>
              <a:gd name="T64" fmla="*/ 99829 w 233"/>
              <a:gd name="T65" fmla="*/ 131763 h 252"/>
              <a:gd name="T66" fmla="*/ 96681 w 233"/>
              <a:gd name="T67" fmla="*/ 130717 h 252"/>
              <a:gd name="T68" fmla="*/ 93533 w 233"/>
              <a:gd name="T69" fmla="*/ 128626 h 252"/>
              <a:gd name="T70" fmla="*/ 89036 w 233"/>
              <a:gd name="T71" fmla="*/ 126011 h 252"/>
              <a:gd name="T72" fmla="*/ 79143 w 233"/>
              <a:gd name="T73" fmla="*/ 118168 h 252"/>
              <a:gd name="T74" fmla="*/ 67901 w 233"/>
              <a:gd name="T75" fmla="*/ 108757 h 252"/>
              <a:gd name="T76" fmla="*/ 56210 w 233"/>
              <a:gd name="T77" fmla="*/ 97254 h 252"/>
              <a:gd name="T78" fmla="*/ 44968 w 233"/>
              <a:gd name="T79" fmla="*/ 86273 h 252"/>
              <a:gd name="T80" fmla="*/ 35075 w 233"/>
              <a:gd name="T81" fmla="*/ 75816 h 252"/>
              <a:gd name="T82" fmla="*/ 27430 w 233"/>
              <a:gd name="T83" fmla="*/ 67450 h 252"/>
              <a:gd name="T84" fmla="*/ 24732 w 233"/>
              <a:gd name="T85" fmla="*/ 65359 h 252"/>
              <a:gd name="T86" fmla="*/ 21585 w 233"/>
              <a:gd name="T87" fmla="*/ 62744 h 252"/>
              <a:gd name="T88" fmla="*/ 18437 w 233"/>
              <a:gd name="T89" fmla="*/ 60653 h 252"/>
              <a:gd name="T90" fmla="*/ 14839 w 233"/>
              <a:gd name="T91" fmla="*/ 58561 h 252"/>
              <a:gd name="T92" fmla="*/ 7645 w 233"/>
              <a:gd name="T93" fmla="*/ 54378 h 252"/>
              <a:gd name="T94" fmla="*/ 0 w 233"/>
              <a:gd name="T95" fmla="*/ 51764 h 252"/>
              <a:gd name="T96" fmla="*/ 17987 w 233"/>
              <a:gd name="T97" fmla="*/ 32941 h 252"/>
              <a:gd name="T98" fmla="*/ 26531 w 233"/>
              <a:gd name="T99" fmla="*/ 22483 h 252"/>
              <a:gd name="T100" fmla="*/ 29229 w 233"/>
              <a:gd name="T101" fmla="*/ 17255 h 252"/>
              <a:gd name="T102" fmla="*/ 31028 w 233"/>
              <a:gd name="T103" fmla="*/ 13072 h 252"/>
              <a:gd name="T104" fmla="*/ 32377 w 233"/>
              <a:gd name="T105" fmla="*/ 7320 h 252"/>
              <a:gd name="T106" fmla="*/ 33276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16" name="Freeform 266">
            <a:extLst>
              <a:ext uri="{FF2B5EF4-FFF2-40B4-BE49-F238E27FC236}">
                <a16:creationId xmlns:a16="http://schemas.microsoft.com/office/drawing/2014/main" id="{F371E7D7-3C74-47EB-8ED4-BADD734A5A42}"/>
              </a:ext>
            </a:extLst>
          </p:cNvPr>
          <p:cNvSpPr>
            <a:spLocks/>
          </p:cNvSpPr>
          <p:nvPr>
            <p:custDataLst>
              <p:tags r:id="rId193"/>
            </p:custDataLst>
          </p:nvPr>
        </p:nvSpPr>
        <p:spPr bwMode="auto">
          <a:xfrm>
            <a:off x="7492087" y="6864271"/>
            <a:ext cx="222313" cy="427783"/>
          </a:xfrm>
          <a:custGeom>
            <a:avLst/>
            <a:gdLst>
              <a:gd name="T0" fmla="*/ 5537 w 246"/>
              <a:gd name="T1" fmla="*/ 199490 h 380"/>
              <a:gd name="T2" fmla="*/ 5963 w 246"/>
              <a:gd name="T3" fmla="*/ 194715 h 380"/>
              <a:gd name="T4" fmla="*/ 6389 w 246"/>
              <a:gd name="T5" fmla="*/ 190470 h 380"/>
              <a:gd name="T6" fmla="*/ 7666 w 246"/>
              <a:gd name="T7" fmla="*/ 186226 h 380"/>
              <a:gd name="T8" fmla="*/ 8518 w 246"/>
              <a:gd name="T9" fmla="*/ 182512 h 380"/>
              <a:gd name="T10" fmla="*/ 10648 w 246"/>
              <a:gd name="T11" fmla="*/ 176676 h 380"/>
              <a:gd name="T12" fmla="*/ 11074 w 246"/>
              <a:gd name="T13" fmla="*/ 173492 h 380"/>
              <a:gd name="T14" fmla="*/ 10648 w 246"/>
              <a:gd name="T15" fmla="*/ 170309 h 380"/>
              <a:gd name="T16" fmla="*/ 9796 w 246"/>
              <a:gd name="T17" fmla="*/ 166595 h 380"/>
              <a:gd name="T18" fmla="*/ 8092 w 246"/>
              <a:gd name="T19" fmla="*/ 161820 h 380"/>
              <a:gd name="T20" fmla="*/ 5537 w 246"/>
              <a:gd name="T21" fmla="*/ 156515 h 380"/>
              <a:gd name="T22" fmla="*/ 3833 w 246"/>
              <a:gd name="T23" fmla="*/ 151209 h 380"/>
              <a:gd name="T24" fmla="*/ 1704 w 246"/>
              <a:gd name="T25" fmla="*/ 145903 h 380"/>
              <a:gd name="T26" fmla="*/ 426 w 246"/>
              <a:gd name="T27" fmla="*/ 141659 h 380"/>
              <a:gd name="T28" fmla="*/ 0 w 246"/>
              <a:gd name="T29" fmla="*/ 137414 h 380"/>
              <a:gd name="T30" fmla="*/ 426 w 246"/>
              <a:gd name="T31" fmla="*/ 133170 h 380"/>
              <a:gd name="T32" fmla="*/ 852 w 246"/>
              <a:gd name="T33" fmla="*/ 128926 h 380"/>
              <a:gd name="T34" fmla="*/ 1278 w 246"/>
              <a:gd name="T35" fmla="*/ 125212 h 380"/>
              <a:gd name="T36" fmla="*/ 2555 w 246"/>
              <a:gd name="T37" fmla="*/ 122028 h 380"/>
              <a:gd name="T38" fmla="*/ 4685 w 246"/>
              <a:gd name="T39" fmla="*/ 115662 h 380"/>
              <a:gd name="T40" fmla="*/ 8092 w 246"/>
              <a:gd name="T41" fmla="*/ 109825 h 380"/>
              <a:gd name="T42" fmla="*/ 11074 w 246"/>
              <a:gd name="T43" fmla="*/ 104520 h 380"/>
              <a:gd name="T44" fmla="*/ 14481 w 246"/>
              <a:gd name="T45" fmla="*/ 98153 h 380"/>
              <a:gd name="T46" fmla="*/ 17463 w 246"/>
              <a:gd name="T47" fmla="*/ 91787 h 380"/>
              <a:gd name="T48" fmla="*/ 20018 w 246"/>
              <a:gd name="T49" fmla="*/ 84889 h 380"/>
              <a:gd name="T50" fmla="*/ 11074 w 246"/>
              <a:gd name="T51" fmla="*/ 38731 h 380"/>
              <a:gd name="T52" fmla="*/ 11074 w 246"/>
              <a:gd name="T53" fmla="*/ 26528 h 380"/>
              <a:gd name="T54" fmla="*/ 10222 w 246"/>
              <a:gd name="T55" fmla="*/ 17508 h 380"/>
              <a:gd name="T56" fmla="*/ 10222 w 246"/>
              <a:gd name="T57" fmla="*/ 13264 h 380"/>
              <a:gd name="T58" fmla="*/ 10222 w 246"/>
              <a:gd name="T59" fmla="*/ 8489 h 380"/>
              <a:gd name="T60" fmla="*/ 10648 w 246"/>
              <a:gd name="T61" fmla="*/ 4244 h 380"/>
              <a:gd name="T62" fmla="*/ 11074 w 246"/>
              <a:gd name="T63" fmla="*/ 0 h 380"/>
              <a:gd name="T64" fmla="*/ 76665 w 246"/>
              <a:gd name="T65" fmla="*/ 0 h 380"/>
              <a:gd name="T66" fmla="*/ 93701 w 246"/>
              <a:gd name="T67" fmla="*/ 68442 h 380"/>
              <a:gd name="T68" fmla="*/ 93701 w 246"/>
              <a:gd name="T69" fmla="*/ 111417 h 380"/>
              <a:gd name="T70" fmla="*/ 93701 w 246"/>
              <a:gd name="T71" fmla="*/ 116723 h 380"/>
              <a:gd name="T72" fmla="*/ 94127 w 246"/>
              <a:gd name="T73" fmla="*/ 122028 h 380"/>
              <a:gd name="T74" fmla="*/ 94979 w 246"/>
              <a:gd name="T75" fmla="*/ 127334 h 380"/>
              <a:gd name="T76" fmla="*/ 95831 w 246"/>
              <a:gd name="T77" fmla="*/ 132639 h 380"/>
              <a:gd name="T78" fmla="*/ 97109 w 246"/>
              <a:gd name="T79" fmla="*/ 137414 h 380"/>
              <a:gd name="T80" fmla="*/ 99664 w 246"/>
              <a:gd name="T81" fmla="*/ 142190 h 380"/>
              <a:gd name="T82" fmla="*/ 101794 w 246"/>
              <a:gd name="T83" fmla="*/ 147495 h 380"/>
              <a:gd name="T84" fmla="*/ 104775 w 246"/>
              <a:gd name="T85" fmla="*/ 153331 h 380"/>
              <a:gd name="T86" fmla="*/ 95405 w 246"/>
              <a:gd name="T87" fmla="*/ 156515 h 380"/>
              <a:gd name="T88" fmla="*/ 86035 w 246"/>
              <a:gd name="T89" fmla="*/ 160228 h 380"/>
              <a:gd name="T90" fmla="*/ 77091 w 246"/>
              <a:gd name="T91" fmla="*/ 164473 h 380"/>
              <a:gd name="T92" fmla="*/ 68146 w 246"/>
              <a:gd name="T93" fmla="*/ 169248 h 380"/>
              <a:gd name="T94" fmla="*/ 60054 w 246"/>
              <a:gd name="T95" fmla="*/ 174023 h 380"/>
              <a:gd name="T96" fmla="*/ 51110 w 246"/>
              <a:gd name="T97" fmla="*/ 179329 h 380"/>
              <a:gd name="T98" fmla="*/ 42591 w 246"/>
              <a:gd name="T99" fmla="*/ 184104 h 380"/>
              <a:gd name="T100" fmla="*/ 34073 w 246"/>
              <a:gd name="T101" fmla="*/ 189940 h 380"/>
              <a:gd name="T102" fmla="*/ 31944 w 246"/>
              <a:gd name="T103" fmla="*/ 192593 h 380"/>
              <a:gd name="T104" fmla="*/ 29388 w 246"/>
              <a:gd name="T105" fmla="*/ 194715 h 380"/>
              <a:gd name="T106" fmla="*/ 26407 w 246"/>
              <a:gd name="T107" fmla="*/ 197368 h 380"/>
              <a:gd name="T108" fmla="*/ 22999 w 246"/>
              <a:gd name="T109" fmla="*/ 199490 h 380"/>
              <a:gd name="T110" fmla="*/ 19592 w 246"/>
              <a:gd name="T111" fmla="*/ 201081 h 380"/>
              <a:gd name="T112" fmla="*/ 15333 w 246"/>
              <a:gd name="T113" fmla="*/ 201612 h 380"/>
              <a:gd name="T114" fmla="*/ 13203 w 246"/>
              <a:gd name="T115" fmla="*/ 201612 h 380"/>
              <a:gd name="T116" fmla="*/ 10648 w 246"/>
              <a:gd name="T117" fmla="*/ 201081 h 380"/>
              <a:gd name="T118" fmla="*/ 8518 w 246"/>
              <a:gd name="T119" fmla="*/ 200551 h 380"/>
              <a:gd name="T120" fmla="*/ 5537 w 246"/>
              <a:gd name="T121" fmla="*/ 19949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17" name="Freeform 267">
            <a:extLst>
              <a:ext uri="{FF2B5EF4-FFF2-40B4-BE49-F238E27FC236}">
                <a16:creationId xmlns:a16="http://schemas.microsoft.com/office/drawing/2014/main" id="{3EC580D2-8AD3-4DCA-8E2E-F5DD5BA8B598}"/>
              </a:ext>
            </a:extLst>
          </p:cNvPr>
          <p:cNvSpPr>
            <a:spLocks/>
          </p:cNvSpPr>
          <p:nvPr>
            <p:custDataLst>
              <p:tags r:id="rId194"/>
            </p:custDataLst>
          </p:nvPr>
        </p:nvSpPr>
        <p:spPr bwMode="auto">
          <a:xfrm>
            <a:off x="6754412" y="6685746"/>
            <a:ext cx="185262" cy="124631"/>
          </a:xfrm>
          <a:custGeom>
            <a:avLst/>
            <a:gdLst>
              <a:gd name="T0" fmla="*/ 3167 w 193"/>
              <a:gd name="T1" fmla="*/ 30915 h 38"/>
              <a:gd name="T2" fmla="*/ 17191 w 193"/>
              <a:gd name="T3" fmla="*/ 17003 h 38"/>
              <a:gd name="T4" fmla="*/ 30311 w 193"/>
              <a:gd name="T5" fmla="*/ 7729 h 38"/>
              <a:gd name="T6" fmla="*/ 36192 w 193"/>
              <a:gd name="T7" fmla="*/ 4637 h 38"/>
              <a:gd name="T8" fmla="*/ 42526 w 193"/>
              <a:gd name="T9" fmla="*/ 3091 h 38"/>
              <a:gd name="T10" fmla="*/ 49764 w 193"/>
              <a:gd name="T11" fmla="*/ 1546 h 38"/>
              <a:gd name="T12" fmla="*/ 57002 w 193"/>
              <a:gd name="T13" fmla="*/ 0 h 38"/>
              <a:gd name="T14" fmla="*/ 62431 w 193"/>
              <a:gd name="T15" fmla="*/ 1546 h 38"/>
              <a:gd name="T16" fmla="*/ 67407 w 193"/>
              <a:gd name="T17" fmla="*/ 1546 h 38"/>
              <a:gd name="T18" fmla="*/ 72384 w 193"/>
              <a:gd name="T19" fmla="*/ 3091 h 38"/>
              <a:gd name="T20" fmla="*/ 76455 w 193"/>
              <a:gd name="T21" fmla="*/ 6183 h 38"/>
              <a:gd name="T22" fmla="*/ 80527 w 193"/>
              <a:gd name="T23" fmla="*/ 9274 h 38"/>
              <a:gd name="T24" fmla="*/ 83241 w 193"/>
              <a:gd name="T25" fmla="*/ 17003 h 38"/>
              <a:gd name="T26" fmla="*/ 84599 w 193"/>
              <a:gd name="T27" fmla="*/ 20095 h 38"/>
              <a:gd name="T28" fmla="*/ 85503 w 193"/>
              <a:gd name="T29" fmla="*/ 27823 h 38"/>
              <a:gd name="T30" fmla="*/ 86408 w 193"/>
              <a:gd name="T31" fmla="*/ 32460 h 38"/>
              <a:gd name="T32" fmla="*/ 87313 w 193"/>
              <a:gd name="T33" fmla="*/ 40189 h 38"/>
              <a:gd name="T34" fmla="*/ 82789 w 193"/>
              <a:gd name="T35" fmla="*/ 41735 h 38"/>
              <a:gd name="T36" fmla="*/ 78265 w 193"/>
              <a:gd name="T37" fmla="*/ 43281 h 38"/>
              <a:gd name="T38" fmla="*/ 74646 w 193"/>
              <a:gd name="T39" fmla="*/ 43281 h 38"/>
              <a:gd name="T40" fmla="*/ 70574 w 193"/>
              <a:gd name="T41" fmla="*/ 43281 h 38"/>
              <a:gd name="T42" fmla="*/ 62431 w 193"/>
              <a:gd name="T43" fmla="*/ 41735 h 38"/>
              <a:gd name="T44" fmla="*/ 54288 w 193"/>
              <a:gd name="T45" fmla="*/ 40189 h 38"/>
              <a:gd name="T46" fmla="*/ 46597 w 193"/>
              <a:gd name="T47" fmla="*/ 40189 h 38"/>
              <a:gd name="T48" fmla="*/ 40264 w 193"/>
              <a:gd name="T49" fmla="*/ 43281 h 38"/>
              <a:gd name="T50" fmla="*/ 34382 w 193"/>
              <a:gd name="T51" fmla="*/ 46372 h 38"/>
              <a:gd name="T52" fmla="*/ 28501 w 193"/>
              <a:gd name="T53" fmla="*/ 49464 h 38"/>
              <a:gd name="T54" fmla="*/ 22168 w 193"/>
              <a:gd name="T55" fmla="*/ 52555 h 38"/>
              <a:gd name="T56" fmla="*/ 15834 w 193"/>
              <a:gd name="T57" fmla="*/ 55647 h 38"/>
              <a:gd name="T58" fmla="*/ 8596 w 193"/>
              <a:gd name="T59" fmla="*/ 57192 h 38"/>
              <a:gd name="T60" fmla="*/ 0 w 193"/>
              <a:gd name="T61" fmla="*/ 58738 h 38"/>
              <a:gd name="T62" fmla="*/ 0 w 193"/>
              <a:gd name="T63" fmla="*/ 51009 h 38"/>
              <a:gd name="T64" fmla="*/ 452 w 193"/>
              <a:gd name="T65" fmla="*/ 44826 h 38"/>
              <a:gd name="T66" fmla="*/ 1357 w 193"/>
              <a:gd name="T67" fmla="*/ 37098 h 38"/>
              <a:gd name="T68" fmla="*/ 3167 w 193"/>
              <a:gd name="T69" fmla="*/ 30915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18" name="Freeform 268">
            <a:extLst>
              <a:ext uri="{FF2B5EF4-FFF2-40B4-BE49-F238E27FC236}">
                <a16:creationId xmlns:a16="http://schemas.microsoft.com/office/drawing/2014/main" id="{97AC9DAA-7670-43BA-80C5-AE7202F3F09F}"/>
              </a:ext>
            </a:extLst>
          </p:cNvPr>
          <p:cNvSpPr>
            <a:spLocks/>
          </p:cNvSpPr>
          <p:nvPr>
            <p:custDataLst>
              <p:tags r:id="rId195"/>
            </p:custDataLst>
          </p:nvPr>
        </p:nvSpPr>
        <p:spPr bwMode="auto">
          <a:xfrm>
            <a:off x="7657136" y="6850797"/>
            <a:ext cx="90947" cy="330101"/>
          </a:xfrm>
          <a:custGeom>
            <a:avLst/>
            <a:gdLst>
              <a:gd name="T0" fmla="*/ 22947 w 99"/>
              <a:gd name="T1" fmla="*/ 6202 h 301"/>
              <a:gd name="T2" fmla="*/ 25545 w 99"/>
              <a:gd name="T3" fmla="*/ 6202 h 301"/>
              <a:gd name="T4" fmla="*/ 25545 w 99"/>
              <a:gd name="T5" fmla="*/ 9820 h 301"/>
              <a:gd name="T6" fmla="*/ 26843 w 99"/>
              <a:gd name="T7" fmla="*/ 13438 h 301"/>
              <a:gd name="T8" fmla="*/ 27276 w 99"/>
              <a:gd name="T9" fmla="*/ 17056 h 301"/>
              <a:gd name="T10" fmla="*/ 28575 w 99"/>
              <a:gd name="T11" fmla="*/ 21708 h 301"/>
              <a:gd name="T12" fmla="*/ 31173 w 99"/>
              <a:gd name="T13" fmla="*/ 29978 h 301"/>
              <a:gd name="T14" fmla="*/ 34204 w 99"/>
              <a:gd name="T15" fmla="*/ 38765 h 301"/>
              <a:gd name="T16" fmla="*/ 37667 w 99"/>
              <a:gd name="T17" fmla="*/ 48068 h 301"/>
              <a:gd name="T18" fmla="*/ 40265 w 99"/>
              <a:gd name="T19" fmla="*/ 57372 h 301"/>
              <a:gd name="T20" fmla="*/ 41564 w 99"/>
              <a:gd name="T21" fmla="*/ 62023 h 301"/>
              <a:gd name="T22" fmla="*/ 42430 w 99"/>
              <a:gd name="T23" fmla="*/ 66675 h 301"/>
              <a:gd name="T24" fmla="*/ 42863 w 99"/>
              <a:gd name="T25" fmla="*/ 71327 h 301"/>
              <a:gd name="T26" fmla="*/ 42863 w 99"/>
              <a:gd name="T27" fmla="*/ 76495 h 301"/>
              <a:gd name="T28" fmla="*/ 42863 w 99"/>
              <a:gd name="T29" fmla="*/ 149373 h 301"/>
              <a:gd name="T30" fmla="*/ 38533 w 99"/>
              <a:gd name="T31" fmla="*/ 149890 h 301"/>
              <a:gd name="T32" fmla="*/ 34637 w 99"/>
              <a:gd name="T33" fmla="*/ 151440 h 301"/>
              <a:gd name="T34" fmla="*/ 31606 w 99"/>
              <a:gd name="T35" fmla="*/ 153508 h 301"/>
              <a:gd name="T36" fmla="*/ 28575 w 99"/>
              <a:gd name="T37" fmla="*/ 155575 h 301"/>
              <a:gd name="T38" fmla="*/ 25545 w 99"/>
              <a:gd name="T39" fmla="*/ 149890 h 301"/>
              <a:gd name="T40" fmla="*/ 23380 w 99"/>
              <a:gd name="T41" fmla="*/ 144721 h 301"/>
              <a:gd name="T42" fmla="*/ 20782 w 99"/>
              <a:gd name="T43" fmla="*/ 140069 h 301"/>
              <a:gd name="T44" fmla="*/ 19483 w 99"/>
              <a:gd name="T45" fmla="*/ 135417 h 301"/>
              <a:gd name="T46" fmla="*/ 18617 w 99"/>
              <a:gd name="T47" fmla="*/ 130249 h 301"/>
              <a:gd name="T48" fmla="*/ 17751 w 99"/>
              <a:gd name="T49" fmla="*/ 125080 h 301"/>
              <a:gd name="T50" fmla="*/ 17318 w 99"/>
              <a:gd name="T51" fmla="*/ 119912 h 301"/>
              <a:gd name="T52" fmla="*/ 17318 w 99"/>
              <a:gd name="T53" fmla="*/ 114743 h 301"/>
              <a:gd name="T54" fmla="*/ 17318 w 99"/>
              <a:gd name="T55" fmla="*/ 72877 h 301"/>
              <a:gd name="T56" fmla="*/ 0 w 99"/>
              <a:gd name="T57" fmla="*/ 3101 h 301"/>
              <a:gd name="T58" fmla="*/ 2165 w 99"/>
              <a:gd name="T59" fmla="*/ 1034 h 301"/>
              <a:gd name="T60" fmla="*/ 4330 w 99"/>
              <a:gd name="T61" fmla="*/ 0 h 301"/>
              <a:gd name="T62" fmla="*/ 6061 w 99"/>
              <a:gd name="T63" fmla="*/ 0 h 301"/>
              <a:gd name="T64" fmla="*/ 8659 w 99"/>
              <a:gd name="T65" fmla="*/ 0 h 301"/>
              <a:gd name="T66" fmla="*/ 11257 w 99"/>
              <a:gd name="T67" fmla="*/ 0 h 301"/>
              <a:gd name="T68" fmla="*/ 13855 w 99"/>
              <a:gd name="T69" fmla="*/ 1034 h 301"/>
              <a:gd name="T70" fmla="*/ 16020 w 99"/>
              <a:gd name="T71" fmla="*/ 2067 h 301"/>
              <a:gd name="T72" fmla="*/ 17751 w 99"/>
              <a:gd name="T73" fmla="*/ 3101 h 301"/>
              <a:gd name="T74" fmla="*/ 20349 w 99"/>
              <a:gd name="T75" fmla="*/ 5169 h 301"/>
              <a:gd name="T76" fmla="*/ 22947 w 99"/>
              <a:gd name="T77" fmla="*/ 6202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19" name="Freeform 269">
            <a:extLst>
              <a:ext uri="{FF2B5EF4-FFF2-40B4-BE49-F238E27FC236}">
                <a16:creationId xmlns:a16="http://schemas.microsoft.com/office/drawing/2014/main" id="{2C7E4417-0E7B-4418-B1FD-C651012FCCA9}"/>
              </a:ext>
            </a:extLst>
          </p:cNvPr>
          <p:cNvSpPr>
            <a:spLocks/>
          </p:cNvSpPr>
          <p:nvPr>
            <p:custDataLst>
              <p:tags r:id="rId196"/>
            </p:custDataLst>
          </p:nvPr>
        </p:nvSpPr>
        <p:spPr bwMode="auto">
          <a:xfrm>
            <a:off x="7711030" y="6769956"/>
            <a:ext cx="161682" cy="400836"/>
          </a:xfrm>
          <a:custGeom>
            <a:avLst/>
            <a:gdLst>
              <a:gd name="T0" fmla="*/ 0 w 173"/>
              <a:gd name="T1" fmla="*/ 42333 h 357"/>
              <a:gd name="T2" fmla="*/ 3964 w 173"/>
              <a:gd name="T3" fmla="*/ 38100 h 357"/>
              <a:gd name="T4" fmla="*/ 7488 w 173"/>
              <a:gd name="T5" fmla="*/ 34396 h 357"/>
              <a:gd name="T6" fmla="*/ 11012 w 173"/>
              <a:gd name="T7" fmla="*/ 31750 h 357"/>
              <a:gd name="T8" fmla="*/ 14535 w 173"/>
              <a:gd name="T9" fmla="*/ 29633 h 357"/>
              <a:gd name="T10" fmla="*/ 17618 w 173"/>
              <a:gd name="T11" fmla="*/ 26458 h 357"/>
              <a:gd name="T12" fmla="*/ 29511 w 173"/>
              <a:gd name="T13" fmla="*/ 26458 h 357"/>
              <a:gd name="T14" fmla="*/ 41403 w 173"/>
              <a:gd name="T15" fmla="*/ 0 h 357"/>
              <a:gd name="T16" fmla="*/ 44487 w 173"/>
              <a:gd name="T17" fmla="*/ 1587 h 357"/>
              <a:gd name="T18" fmla="*/ 47570 w 173"/>
              <a:gd name="T19" fmla="*/ 3704 h 357"/>
              <a:gd name="T20" fmla="*/ 51094 w 173"/>
              <a:gd name="T21" fmla="*/ 6350 h 357"/>
              <a:gd name="T22" fmla="*/ 54177 w 173"/>
              <a:gd name="T23" fmla="*/ 9525 h 357"/>
              <a:gd name="T24" fmla="*/ 57701 w 173"/>
              <a:gd name="T25" fmla="*/ 11642 h 357"/>
              <a:gd name="T26" fmla="*/ 61224 w 173"/>
              <a:gd name="T27" fmla="*/ 14287 h 357"/>
              <a:gd name="T28" fmla="*/ 63867 w 173"/>
              <a:gd name="T29" fmla="*/ 15346 h 357"/>
              <a:gd name="T30" fmla="*/ 67391 w 173"/>
              <a:gd name="T31" fmla="*/ 15875 h 357"/>
              <a:gd name="T32" fmla="*/ 71795 w 173"/>
              <a:gd name="T33" fmla="*/ 20637 h 357"/>
              <a:gd name="T34" fmla="*/ 76200 w 173"/>
              <a:gd name="T35" fmla="*/ 26458 h 357"/>
              <a:gd name="T36" fmla="*/ 76200 w 173"/>
              <a:gd name="T37" fmla="*/ 32279 h 357"/>
              <a:gd name="T38" fmla="*/ 76200 w 173"/>
              <a:gd name="T39" fmla="*/ 36512 h 357"/>
              <a:gd name="T40" fmla="*/ 76200 w 173"/>
              <a:gd name="T41" fmla="*/ 42333 h 357"/>
              <a:gd name="T42" fmla="*/ 76200 w 173"/>
              <a:gd name="T43" fmla="*/ 51858 h 357"/>
              <a:gd name="T44" fmla="*/ 76200 w 173"/>
              <a:gd name="T45" fmla="*/ 57679 h 357"/>
              <a:gd name="T46" fmla="*/ 75319 w 173"/>
              <a:gd name="T47" fmla="*/ 62442 h 357"/>
              <a:gd name="T48" fmla="*/ 73557 w 173"/>
              <a:gd name="T49" fmla="*/ 67204 h 357"/>
              <a:gd name="T50" fmla="*/ 71795 w 173"/>
              <a:gd name="T51" fmla="*/ 71437 h 357"/>
              <a:gd name="T52" fmla="*/ 66950 w 173"/>
              <a:gd name="T53" fmla="*/ 79904 h 357"/>
              <a:gd name="T54" fmla="*/ 61665 w 173"/>
              <a:gd name="T55" fmla="*/ 88371 h 357"/>
              <a:gd name="T56" fmla="*/ 56379 w 173"/>
              <a:gd name="T57" fmla="*/ 96837 h 357"/>
              <a:gd name="T58" fmla="*/ 51534 w 173"/>
              <a:gd name="T59" fmla="*/ 105833 h 357"/>
              <a:gd name="T60" fmla="*/ 49332 w 173"/>
              <a:gd name="T61" fmla="*/ 110596 h 357"/>
              <a:gd name="T62" fmla="*/ 48010 w 173"/>
              <a:gd name="T63" fmla="*/ 115887 h 357"/>
              <a:gd name="T64" fmla="*/ 47570 w 173"/>
              <a:gd name="T65" fmla="*/ 121179 h 357"/>
              <a:gd name="T66" fmla="*/ 47129 w 173"/>
              <a:gd name="T67" fmla="*/ 127000 h 357"/>
              <a:gd name="T68" fmla="*/ 47570 w 173"/>
              <a:gd name="T69" fmla="*/ 144462 h 357"/>
              <a:gd name="T70" fmla="*/ 48010 w 173"/>
              <a:gd name="T71" fmla="*/ 155045 h 357"/>
              <a:gd name="T72" fmla="*/ 48451 w 173"/>
              <a:gd name="T73" fmla="*/ 159808 h 357"/>
              <a:gd name="T74" fmla="*/ 48010 w 173"/>
              <a:gd name="T75" fmla="*/ 165629 h 357"/>
              <a:gd name="T76" fmla="*/ 48010 w 173"/>
              <a:gd name="T77" fmla="*/ 173037 h 357"/>
              <a:gd name="T78" fmla="*/ 47129 w 173"/>
              <a:gd name="T79" fmla="*/ 182562 h 357"/>
              <a:gd name="T80" fmla="*/ 42725 w 173"/>
              <a:gd name="T81" fmla="*/ 183091 h 357"/>
              <a:gd name="T82" fmla="*/ 38761 w 173"/>
              <a:gd name="T83" fmla="*/ 183620 h 357"/>
              <a:gd name="T84" fmla="*/ 34797 w 173"/>
              <a:gd name="T85" fmla="*/ 184679 h 357"/>
              <a:gd name="T86" fmla="*/ 31273 w 173"/>
              <a:gd name="T87" fmla="*/ 185737 h 357"/>
              <a:gd name="T88" fmla="*/ 27749 w 173"/>
              <a:gd name="T89" fmla="*/ 186795 h 357"/>
              <a:gd name="T90" fmla="*/ 24225 w 173"/>
              <a:gd name="T91" fmla="*/ 187854 h 357"/>
              <a:gd name="T92" fmla="*/ 21142 w 173"/>
              <a:gd name="T93" fmla="*/ 188912 h 357"/>
              <a:gd name="T94" fmla="*/ 17618 w 173"/>
              <a:gd name="T95" fmla="*/ 188912 h 357"/>
              <a:gd name="T96" fmla="*/ 17618 w 173"/>
              <a:gd name="T97" fmla="*/ 114300 h 357"/>
              <a:gd name="T98" fmla="*/ 17618 w 173"/>
              <a:gd name="T99" fmla="*/ 109008 h 357"/>
              <a:gd name="T100" fmla="*/ 17178 w 173"/>
              <a:gd name="T101" fmla="*/ 104246 h 357"/>
              <a:gd name="T102" fmla="*/ 16297 w 173"/>
              <a:gd name="T103" fmla="*/ 99483 h 357"/>
              <a:gd name="T104" fmla="*/ 14976 w 173"/>
              <a:gd name="T105" fmla="*/ 94721 h 357"/>
              <a:gd name="T106" fmla="*/ 12333 w 173"/>
              <a:gd name="T107" fmla="*/ 85196 h 357"/>
              <a:gd name="T108" fmla="*/ 8809 w 173"/>
              <a:gd name="T109" fmla="*/ 75671 h 357"/>
              <a:gd name="T110" fmla="*/ 5726 w 173"/>
              <a:gd name="T111" fmla="*/ 66675 h 357"/>
              <a:gd name="T112" fmla="*/ 3083 w 173"/>
              <a:gd name="T113" fmla="*/ 58208 h 357"/>
              <a:gd name="T114" fmla="*/ 1762 w 173"/>
              <a:gd name="T115" fmla="*/ 53446 h 357"/>
              <a:gd name="T116" fmla="*/ 1321 w 173"/>
              <a:gd name="T117" fmla="*/ 49742 h 357"/>
              <a:gd name="T118" fmla="*/ 0 w 173"/>
              <a:gd name="T119" fmla="*/ 46037 h 357"/>
              <a:gd name="T120" fmla="*/ 0 w 173"/>
              <a:gd name="T121" fmla="*/ 42333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20" name="Freeform 270">
            <a:extLst>
              <a:ext uri="{FF2B5EF4-FFF2-40B4-BE49-F238E27FC236}">
                <a16:creationId xmlns:a16="http://schemas.microsoft.com/office/drawing/2014/main" id="{ECB84FDB-8146-4EC7-8CEB-E0539BF0FB2D}"/>
              </a:ext>
            </a:extLst>
          </p:cNvPr>
          <p:cNvSpPr>
            <a:spLocks/>
          </p:cNvSpPr>
          <p:nvPr>
            <p:custDataLst>
              <p:tags r:id="rId197"/>
            </p:custDataLst>
          </p:nvPr>
        </p:nvSpPr>
        <p:spPr bwMode="auto">
          <a:xfrm>
            <a:off x="9257116" y="9326552"/>
            <a:ext cx="53894" cy="127998"/>
          </a:xfrm>
          <a:custGeom>
            <a:avLst/>
            <a:gdLst>
              <a:gd name="T0" fmla="*/ 5080 w 50"/>
              <a:gd name="T1" fmla="*/ 0 h 74"/>
              <a:gd name="T2" fmla="*/ 3048 w 50"/>
              <a:gd name="T3" fmla="*/ 11413 h 74"/>
              <a:gd name="T4" fmla="*/ 1016 w 50"/>
              <a:gd name="T5" fmla="*/ 21195 h 74"/>
              <a:gd name="T6" fmla="*/ 0 w 50"/>
              <a:gd name="T7" fmla="*/ 29347 h 74"/>
              <a:gd name="T8" fmla="*/ 0 w 50"/>
              <a:gd name="T9" fmla="*/ 35054 h 74"/>
              <a:gd name="T10" fmla="*/ 0 w 50"/>
              <a:gd name="T11" fmla="*/ 40760 h 74"/>
              <a:gd name="T12" fmla="*/ 1016 w 50"/>
              <a:gd name="T13" fmla="*/ 45651 h 74"/>
              <a:gd name="T14" fmla="*/ 3048 w 50"/>
              <a:gd name="T15" fmla="*/ 49727 h 74"/>
              <a:gd name="T16" fmla="*/ 5080 w 50"/>
              <a:gd name="T17" fmla="*/ 55434 h 74"/>
              <a:gd name="T18" fmla="*/ 25400 w 50"/>
              <a:gd name="T19" fmla="*/ 60325 h 74"/>
              <a:gd name="T20" fmla="*/ 25400 w 50"/>
              <a:gd name="T21" fmla="*/ 41575 h 74"/>
              <a:gd name="T22" fmla="*/ 25400 w 50"/>
              <a:gd name="T23" fmla="*/ 27717 h 74"/>
              <a:gd name="T24" fmla="*/ 25400 w 50"/>
              <a:gd name="T25" fmla="*/ 15489 h 74"/>
              <a:gd name="T26" fmla="*/ 25400 w 50"/>
              <a:gd name="T27" fmla="*/ 0 h 74"/>
              <a:gd name="T28" fmla="*/ 19304 w 50"/>
              <a:gd name="T29" fmla="*/ 0 h 74"/>
              <a:gd name="T30" fmla="*/ 12700 w 50"/>
              <a:gd name="T31" fmla="*/ 0 h 74"/>
              <a:gd name="T32" fmla="*/ 7112 w 50"/>
              <a:gd name="T33" fmla="*/ 0 h 74"/>
              <a:gd name="T34" fmla="*/ 508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21" name="Freeform 271">
            <a:extLst>
              <a:ext uri="{FF2B5EF4-FFF2-40B4-BE49-F238E27FC236}">
                <a16:creationId xmlns:a16="http://schemas.microsoft.com/office/drawing/2014/main" id="{4BB31037-BA89-43D3-B9E1-D4F1BFFA22D9}"/>
              </a:ext>
            </a:extLst>
          </p:cNvPr>
          <p:cNvSpPr>
            <a:spLocks/>
          </p:cNvSpPr>
          <p:nvPr>
            <p:custDataLst>
              <p:tags r:id="rId198"/>
            </p:custDataLst>
          </p:nvPr>
        </p:nvSpPr>
        <p:spPr bwMode="auto">
          <a:xfrm>
            <a:off x="9034803" y="9532024"/>
            <a:ext cx="131366" cy="121262"/>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22" name="Freeform 272">
            <a:extLst>
              <a:ext uri="{FF2B5EF4-FFF2-40B4-BE49-F238E27FC236}">
                <a16:creationId xmlns:a16="http://schemas.microsoft.com/office/drawing/2014/main" id="{CD3FDE51-5B16-4646-8914-EABBD51EFC1B}"/>
              </a:ext>
            </a:extLst>
          </p:cNvPr>
          <p:cNvSpPr>
            <a:spLocks/>
          </p:cNvSpPr>
          <p:nvPr>
            <p:custDataLst>
              <p:tags r:id="rId199"/>
            </p:custDataLst>
          </p:nvPr>
        </p:nvSpPr>
        <p:spPr bwMode="auto">
          <a:xfrm>
            <a:off x="13740422" y="4681564"/>
            <a:ext cx="255997" cy="363785"/>
          </a:xfrm>
          <a:custGeom>
            <a:avLst/>
            <a:gdLst>
              <a:gd name="T0" fmla="*/ 108857 w 266"/>
              <a:gd name="T1" fmla="*/ 4733 h 326"/>
              <a:gd name="T2" fmla="*/ 108857 w 266"/>
              <a:gd name="T3" fmla="*/ 14726 h 326"/>
              <a:gd name="T4" fmla="*/ 112939 w 266"/>
              <a:gd name="T5" fmla="*/ 22089 h 326"/>
              <a:gd name="T6" fmla="*/ 111125 w 266"/>
              <a:gd name="T7" fmla="*/ 28926 h 326"/>
              <a:gd name="T8" fmla="*/ 102054 w 266"/>
              <a:gd name="T9" fmla="*/ 26296 h 326"/>
              <a:gd name="T10" fmla="*/ 95250 w 266"/>
              <a:gd name="T11" fmla="*/ 26822 h 326"/>
              <a:gd name="T12" fmla="*/ 88446 w 266"/>
              <a:gd name="T13" fmla="*/ 34185 h 326"/>
              <a:gd name="T14" fmla="*/ 87539 w 266"/>
              <a:gd name="T15" fmla="*/ 41022 h 326"/>
              <a:gd name="T16" fmla="*/ 89807 w 266"/>
              <a:gd name="T17" fmla="*/ 46807 h 326"/>
              <a:gd name="T18" fmla="*/ 97518 w 266"/>
              <a:gd name="T19" fmla="*/ 57851 h 326"/>
              <a:gd name="T20" fmla="*/ 101600 w 266"/>
              <a:gd name="T21" fmla="*/ 64162 h 326"/>
              <a:gd name="T22" fmla="*/ 102054 w 266"/>
              <a:gd name="T23" fmla="*/ 69947 h 326"/>
              <a:gd name="T24" fmla="*/ 100693 w 266"/>
              <a:gd name="T25" fmla="*/ 75207 h 326"/>
              <a:gd name="T26" fmla="*/ 93889 w 266"/>
              <a:gd name="T27" fmla="*/ 80992 h 326"/>
              <a:gd name="T28" fmla="*/ 90714 w 266"/>
              <a:gd name="T29" fmla="*/ 84147 h 326"/>
              <a:gd name="T30" fmla="*/ 82096 w 266"/>
              <a:gd name="T31" fmla="*/ 87303 h 326"/>
              <a:gd name="T32" fmla="*/ 74386 w 266"/>
              <a:gd name="T33" fmla="*/ 93614 h 326"/>
              <a:gd name="T34" fmla="*/ 72571 w 266"/>
              <a:gd name="T35" fmla="*/ 100451 h 326"/>
              <a:gd name="T36" fmla="*/ 78468 w 266"/>
              <a:gd name="T37" fmla="*/ 108865 h 326"/>
              <a:gd name="T38" fmla="*/ 85725 w 266"/>
              <a:gd name="T39" fmla="*/ 113073 h 326"/>
              <a:gd name="T40" fmla="*/ 97064 w 266"/>
              <a:gd name="T41" fmla="*/ 119384 h 326"/>
              <a:gd name="T42" fmla="*/ 111125 w 266"/>
              <a:gd name="T43" fmla="*/ 136213 h 326"/>
              <a:gd name="T44" fmla="*/ 113846 w 266"/>
              <a:gd name="T45" fmla="*/ 149887 h 326"/>
              <a:gd name="T46" fmla="*/ 99786 w 266"/>
              <a:gd name="T47" fmla="*/ 153043 h 326"/>
              <a:gd name="T48" fmla="*/ 93889 w 266"/>
              <a:gd name="T49" fmla="*/ 156724 h 326"/>
              <a:gd name="T50" fmla="*/ 89807 w 266"/>
              <a:gd name="T51" fmla="*/ 164087 h 326"/>
              <a:gd name="T52" fmla="*/ 85725 w 266"/>
              <a:gd name="T53" fmla="*/ 171450 h 326"/>
              <a:gd name="T54" fmla="*/ 77107 w 266"/>
              <a:gd name="T55" fmla="*/ 168820 h 326"/>
              <a:gd name="T56" fmla="*/ 75746 w 266"/>
              <a:gd name="T57" fmla="*/ 166191 h 326"/>
              <a:gd name="T58" fmla="*/ 69850 w 266"/>
              <a:gd name="T59" fmla="*/ 163035 h 326"/>
              <a:gd name="T60" fmla="*/ 63046 w 266"/>
              <a:gd name="T61" fmla="*/ 158302 h 326"/>
              <a:gd name="T62" fmla="*/ 57150 w 266"/>
              <a:gd name="T63" fmla="*/ 155146 h 326"/>
              <a:gd name="T64" fmla="*/ 44450 w 266"/>
              <a:gd name="T65" fmla="*/ 152517 h 326"/>
              <a:gd name="T66" fmla="*/ 28575 w 266"/>
              <a:gd name="T67" fmla="*/ 145680 h 326"/>
              <a:gd name="T68" fmla="*/ 24493 w 266"/>
              <a:gd name="T69" fmla="*/ 140947 h 326"/>
              <a:gd name="T70" fmla="*/ 24946 w 266"/>
              <a:gd name="T71" fmla="*/ 134636 h 326"/>
              <a:gd name="T72" fmla="*/ 31750 w 266"/>
              <a:gd name="T73" fmla="*/ 128325 h 326"/>
              <a:gd name="T74" fmla="*/ 26761 w 266"/>
              <a:gd name="T75" fmla="*/ 116228 h 326"/>
              <a:gd name="T76" fmla="*/ 15421 w 266"/>
              <a:gd name="T77" fmla="*/ 102029 h 326"/>
              <a:gd name="T78" fmla="*/ 5896 w 266"/>
              <a:gd name="T79" fmla="*/ 95717 h 326"/>
              <a:gd name="T80" fmla="*/ 1814 w 266"/>
              <a:gd name="T81" fmla="*/ 89932 h 326"/>
              <a:gd name="T82" fmla="*/ 8618 w 266"/>
              <a:gd name="T83" fmla="*/ 79940 h 326"/>
              <a:gd name="T84" fmla="*/ 24493 w 266"/>
              <a:gd name="T85" fmla="*/ 65214 h 326"/>
              <a:gd name="T86" fmla="*/ 33111 w 266"/>
              <a:gd name="T87" fmla="*/ 55222 h 326"/>
              <a:gd name="T88" fmla="*/ 39914 w 266"/>
              <a:gd name="T89" fmla="*/ 48385 h 326"/>
              <a:gd name="T90" fmla="*/ 49893 w 266"/>
              <a:gd name="T91" fmla="*/ 46281 h 326"/>
              <a:gd name="T92" fmla="*/ 65314 w 266"/>
              <a:gd name="T93" fmla="*/ 36814 h 326"/>
              <a:gd name="T94" fmla="*/ 76200 w 266"/>
              <a:gd name="T95" fmla="*/ 24192 h 326"/>
              <a:gd name="T96" fmla="*/ 86632 w 266"/>
              <a:gd name="T97" fmla="*/ 11044 h 326"/>
              <a:gd name="T98" fmla="*/ 99786 w 266"/>
              <a:gd name="T99" fmla="*/ 2104 h 326"/>
              <a:gd name="T100" fmla="*/ 10795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23" name="Freeform 273">
            <a:extLst>
              <a:ext uri="{FF2B5EF4-FFF2-40B4-BE49-F238E27FC236}">
                <a16:creationId xmlns:a16="http://schemas.microsoft.com/office/drawing/2014/main" id="{D7C8F4C8-6B45-49B4-8E4F-88EE211F4FE8}"/>
              </a:ext>
            </a:extLst>
          </p:cNvPr>
          <p:cNvSpPr>
            <a:spLocks/>
          </p:cNvSpPr>
          <p:nvPr>
            <p:custDataLst>
              <p:tags r:id="rId200"/>
            </p:custDataLst>
          </p:nvPr>
        </p:nvSpPr>
        <p:spPr bwMode="auto">
          <a:xfrm>
            <a:off x="11769924" y="5560708"/>
            <a:ext cx="437889" cy="262733"/>
          </a:xfrm>
          <a:custGeom>
            <a:avLst/>
            <a:gdLst>
              <a:gd name="T0" fmla="*/ 37682 w 471"/>
              <a:gd name="T1" fmla="*/ 0 h 237"/>
              <a:gd name="T2" fmla="*/ 40311 w 471"/>
              <a:gd name="T3" fmla="*/ 3657 h 237"/>
              <a:gd name="T4" fmla="*/ 44693 w 471"/>
              <a:gd name="T5" fmla="*/ 6792 h 237"/>
              <a:gd name="T6" fmla="*/ 54770 w 471"/>
              <a:gd name="T7" fmla="*/ 12017 h 237"/>
              <a:gd name="T8" fmla="*/ 69668 w 471"/>
              <a:gd name="T9" fmla="*/ 19331 h 237"/>
              <a:gd name="T10" fmla="*/ 97710 w 471"/>
              <a:gd name="T11" fmla="*/ 40230 h 237"/>
              <a:gd name="T12" fmla="*/ 110855 w 471"/>
              <a:gd name="T13" fmla="*/ 50679 h 237"/>
              <a:gd name="T14" fmla="*/ 124000 w 471"/>
              <a:gd name="T15" fmla="*/ 59039 h 237"/>
              <a:gd name="T16" fmla="*/ 138460 w 471"/>
              <a:gd name="T17" fmla="*/ 66353 h 237"/>
              <a:gd name="T18" fmla="*/ 155548 w 471"/>
              <a:gd name="T19" fmla="*/ 72623 h 237"/>
              <a:gd name="T20" fmla="*/ 174827 w 471"/>
              <a:gd name="T21" fmla="*/ 76280 h 237"/>
              <a:gd name="T22" fmla="*/ 197612 w 471"/>
              <a:gd name="T23" fmla="*/ 77325 h 237"/>
              <a:gd name="T24" fmla="*/ 198050 w 471"/>
              <a:gd name="T25" fmla="*/ 97702 h 237"/>
              <a:gd name="T26" fmla="*/ 201117 w 471"/>
              <a:gd name="T27" fmla="*/ 110241 h 237"/>
              <a:gd name="T28" fmla="*/ 204622 w 471"/>
              <a:gd name="T29" fmla="*/ 118600 h 237"/>
              <a:gd name="T30" fmla="*/ 204622 w 471"/>
              <a:gd name="T31" fmla="*/ 123303 h 237"/>
              <a:gd name="T32" fmla="*/ 197612 w 471"/>
              <a:gd name="T33" fmla="*/ 123303 h 237"/>
              <a:gd name="T34" fmla="*/ 182276 w 471"/>
              <a:gd name="T35" fmla="*/ 120690 h 237"/>
              <a:gd name="T36" fmla="*/ 158615 w 471"/>
              <a:gd name="T37" fmla="*/ 114421 h 237"/>
              <a:gd name="T38" fmla="*/ 138021 w 471"/>
              <a:gd name="T39" fmla="*/ 108151 h 237"/>
              <a:gd name="T40" fmla="*/ 128820 w 471"/>
              <a:gd name="T41" fmla="*/ 106061 h 237"/>
              <a:gd name="T42" fmla="*/ 125753 w 471"/>
              <a:gd name="T43" fmla="*/ 103971 h 237"/>
              <a:gd name="T44" fmla="*/ 121371 w 471"/>
              <a:gd name="T45" fmla="*/ 99269 h 237"/>
              <a:gd name="T46" fmla="*/ 116990 w 471"/>
              <a:gd name="T47" fmla="*/ 92999 h 237"/>
              <a:gd name="T48" fmla="*/ 111732 w 471"/>
              <a:gd name="T49" fmla="*/ 86730 h 237"/>
              <a:gd name="T50" fmla="*/ 105159 w 471"/>
              <a:gd name="T51" fmla="*/ 83072 h 237"/>
              <a:gd name="T52" fmla="*/ 99463 w 471"/>
              <a:gd name="T53" fmla="*/ 83072 h 237"/>
              <a:gd name="T54" fmla="*/ 89824 w 471"/>
              <a:gd name="T55" fmla="*/ 85162 h 237"/>
              <a:gd name="T56" fmla="*/ 80184 w 471"/>
              <a:gd name="T57" fmla="*/ 87252 h 237"/>
              <a:gd name="T58" fmla="*/ 74050 w 471"/>
              <a:gd name="T59" fmla="*/ 87775 h 237"/>
              <a:gd name="T60" fmla="*/ 69230 w 471"/>
              <a:gd name="T61" fmla="*/ 85685 h 237"/>
              <a:gd name="T62" fmla="*/ 64848 w 471"/>
              <a:gd name="T63" fmla="*/ 80983 h 237"/>
              <a:gd name="T64" fmla="*/ 60905 w 471"/>
              <a:gd name="T65" fmla="*/ 77325 h 237"/>
              <a:gd name="T66" fmla="*/ 53456 w 471"/>
              <a:gd name="T67" fmla="*/ 75758 h 237"/>
              <a:gd name="T68" fmla="*/ 40311 w 471"/>
              <a:gd name="T69" fmla="*/ 70533 h 237"/>
              <a:gd name="T70" fmla="*/ 21032 w 471"/>
              <a:gd name="T71" fmla="*/ 61129 h 237"/>
              <a:gd name="T72" fmla="*/ 5258 w 471"/>
              <a:gd name="T73" fmla="*/ 50157 h 237"/>
              <a:gd name="T74" fmla="*/ 306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24" name="Freeform 274">
            <a:extLst>
              <a:ext uri="{FF2B5EF4-FFF2-40B4-BE49-F238E27FC236}">
                <a16:creationId xmlns:a16="http://schemas.microsoft.com/office/drawing/2014/main" id="{C462AD7D-7A85-4182-B91D-C9EADF703CD7}"/>
              </a:ext>
            </a:extLst>
          </p:cNvPr>
          <p:cNvSpPr>
            <a:spLocks/>
          </p:cNvSpPr>
          <p:nvPr>
            <p:custDataLst>
              <p:tags r:id="rId201"/>
            </p:custDataLst>
          </p:nvPr>
        </p:nvSpPr>
        <p:spPr bwMode="auto">
          <a:xfrm>
            <a:off x="12228023" y="5678603"/>
            <a:ext cx="154945" cy="138102"/>
          </a:xfrm>
          <a:custGeom>
            <a:avLst/>
            <a:gdLst>
              <a:gd name="T0" fmla="*/ 73025 w 167"/>
              <a:gd name="T1" fmla="*/ 22754 h 123"/>
              <a:gd name="T2" fmla="*/ 71713 w 167"/>
              <a:gd name="T3" fmla="*/ 28575 h 123"/>
              <a:gd name="T4" fmla="*/ 70401 w 167"/>
              <a:gd name="T5" fmla="*/ 34925 h 123"/>
              <a:gd name="T6" fmla="*/ 67778 w 167"/>
              <a:gd name="T7" fmla="*/ 41804 h 123"/>
              <a:gd name="T8" fmla="*/ 65591 w 167"/>
              <a:gd name="T9" fmla="*/ 49212 h 123"/>
              <a:gd name="T10" fmla="*/ 63842 w 167"/>
              <a:gd name="T11" fmla="*/ 52387 h 123"/>
              <a:gd name="T12" fmla="*/ 62093 w 167"/>
              <a:gd name="T13" fmla="*/ 55562 h 123"/>
              <a:gd name="T14" fmla="*/ 60344 w 167"/>
              <a:gd name="T15" fmla="*/ 58208 h 123"/>
              <a:gd name="T16" fmla="*/ 57720 w 167"/>
              <a:gd name="T17" fmla="*/ 60325 h 123"/>
              <a:gd name="T18" fmla="*/ 55534 w 167"/>
              <a:gd name="T19" fmla="*/ 62441 h 123"/>
              <a:gd name="T20" fmla="*/ 52910 w 167"/>
              <a:gd name="T21" fmla="*/ 64029 h 123"/>
              <a:gd name="T22" fmla="*/ 50287 w 167"/>
              <a:gd name="T23" fmla="*/ 64558 h 123"/>
              <a:gd name="T24" fmla="*/ 46788 w 167"/>
              <a:gd name="T25" fmla="*/ 65087 h 123"/>
              <a:gd name="T26" fmla="*/ 43728 w 167"/>
              <a:gd name="T27" fmla="*/ 64558 h 123"/>
              <a:gd name="T28" fmla="*/ 40229 w 167"/>
              <a:gd name="T29" fmla="*/ 62970 h 123"/>
              <a:gd name="T30" fmla="*/ 38043 w 167"/>
              <a:gd name="T31" fmla="*/ 61383 h 123"/>
              <a:gd name="T32" fmla="*/ 36731 w 167"/>
              <a:gd name="T33" fmla="*/ 59795 h 123"/>
              <a:gd name="T34" fmla="*/ 35857 w 167"/>
              <a:gd name="T35" fmla="*/ 57679 h 123"/>
              <a:gd name="T36" fmla="*/ 35419 w 167"/>
              <a:gd name="T37" fmla="*/ 55562 h 123"/>
              <a:gd name="T38" fmla="*/ 31047 w 167"/>
              <a:gd name="T39" fmla="*/ 55033 h 123"/>
              <a:gd name="T40" fmla="*/ 26674 w 167"/>
              <a:gd name="T41" fmla="*/ 54504 h 123"/>
              <a:gd name="T42" fmla="*/ 22301 w 167"/>
              <a:gd name="T43" fmla="*/ 53445 h 123"/>
              <a:gd name="T44" fmla="*/ 17928 w 167"/>
              <a:gd name="T45" fmla="*/ 51858 h 123"/>
              <a:gd name="T46" fmla="*/ 9183 w 167"/>
              <a:gd name="T47" fmla="*/ 48683 h 123"/>
              <a:gd name="T48" fmla="*/ 0 w 167"/>
              <a:gd name="T49" fmla="*/ 45508 h 123"/>
              <a:gd name="T50" fmla="*/ 875 w 167"/>
              <a:gd name="T51" fmla="*/ 40746 h 123"/>
              <a:gd name="T52" fmla="*/ 2186 w 167"/>
              <a:gd name="T53" fmla="*/ 35454 h 123"/>
              <a:gd name="T54" fmla="*/ 3935 w 167"/>
              <a:gd name="T55" fmla="*/ 29633 h 123"/>
              <a:gd name="T56" fmla="*/ 6559 w 167"/>
              <a:gd name="T57" fmla="*/ 22754 h 123"/>
              <a:gd name="T58" fmla="*/ 8746 w 167"/>
              <a:gd name="T59" fmla="*/ 22754 h 123"/>
              <a:gd name="T60" fmla="*/ 11369 w 167"/>
              <a:gd name="T61" fmla="*/ 22225 h 123"/>
              <a:gd name="T62" fmla="*/ 13118 w 167"/>
              <a:gd name="T63" fmla="*/ 21696 h 123"/>
              <a:gd name="T64" fmla="*/ 14430 w 167"/>
              <a:gd name="T65" fmla="*/ 20108 h 123"/>
              <a:gd name="T66" fmla="*/ 17491 w 167"/>
              <a:gd name="T67" fmla="*/ 17462 h 123"/>
              <a:gd name="T68" fmla="*/ 19677 w 167"/>
              <a:gd name="T69" fmla="*/ 13758 h 123"/>
              <a:gd name="T70" fmla="*/ 22738 w 167"/>
              <a:gd name="T71" fmla="*/ 6350 h 123"/>
              <a:gd name="T72" fmla="*/ 26674 w 167"/>
              <a:gd name="T73" fmla="*/ 0 h 123"/>
              <a:gd name="T74" fmla="*/ 27986 w 167"/>
              <a:gd name="T75" fmla="*/ 2117 h 123"/>
              <a:gd name="T76" fmla="*/ 29297 w 167"/>
              <a:gd name="T77" fmla="*/ 3704 h 123"/>
              <a:gd name="T78" fmla="*/ 31921 w 167"/>
              <a:gd name="T79" fmla="*/ 5821 h 123"/>
              <a:gd name="T80" fmla="*/ 34107 w 167"/>
              <a:gd name="T81" fmla="*/ 7408 h 123"/>
              <a:gd name="T82" fmla="*/ 40229 w 167"/>
              <a:gd name="T83" fmla="*/ 11112 h 123"/>
              <a:gd name="T84" fmla="*/ 46788 w 167"/>
              <a:gd name="T85" fmla="*/ 14817 h 123"/>
              <a:gd name="T86" fmla="*/ 53348 w 167"/>
              <a:gd name="T87" fmla="*/ 18521 h 123"/>
              <a:gd name="T88" fmla="*/ 60781 w 167"/>
              <a:gd name="T89" fmla="*/ 20637 h 123"/>
              <a:gd name="T90" fmla="*/ 66903 w 167"/>
              <a:gd name="T91" fmla="*/ 22225 h 123"/>
              <a:gd name="T92" fmla="*/ 73025 w 167"/>
              <a:gd name="T93" fmla="*/ 22754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25" name="Freeform 275">
            <a:extLst>
              <a:ext uri="{FF2B5EF4-FFF2-40B4-BE49-F238E27FC236}">
                <a16:creationId xmlns:a16="http://schemas.microsoft.com/office/drawing/2014/main" id="{31CD27B6-7739-4FF6-9A7B-436366495C29}"/>
              </a:ext>
            </a:extLst>
          </p:cNvPr>
          <p:cNvSpPr>
            <a:spLocks/>
          </p:cNvSpPr>
          <p:nvPr>
            <p:custDataLst>
              <p:tags r:id="rId202"/>
            </p:custDataLst>
          </p:nvPr>
        </p:nvSpPr>
        <p:spPr bwMode="auto">
          <a:xfrm>
            <a:off x="12207812" y="5830178"/>
            <a:ext cx="282944" cy="353680"/>
          </a:xfrm>
          <a:custGeom>
            <a:avLst/>
            <a:gdLst>
              <a:gd name="T0" fmla="*/ 112868 w 306"/>
              <a:gd name="T1" fmla="*/ 83084 h 321"/>
              <a:gd name="T2" fmla="*/ 109818 w 306"/>
              <a:gd name="T3" fmla="*/ 89835 h 321"/>
              <a:gd name="T4" fmla="*/ 105896 w 306"/>
              <a:gd name="T5" fmla="*/ 94508 h 321"/>
              <a:gd name="T6" fmla="*/ 101538 w 306"/>
              <a:gd name="T7" fmla="*/ 96586 h 321"/>
              <a:gd name="T8" fmla="*/ 97180 w 306"/>
              <a:gd name="T9" fmla="*/ 95547 h 321"/>
              <a:gd name="T10" fmla="*/ 93258 w 306"/>
              <a:gd name="T11" fmla="*/ 92431 h 321"/>
              <a:gd name="T12" fmla="*/ 91079 w 306"/>
              <a:gd name="T13" fmla="*/ 87758 h 321"/>
              <a:gd name="T14" fmla="*/ 89772 w 306"/>
              <a:gd name="T15" fmla="*/ 83084 h 321"/>
              <a:gd name="T16" fmla="*/ 91079 w 306"/>
              <a:gd name="T17" fmla="*/ 76853 h 321"/>
              <a:gd name="T18" fmla="*/ 92822 w 306"/>
              <a:gd name="T19" fmla="*/ 70622 h 321"/>
              <a:gd name="T20" fmla="*/ 100230 w 306"/>
              <a:gd name="T21" fmla="*/ 59198 h 321"/>
              <a:gd name="T22" fmla="*/ 107203 w 306"/>
              <a:gd name="T23" fmla="*/ 48293 h 321"/>
              <a:gd name="T24" fmla="*/ 108946 w 306"/>
              <a:gd name="T25" fmla="*/ 42581 h 321"/>
              <a:gd name="T26" fmla="*/ 110253 w 306"/>
              <a:gd name="T27" fmla="*/ 35830 h 321"/>
              <a:gd name="T28" fmla="*/ 56216 w 306"/>
              <a:gd name="T29" fmla="*/ 35311 h 321"/>
              <a:gd name="T30" fmla="*/ 51858 w 306"/>
              <a:gd name="T31" fmla="*/ 30637 h 321"/>
              <a:gd name="T32" fmla="*/ 48808 w 306"/>
              <a:gd name="T33" fmla="*/ 23367 h 321"/>
              <a:gd name="T34" fmla="*/ 47065 w 306"/>
              <a:gd name="T35" fmla="*/ 14540 h 321"/>
              <a:gd name="T36" fmla="*/ 44014 w 306"/>
              <a:gd name="T37" fmla="*/ 9866 h 321"/>
              <a:gd name="T38" fmla="*/ 39221 w 306"/>
              <a:gd name="T39" fmla="*/ 8828 h 321"/>
              <a:gd name="T40" fmla="*/ 34863 w 306"/>
              <a:gd name="T41" fmla="*/ 6231 h 321"/>
              <a:gd name="T42" fmla="*/ 32684 w 306"/>
              <a:gd name="T43" fmla="*/ 2077 h 321"/>
              <a:gd name="T44" fmla="*/ 28326 w 306"/>
              <a:gd name="T45" fmla="*/ 0 h 321"/>
              <a:gd name="T46" fmla="*/ 21353 w 306"/>
              <a:gd name="T47" fmla="*/ 0 h 321"/>
              <a:gd name="T48" fmla="*/ 14817 w 306"/>
              <a:gd name="T49" fmla="*/ 519 h 321"/>
              <a:gd name="T50" fmla="*/ 9587 w 306"/>
              <a:gd name="T51" fmla="*/ 2596 h 321"/>
              <a:gd name="T52" fmla="*/ 4358 w 306"/>
              <a:gd name="T53" fmla="*/ 7270 h 321"/>
              <a:gd name="T54" fmla="*/ 436 w 306"/>
              <a:gd name="T55" fmla="*/ 12982 h 321"/>
              <a:gd name="T56" fmla="*/ 872 w 306"/>
              <a:gd name="T57" fmla="*/ 18175 h 321"/>
              <a:gd name="T58" fmla="*/ 6537 w 306"/>
              <a:gd name="T59" fmla="*/ 23887 h 321"/>
              <a:gd name="T60" fmla="*/ 15252 w 306"/>
              <a:gd name="T61" fmla="*/ 30118 h 321"/>
              <a:gd name="T62" fmla="*/ 23532 w 306"/>
              <a:gd name="T63" fmla="*/ 34792 h 321"/>
              <a:gd name="T64" fmla="*/ 20482 w 306"/>
              <a:gd name="T65" fmla="*/ 41023 h 321"/>
              <a:gd name="T66" fmla="*/ 10895 w 306"/>
              <a:gd name="T67" fmla="*/ 50370 h 321"/>
              <a:gd name="T68" fmla="*/ 7408 w 306"/>
              <a:gd name="T69" fmla="*/ 55563 h 321"/>
              <a:gd name="T70" fmla="*/ 6101 w 306"/>
              <a:gd name="T71" fmla="*/ 59198 h 321"/>
              <a:gd name="T72" fmla="*/ 6101 w 306"/>
              <a:gd name="T73" fmla="*/ 63352 h 321"/>
              <a:gd name="T74" fmla="*/ 7844 w 306"/>
              <a:gd name="T75" fmla="*/ 66987 h 321"/>
              <a:gd name="T76" fmla="*/ 12202 w 306"/>
              <a:gd name="T77" fmla="*/ 73218 h 321"/>
              <a:gd name="T78" fmla="*/ 20482 w 306"/>
              <a:gd name="T79" fmla="*/ 81007 h 321"/>
              <a:gd name="T80" fmla="*/ 27890 w 306"/>
              <a:gd name="T81" fmla="*/ 85161 h 321"/>
              <a:gd name="T82" fmla="*/ 32684 w 306"/>
              <a:gd name="T83" fmla="*/ 86200 h 321"/>
              <a:gd name="T84" fmla="*/ 46629 w 306"/>
              <a:gd name="T85" fmla="*/ 140724 h 321"/>
              <a:gd name="T86" fmla="*/ 47065 w 306"/>
              <a:gd name="T87" fmla="*/ 136570 h 321"/>
              <a:gd name="T88" fmla="*/ 48808 w 306"/>
              <a:gd name="T89" fmla="*/ 132935 h 321"/>
              <a:gd name="T90" fmla="*/ 55345 w 306"/>
              <a:gd name="T91" fmla="*/ 127742 h 321"/>
              <a:gd name="T92" fmla="*/ 64496 w 306"/>
              <a:gd name="T93" fmla="*/ 124627 h 321"/>
              <a:gd name="T94" fmla="*/ 75826 w 306"/>
              <a:gd name="T95" fmla="*/ 122030 h 321"/>
              <a:gd name="T96" fmla="*/ 75826 w 306"/>
              <a:gd name="T97" fmla="*/ 109048 h 321"/>
              <a:gd name="T98" fmla="*/ 79749 w 306"/>
              <a:gd name="T99" fmla="*/ 110087 h 321"/>
              <a:gd name="T100" fmla="*/ 84106 w 306"/>
              <a:gd name="T101" fmla="*/ 110087 h 321"/>
              <a:gd name="T102" fmla="*/ 92822 w 306"/>
              <a:gd name="T103" fmla="*/ 109048 h 321"/>
              <a:gd name="T104" fmla="*/ 101102 w 306"/>
              <a:gd name="T105" fmla="*/ 135531 h 321"/>
              <a:gd name="T106" fmla="*/ 112868 w 306"/>
              <a:gd name="T107" fmla="*/ 166688 h 321"/>
              <a:gd name="T108" fmla="*/ 118533 w 306"/>
              <a:gd name="T109" fmla="*/ 161495 h 321"/>
              <a:gd name="T110" fmla="*/ 122891 w 306"/>
              <a:gd name="T111" fmla="*/ 156822 h 321"/>
              <a:gd name="T112" fmla="*/ 128556 w 306"/>
              <a:gd name="T113" fmla="*/ 145398 h 321"/>
              <a:gd name="T114" fmla="*/ 133350 w 306"/>
              <a:gd name="T115" fmla="*/ 12203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26" name="Freeform 276">
            <a:extLst>
              <a:ext uri="{FF2B5EF4-FFF2-40B4-BE49-F238E27FC236}">
                <a16:creationId xmlns:a16="http://schemas.microsoft.com/office/drawing/2014/main" id="{5F6D961F-F381-41B8-941B-5B5CAB975FDB}"/>
              </a:ext>
            </a:extLst>
          </p:cNvPr>
          <p:cNvSpPr>
            <a:spLocks/>
          </p:cNvSpPr>
          <p:nvPr>
            <p:custDataLst>
              <p:tags r:id="rId203"/>
            </p:custDataLst>
          </p:nvPr>
        </p:nvSpPr>
        <p:spPr bwMode="auto">
          <a:xfrm>
            <a:off x="12881487" y="6076071"/>
            <a:ext cx="427783" cy="572624"/>
          </a:xfrm>
          <a:custGeom>
            <a:avLst/>
            <a:gdLst>
              <a:gd name="T0" fmla="*/ 40237 w 471"/>
              <a:gd name="T1" fmla="*/ 6252 h 518"/>
              <a:gd name="T2" fmla="*/ 28679 w 471"/>
              <a:gd name="T3" fmla="*/ 16672 h 518"/>
              <a:gd name="T4" fmla="*/ 17122 w 471"/>
              <a:gd name="T5" fmla="*/ 25529 h 518"/>
              <a:gd name="T6" fmla="*/ 11557 w 471"/>
              <a:gd name="T7" fmla="*/ 42722 h 518"/>
              <a:gd name="T8" fmla="*/ 3424 w 471"/>
              <a:gd name="T9" fmla="*/ 61477 h 518"/>
              <a:gd name="T10" fmla="*/ 2996 w 471"/>
              <a:gd name="T11" fmla="*/ 70855 h 518"/>
              <a:gd name="T12" fmla="*/ 12842 w 471"/>
              <a:gd name="T13" fmla="*/ 79712 h 518"/>
              <a:gd name="T14" fmla="*/ 21403 w 471"/>
              <a:gd name="T15" fmla="*/ 87527 h 518"/>
              <a:gd name="T16" fmla="*/ 26539 w 471"/>
              <a:gd name="T17" fmla="*/ 89611 h 518"/>
              <a:gd name="T18" fmla="*/ 32104 w 471"/>
              <a:gd name="T19" fmla="*/ 109930 h 518"/>
              <a:gd name="T20" fmla="*/ 35956 w 471"/>
              <a:gd name="T21" fmla="*/ 141710 h 518"/>
              <a:gd name="T22" fmla="*/ 40237 w 471"/>
              <a:gd name="T23" fmla="*/ 155777 h 518"/>
              <a:gd name="T24" fmla="*/ 44517 w 471"/>
              <a:gd name="T25" fmla="*/ 157340 h 518"/>
              <a:gd name="T26" fmla="*/ 47942 w 471"/>
              <a:gd name="T27" fmla="*/ 154735 h 518"/>
              <a:gd name="T28" fmla="*/ 54791 w 471"/>
              <a:gd name="T29" fmla="*/ 139626 h 518"/>
              <a:gd name="T30" fmla="*/ 62067 w 471"/>
              <a:gd name="T31" fmla="*/ 136500 h 518"/>
              <a:gd name="T32" fmla="*/ 68488 w 471"/>
              <a:gd name="T33" fmla="*/ 141710 h 518"/>
              <a:gd name="T34" fmla="*/ 74053 w 471"/>
              <a:gd name="T35" fmla="*/ 144315 h 518"/>
              <a:gd name="T36" fmla="*/ 78333 w 471"/>
              <a:gd name="T37" fmla="*/ 142752 h 518"/>
              <a:gd name="T38" fmla="*/ 82186 w 471"/>
              <a:gd name="T39" fmla="*/ 134938 h 518"/>
              <a:gd name="T40" fmla="*/ 86894 w 471"/>
              <a:gd name="T41" fmla="*/ 127123 h 518"/>
              <a:gd name="T42" fmla="*/ 90747 w 471"/>
              <a:gd name="T43" fmla="*/ 125560 h 518"/>
              <a:gd name="T44" fmla="*/ 103160 w 471"/>
              <a:gd name="T45" fmla="*/ 128686 h 518"/>
              <a:gd name="T46" fmla="*/ 110865 w 471"/>
              <a:gd name="T47" fmla="*/ 141189 h 518"/>
              <a:gd name="T48" fmla="*/ 131840 w 471"/>
              <a:gd name="T49" fmla="*/ 175054 h 518"/>
              <a:gd name="T50" fmla="*/ 145965 w 471"/>
              <a:gd name="T51" fmla="*/ 199020 h 518"/>
              <a:gd name="T52" fmla="*/ 153242 w 471"/>
              <a:gd name="T53" fmla="*/ 218297 h 518"/>
              <a:gd name="T54" fmla="*/ 156667 w 471"/>
              <a:gd name="T55" fmla="*/ 238094 h 518"/>
              <a:gd name="T56" fmla="*/ 153670 w 471"/>
              <a:gd name="T57" fmla="*/ 244867 h 518"/>
              <a:gd name="T58" fmla="*/ 145109 w 471"/>
              <a:gd name="T59" fmla="*/ 253724 h 518"/>
              <a:gd name="T60" fmla="*/ 155382 w 471"/>
              <a:gd name="T61" fmla="*/ 258413 h 518"/>
              <a:gd name="T62" fmla="*/ 167796 w 471"/>
              <a:gd name="T63" fmla="*/ 269875 h 518"/>
              <a:gd name="T64" fmla="*/ 171648 w 471"/>
              <a:gd name="T65" fmla="*/ 259976 h 518"/>
              <a:gd name="T66" fmla="*/ 176785 w 471"/>
              <a:gd name="T67" fmla="*/ 254766 h 518"/>
              <a:gd name="T68" fmla="*/ 190055 w 471"/>
              <a:gd name="T69" fmla="*/ 251640 h 518"/>
              <a:gd name="T70" fmla="*/ 200328 w 471"/>
              <a:gd name="T71" fmla="*/ 228195 h 518"/>
              <a:gd name="T72" fmla="*/ 192195 w 471"/>
              <a:gd name="T73" fmla="*/ 201625 h 518"/>
              <a:gd name="T74" fmla="*/ 180209 w 471"/>
              <a:gd name="T75" fmla="*/ 180785 h 518"/>
              <a:gd name="T76" fmla="*/ 147678 w 471"/>
              <a:gd name="T77" fmla="*/ 144315 h 518"/>
              <a:gd name="T78" fmla="*/ 119426 w 471"/>
              <a:gd name="T79" fmla="*/ 113577 h 518"/>
              <a:gd name="T80" fmla="*/ 95883 w 471"/>
              <a:gd name="T81" fmla="*/ 84401 h 518"/>
              <a:gd name="T82" fmla="*/ 76621 w 471"/>
              <a:gd name="T83" fmla="*/ 54704 h 518"/>
              <a:gd name="T84" fmla="*/ 54362 w 471"/>
              <a:gd name="T85" fmla="*/ 20840 h 518"/>
              <a:gd name="T86" fmla="*/ 49226 w 471"/>
              <a:gd name="T87" fmla="*/ 7294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27" name="Freeform 277">
            <a:extLst>
              <a:ext uri="{FF2B5EF4-FFF2-40B4-BE49-F238E27FC236}">
                <a16:creationId xmlns:a16="http://schemas.microsoft.com/office/drawing/2014/main" id="{4220153F-DE02-4AF9-A216-A04E7CB0154D}"/>
              </a:ext>
            </a:extLst>
          </p:cNvPr>
          <p:cNvSpPr>
            <a:spLocks/>
          </p:cNvSpPr>
          <p:nvPr>
            <p:custDataLst>
              <p:tags r:id="rId204"/>
            </p:custDataLst>
          </p:nvPr>
        </p:nvSpPr>
        <p:spPr bwMode="auto">
          <a:xfrm>
            <a:off x="13056643" y="6608274"/>
            <a:ext cx="282944" cy="276207"/>
          </a:xfrm>
          <a:custGeom>
            <a:avLst/>
            <a:gdLst>
              <a:gd name="T0" fmla="*/ 69178 w 293"/>
              <a:gd name="T1" fmla="*/ 10054 h 246"/>
              <a:gd name="T2" fmla="*/ 81466 w 293"/>
              <a:gd name="T3" fmla="*/ 15875 h 246"/>
              <a:gd name="T4" fmla="*/ 89203 w 293"/>
              <a:gd name="T5" fmla="*/ 15875 h 246"/>
              <a:gd name="T6" fmla="*/ 91934 w 293"/>
              <a:gd name="T7" fmla="*/ 9525 h 246"/>
              <a:gd name="T8" fmla="*/ 95575 w 293"/>
              <a:gd name="T9" fmla="*/ 5292 h 246"/>
              <a:gd name="T10" fmla="*/ 99671 w 293"/>
              <a:gd name="T11" fmla="*/ 3175 h 246"/>
              <a:gd name="T12" fmla="*/ 111504 w 293"/>
              <a:gd name="T13" fmla="*/ 1058 h 246"/>
              <a:gd name="T14" fmla="*/ 133350 w 293"/>
              <a:gd name="T15" fmla="*/ 42333 h 246"/>
              <a:gd name="T16" fmla="*/ 121062 w 293"/>
              <a:gd name="T17" fmla="*/ 56621 h 246"/>
              <a:gd name="T18" fmla="*/ 107863 w 293"/>
              <a:gd name="T19" fmla="*/ 74613 h 246"/>
              <a:gd name="T20" fmla="*/ 102402 w 293"/>
              <a:gd name="T21" fmla="*/ 84138 h 246"/>
              <a:gd name="T22" fmla="*/ 97851 w 293"/>
              <a:gd name="T23" fmla="*/ 94192 h 246"/>
              <a:gd name="T24" fmla="*/ 95120 w 293"/>
              <a:gd name="T25" fmla="*/ 104246 h 246"/>
              <a:gd name="T26" fmla="*/ 93755 w 293"/>
              <a:gd name="T27" fmla="*/ 114300 h 246"/>
              <a:gd name="T28" fmla="*/ 89203 w 293"/>
              <a:gd name="T29" fmla="*/ 114829 h 246"/>
              <a:gd name="T30" fmla="*/ 84652 w 293"/>
              <a:gd name="T31" fmla="*/ 116417 h 246"/>
              <a:gd name="T32" fmla="*/ 77370 w 293"/>
              <a:gd name="T33" fmla="*/ 121179 h 246"/>
              <a:gd name="T34" fmla="*/ 70088 w 293"/>
              <a:gd name="T35" fmla="*/ 126471 h 246"/>
              <a:gd name="T36" fmla="*/ 60531 w 293"/>
              <a:gd name="T37" fmla="*/ 130175 h 246"/>
              <a:gd name="T38" fmla="*/ 46422 w 293"/>
              <a:gd name="T39" fmla="*/ 127000 h 246"/>
              <a:gd name="T40" fmla="*/ 32313 w 293"/>
              <a:gd name="T41" fmla="*/ 122767 h 246"/>
              <a:gd name="T42" fmla="*/ 26852 w 293"/>
              <a:gd name="T43" fmla="*/ 119592 h 246"/>
              <a:gd name="T44" fmla="*/ 22301 w 293"/>
              <a:gd name="T45" fmla="*/ 116417 h 246"/>
              <a:gd name="T46" fmla="*/ 19570 w 293"/>
              <a:gd name="T47" fmla="*/ 112183 h 246"/>
              <a:gd name="T48" fmla="*/ 18660 w 293"/>
              <a:gd name="T49" fmla="*/ 107950 h 246"/>
              <a:gd name="T50" fmla="*/ 21391 w 293"/>
              <a:gd name="T51" fmla="*/ 94192 h 246"/>
              <a:gd name="T52" fmla="*/ 20480 w 293"/>
              <a:gd name="T53" fmla="*/ 85725 h 246"/>
              <a:gd name="T54" fmla="*/ 18205 w 293"/>
              <a:gd name="T55" fmla="*/ 77788 h 246"/>
              <a:gd name="T56" fmla="*/ 10923 w 293"/>
              <a:gd name="T57" fmla="*/ 62971 h 246"/>
              <a:gd name="T58" fmla="*/ 3641 w 293"/>
              <a:gd name="T59" fmla="*/ 48154 h 246"/>
              <a:gd name="T60" fmla="*/ 910 w 293"/>
              <a:gd name="T61" fmla="*/ 39158 h 246"/>
              <a:gd name="T62" fmla="*/ 0 w 293"/>
              <a:gd name="T63" fmla="*/ 29104 h 246"/>
              <a:gd name="T64" fmla="*/ 910 w 293"/>
              <a:gd name="T65" fmla="*/ 23813 h 246"/>
              <a:gd name="T66" fmla="*/ 3641 w 293"/>
              <a:gd name="T67" fmla="*/ 19050 h 246"/>
              <a:gd name="T68" fmla="*/ 7737 w 293"/>
              <a:gd name="T69" fmla="*/ 15346 h 246"/>
              <a:gd name="T70" fmla="*/ 11833 w 293"/>
              <a:gd name="T71" fmla="*/ 11642 h 246"/>
              <a:gd name="T72" fmla="*/ 21846 w 293"/>
              <a:gd name="T73" fmla="*/ 7408 h 246"/>
              <a:gd name="T74" fmla="*/ 30493 w 293"/>
              <a:gd name="T75" fmla="*/ 6350 h 246"/>
              <a:gd name="T76" fmla="*/ 43691 w 293"/>
              <a:gd name="T77" fmla="*/ 6350 h 246"/>
              <a:gd name="T78" fmla="*/ 60531 w 293"/>
              <a:gd name="T79" fmla="*/ 635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28" name="Freeform 278">
            <a:extLst>
              <a:ext uri="{FF2B5EF4-FFF2-40B4-BE49-F238E27FC236}">
                <a16:creationId xmlns:a16="http://schemas.microsoft.com/office/drawing/2014/main" id="{B663CF7A-9A3B-42E5-A6C7-C9C06EAF4537}"/>
              </a:ext>
            </a:extLst>
          </p:cNvPr>
          <p:cNvSpPr>
            <a:spLocks/>
          </p:cNvSpPr>
          <p:nvPr>
            <p:custDataLst>
              <p:tags r:id="rId205"/>
            </p:custDataLst>
          </p:nvPr>
        </p:nvSpPr>
        <p:spPr bwMode="auto">
          <a:xfrm>
            <a:off x="13908841" y="4988085"/>
            <a:ext cx="181892" cy="276207"/>
          </a:xfrm>
          <a:custGeom>
            <a:avLst/>
            <a:gdLst>
              <a:gd name="T0" fmla="*/ 7715 w 200"/>
              <a:gd name="T1" fmla="*/ 21696 h 246"/>
              <a:gd name="T2" fmla="*/ 12002 w 200"/>
              <a:gd name="T3" fmla="*/ 13758 h 246"/>
              <a:gd name="T4" fmla="*/ 16288 w 200"/>
              <a:gd name="T5" fmla="*/ 8467 h 246"/>
              <a:gd name="T6" fmla="*/ 21431 w 200"/>
              <a:gd name="T7" fmla="*/ 4763 h 246"/>
              <a:gd name="T8" fmla="*/ 31290 w 200"/>
              <a:gd name="T9" fmla="*/ 529 h 246"/>
              <a:gd name="T10" fmla="*/ 37719 w 200"/>
              <a:gd name="T11" fmla="*/ 6350 h 246"/>
              <a:gd name="T12" fmla="*/ 46292 w 200"/>
              <a:gd name="T13" fmla="*/ 17992 h 246"/>
              <a:gd name="T14" fmla="*/ 53578 w 200"/>
              <a:gd name="T15" fmla="*/ 26458 h 246"/>
              <a:gd name="T16" fmla="*/ 59579 w 200"/>
              <a:gd name="T17" fmla="*/ 30692 h 246"/>
              <a:gd name="T18" fmla="*/ 65151 w 200"/>
              <a:gd name="T19" fmla="*/ 33867 h 246"/>
              <a:gd name="T20" fmla="*/ 71152 w 200"/>
              <a:gd name="T21" fmla="*/ 35454 h 246"/>
              <a:gd name="T22" fmla="*/ 78867 w 200"/>
              <a:gd name="T23" fmla="*/ 50800 h 246"/>
              <a:gd name="T24" fmla="*/ 83582 w 200"/>
              <a:gd name="T25" fmla="*/ 72496 h 246"/>
              <a:gd name="T26" fmla="*/ 85296 w 200"/>
              <a:gd name="T27" fmla="*/ 87313 h 246"/>
              <a:gd name="T28" fmla="*/ 85725 w 200"/>
              <a:gd name="T29" fmla="*/ 97896 h 246"/>
              <a:gd name="T30" fmla="*/ 84868 w 200"/>
              <a:gd name="T31" fmla="*/ 104246 h 246"/>
              <a:gd name="T32" fmla="*/ 83582 w 200"/>
              <a:gd name="T33" fmla="*/ 109537 h 246"/>
              <a:gd name="T34" fmla="*/ 81010 w 200"/>
              <a:gd name="T35" fmla="*/ 113242 h 246"/>
              <a:gd name="T36" fmla="*/ 76724 w 200"/>
              <a:gd name="T37" fmla="*/ 116417 h 246"/>
              <a:gd name="T38" fmla="*/ 70295 w 200"/>
              <a:gd name="T39" fmla="*/ 118533 h 246"/>
              <a:gd name="T40" fmla="*/ 60008 w 200"/>
              <a:gd name="T41" fmla="*/ 118533 h 246"/>
              <a:gd name="T42" fmla="*/ 50578 w 200"/>
              <a:gd name="T43" fmla="*/ 121179 h 246"/>
              <a:gd name="T44" fmla="*/ 47577 w 200"/>
              <a:gd name="T45" fmla="*/ 124354 h 246"/>
              <a:gd name="T46" fmla="*/ 46292 w 200"/>
              <a:gd name="T47" fmla="*/ 128058 h 246"/>
              <a:gd name="T48" fmla="*/ 42005 w 200"/>
              <a:gd name="T49" fmla="*/ 129646 h 246"/>
              <a:gd name="T50" fmla="*/ 36433 w 200"/>
              <a:gd name="T51" fmla="*/ 127000 h 246"/>
              <a:gd name="T52" fmla="*/ 33004 w 200"/>
              <a:gd name="T53" fmla="*/ 121708 h 246"/>
              <a:gd name="T54" fmla="*/ 31290 w 200"/>
              <a:gd name="T55" fmla="*/ 114300 h 246"/>
              <a:gd name="T56" fmla="*/ 30861 w 200"/>
              <a:gd name="T57" fmla="*/ 101600 h 246"/>
              <a:gd name="T58" fmla="*/ 30432 w 200"/>
              <a:gd name="T59" fmla="*/ 88900 h 246"/>
              <a:gd name="T60" fmla="*/ 29575 w 200"/>
              <a:gd name="T61" fmla="*/ 81492 h 246"/>
              <a:gd name="T62" fmla="*/ 27432 w 200"/>
              <a:gd name="T63" fmla="*/ 75142 h 246"/>
              <a:gd name="T64" fmla="*/ 24003 w 200"/>
              <a:gd name="T65" fmla="*/ 70908 h 246"/>
              <a:gd name="T66" fmla="*/ 17145 w 200"/>
              <a:gd name="T67" fmla="*/ 66146 h 246"/>
              <a:gd name="T68" fmla="*/ 7715 w 200"/>
              <a:gd name="T69" fmla="*/ 60854 h 246"/>
              <a:gd name="T70" fmla="*/ 2572 w 200"/>
              <a:gd name="T71" fmla="*/ 56092 h 246"/>
              <a:gd name="T72" fmla="*/ 429 w 200"/>
              <a:gd name="T73" fmla="*/ 51858 h 246"/>
              <a:gd name="T74" fmla="*/ 429 w 200"/>
              <a:gd name="T75" fmla="*/ 46038 h 246"/>
              <a:gd name="T76" fmla="*/ 2143 w 200"/>
              <a:gd name="T77" fmla="*/ 41275 h 246"/>
              <a:gd name="T78" fmla="*/ 4286 w 200"/>
              <a:gd name="T79" fmla="*/ 35983 h 246"/>
              <a:gd name="T80" fmla="*/ 5572 w 200"/>
              <a:gd name="T81" fmla="*/ 29633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29" name="Freeform 279">
            <a:extLst>
              <a:ext uri="{FF2B5EF4-FFF2-40B4-BE49-F238E27FC236}">
                <a16:creationId xmlns:a16="http://schemas.microsoft.com/office/drawing/2014/main" id="{CF23940C-6F46-44A1-AD1B-F357E8CDECB4}"/>
              </a:ext>
            </a:extLst>
          </p:cNvPr>
          <p:cNvSpPr>
            <a:spLocks/>
          </p:cNvSpPr>
          <p:nvPr>
            <p:custDataLst>
              <p:tags r:id="rId206"/>
            </p:custDataLst>
          </p:nvPr>
        </p:nvSpPr>
        <p:spPr bwMode="auto">
          <a:xfrm>
            <a:off x="15114719" y="7740048"/>
            <a:ext cx="491783" cy="538940"/>
          </a:xfrm>
          <a:custGeom>
            <a:avLst/>
            <a:gdLst>
              <a:gd name="T0" fmla="*/ 39204 w 538"/>
              <a:gd name="T1" fmla="*/ 10953 h 487"/>
              <a:gd name="T2" fmla="*/ 68929 w 538"/>
              <a:gd name="T3" fmla="*/ 24513 h 487"/>
              <a:gd name="T4" fmla="*/ 87023 w 538"/>
              <a:gd name="T5" fmla="*/ 36509 h 487"/>
              <a:gd name="T6" fmla="*/ 108995 w 538"/>
              <a:gd name="T7" fmla="*/ 57372 h 487"/>
              <a:gd name="T8" fmla="*/ 129243 w 538"/>
              <a:gd name="T9" fmla="*/ 70932 h 487"/>
              <a:gd name="T10" fmla="*/ 128812 w 538"/>
              <a:gd name="T11" fmla="*/ 83971 h 487"/>
              <a:gd name="T12" fmla="*/ 149491 w 538"/>
              <a:gd name="T13" fmla="*/ 106920 h 487"/>
              <a:gd name="T14" fmla="*/ 169308 w 538"/>
              <a:gd name="T15" fmla="*/ 129347 h 487"/>
              <a:gd name="T16" fmla="*/ 163276 w 538"/>
              <a:gd name="T17" fmla="*/ 130390 h 487"/>
              <a:gd name="T18" fmla="*/ 160261 w 538"/>
              <a:gd name="T19" fmla="*/ 133520 h 487"/>
              <a:gd name="T20" fmla="*/ 160261 w 538"/>
              <a:gd name="T21" fmla="*/ 144994 h 487"/>
              <a:gd name="T22" fmla="*/ 162415 w 538"/>
              <a:gd name="T23" fmla="*/ 156990 h 487"/>
              <a:gd name="T24" fmla="*/ 167585 w 538"/>
              <a:gd name="T25" fmla="*/ 169507 h 487"/>
              <a:gd name="T26" fmla="*/ 175339 w 538"/>
              <a:gd name="T27" fmla="*/ 181503 h 487"/>
              <a:gd name="T28" fmla="*/ 184386 w 538"/>
              <a:gd name="T29" fmla="*/ 190891 h 487"/>
              <a:gd name="T30" fmla="*/ 194295 w 538"/>
              <a:gd name="T31" fmla="*/ 196107 h 487"/>
              <a:gd name="T32" fmla="*/ 198603 w 538"/>
              <a:gd name="T33" fmla="*/ 203409 h 487"/>
              <a:gd name="T34" fmla="*/ 203342 w 538"/>
              <a:gd name="T35" fmla="*/ 211754 h 487"/>
              <a:gd name="T36" fmla="*/ 210665 w 538"/>
              <a:gd name="T37" fmla="*/ 217491 h 487"/>
              <a:gd name="T38" fmla="*/ 221005 w 538"/>
              <a:gd name="T39" fmla="*/ 225314 h 487"/>
              <a:gd name="T40" fmla="*/ 223159 w 538"/>
              <a:gd name="T41" fmla="*/ 231573 h 487"/>
              <a:gd name="T42" fmla="*/ 226174 w 538"/>
              <a:gd name="T43" fmla="*/ 234702 h 487"/>
              <a:gd name="T44" fmla="*/ 231775 w 538"/>
              <a:gd name="T45" fmla="*/ 237832 h 487"/>
              <a:gd name="T46" fmla="*/ 230052 w 538"/>
              <a:gd name="T47" fmla="*/ 246177 h 487"/>
              <a:gd name="T48" fmla="*/ 223590 w 538"/>
              <a:gd name="T49" fmla="*/ 252435 h 487"/>
              <a:gd name="T50" fmla="*/ 211096 w 538"/>
              <a:gd name="T51" fmla="*/ 254000 h 487"/>
              <a:gd name="T52" fmla="*/ 193002 w 538"/>
              <a:gd name="T53" fmla="*/ 250349 h 487"/>
              <a:gd name="T54" fmla="*/ 178355 w 538"/>
              <a:gd name="T55" fmla="*/ 243047 h 487"/>
              <a:gd name="T56" fmla="*/ 166292 w 538"/>
              <a:gd name="T57" fmla="*/ 232616 h 487"/>
              <a:gd name="T58" fmla="*/ 152937 w 538"/>
              <a:gd name="T59" fmla="*/ 216448 h 487"/>
              <a:gd name="T60" fmla="*/ 134412 w 538"/>
              <a:gd name="T61" fmla="*/ 190370 h 487"/>
              <a:gd name="T62" fmla="*/ 118042 w 538"/>
              <a:gd name="T63" fmla="*/ 172115 h 487"/>
              <a:gd name="T64" fmla="*/ 105979 w 538"/>
              <a:gd name="T65" fmla="*/ 164813 h 487"/>
              <a:gd name="T66" fmla="*/ 91331 w 538"/>
              <a:gd name="T67" fmla="*/ 161162 h 487"/>
              <a:gd name="T68" fmla="*/ 77546 w 538"/>
              <a:gd name="T69" fmla="*/ 161684 h 487"/>
              <a:gd name="T70" fmla="*/ 65914 w 538"/>
              <a:gd name="T71" fmla="*/ 165335 h 487"/>
              <a:gd name="T72" fmla="*/ 48681 w 538"/>
              <a:gd name="T73" fmla="*/ 179938 h 487"/>
              <a:gd name="T74" fmla="*/ 58590 w 538"/>
              <a:gd name="T75" fmla="*/ 188283 h 487"/>
              <a:gd name="T76" fmla="*/ 60313 w 538"/>
              <a:gd name="T77" fmla="*/ 192977 h 487"/>
              <a:gd name="T78" fmla="*/ 53420 w 538"/>
              <a:gd name="T79" fmla="*/ 209146 h 487"/>
              <a:gd name="T80" fmla="*/ 48681 w 538"/>
              <a:gd name="T81" fmla="*/ 215926 h 487"/>
              <a:gd name="T82" fmla="*/ 20248 w 538"/>
              <a:gd name="T83" fmla="*/ 210189 h 487"/>
              <a:gd name="T84" fmla="*/ 8616 w 538"/>
              <a:gd name="T85" fmla="*/ 135084 h 487"/>
              <a:gd name="T86" fmla="*/ 8616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30" name="Freeform 280">
            <a:extLst>
              <a:ext uri="{FF2B5EF4-FFF2-40B4-BE49-F238E27FC236}">
                <a16:creationId xmlns:a16="http://schemas.microsoft.com/office/drawing/2014/main" id="{34869A12-249E-4673-A53E-DF4687ACF811}"/>
              </a:ext>
            </a:extLst>
          </p:cNvPr>
          <p:cNvSpPr>
            <a:spLocks/>
          </p:cNvSpPr>
          <p:nvPr>
            <p:custDataLst>
              <p:tags r:id="rId207"/>
            </p:custDataLst>
          </p:nvPr>
        </p:nvSpPr>
        <p:spPr bwMode="auto">
          <a:xfrm>
            <a:off x="15522294" y="7706364"/>
            <a:ext cx="225680" cy="272837"/>
          </a:xfrm>
          <a:custGeom>
            <a:avLst/>
            <a:gdLst>
              <a:gd name="T0" fmla="*/ 57175 w 253"/>
              <a:gd name="T1" fmla="*/ 523 h 246"/>
              <a:gd name="T2" fmla="*/ 66003 w 253"/>
              <a:gd name="T3" fmla="*/ 4182 h 246"/>
              <a:gd name="T4" fmla="*/ 75252 w 253"/>
              <a:gd name="T5" fmla="*/ 10977 h 246"/>
              <a:gd name="T6" fmla="*/ 83660 w 253"/>
              <a:gd name="T7" fmla="*/ 19340 h 246"/>
              <a:gd name="T8" fmla="*/ 91648 w 253"/>
              <a:gd name="T9" fmla="*/ 29795 h 246"/>
              <a:gd name="T10" fmla="*/ 98374 w 253"/>
              <a:gd name="T11" fmla="*/ 39726 h 246"/>
              <a:gd name="T12" fmla="*/ 102999 w 253"/>
              <a:gd name="T13" fmla="*/ 49135 h 246"/>
              <a:gd name="T14" fmla="*/ 105942 w 253"/>
              <a:gd name="T15" fmla="*/ 58021 h 246"/>
              <a:gd name="T16" fmla="*/ 105942 w 253"/>
              <a:gd name="T17" fmla="*/ 66907 h 246"/>
              <a:gd name="T18" fmla="*/ 102158 w 253"/>
              <a:gd name="T19" fmla="*/ 78929 h 246"/>
              <a:gd name="T20" fmla="*/ 96272 w 253"/>
              <a:gd name="T21" fmla="*/ 90952 h 246"/>
              <a:gd name="T22" fmla="*/ 87864 w 253"/>
              <a:gd name="T23" fmla="*/ 101929 h 246"/>
              <a:gd name="T24" fmla="*/ 77354 w 253"/>
              <a:gd name="T25" fmla="*/ 111860 h 246"/>
              <a:gd name="T26" fmla="*/ 66003 w 253"/>
              <a:gd name="T27" fmla="*/ 119701 h 246"/>
              <a:gd name="T28" fmla="*/ 54232 w 253"/>
              <a:gd name="T29" fmla="*/ 125451 h 246"/>
              <a:gd name="T30" fmla="*/ 42040 w 253"/>
              <a:gd name="T31" fmla="*/ 128064 h 246"/>
              <a:gd name="T32" fmla="*/ 31110 w 253"/>
              <a:gd name="T33" fmla="*/ 128064 h 246"/>
              <a:gd name="T34" fmla="*/ 22281 w 253"/>
              <a:gd name="T35" fmla="*/ 125451 h 246"/>
              <a:gd name="T36" fmla="*/ 13873 w 253"/>
              <a:gd name="T37" fmla="*/ 122314 h 246"/>
              <a:gd name="T38" fmla="*/ 4624 w 253"/>
              <a:gd name="T39" fmla="*/ 119701 h 246"/>
              <a:gd name="T40" fmla="*/ 1261 w 253"/>
              <a:gd name="T41" fmla="*/ 114474 h 246"/>
              <a:gd name="T42" fmla="*/ 4204 w 253"/>
              <a:gd name="T43" fmla="*/ 107156 h 246"/>
              <a:gd name="T44" fmla="*/ 9249 w 253"/>
              <a:gd name="T45" fmla="*/ 102451 h 246"/>
              <a:gd name="T46" fmla="*/ 15555 w 253"/>
              <a:gd name="T47" fmla="*/ 99838 h 246"/>
              <a:gd name="T48" fmla="*/ 21020 w 253"/>
              <a:gd name="T49" fmla="*/ 102974 h 246"/>
              <a:gd name="T50" fmla="*/ 25224 w 253"/>
              <a:gd name="T51" fmla="*/ 108201 h 246"/>
              <a:gd name="T52" fmla="*/ 28587 w 253"/>
              <a:gd name="T53" fmla="*/ 105065 h 246"/>
              <a:gd name="T54" fmla="*/ 31530 w 253"/>
              <a:gd name="T55" fmla="*/ 99315 h 246"/>
              <a:gd name="T56" fmla="*/ 35314 w 253"/>
              <a:gd name="T57" fmla="*/ 94088 h 246"/>
              <a:gd name="T58" fmla="*/ 38257 w 253"/>
              <a:gd name="T59" fmla="*/ 94611 h 246"/>
              <a:gd name="T60" fmla="*/ 41200 w 253"/>
              <a:gd name="T61" fmla="*/ 93565 h 246"/>
              <a:gd name="T62" fmla="*/ 44563 w 253"/>
              <a:gd name="T63" fmla="*/ 93043 h 246"/>
              <a:gd name="T64" fmla="*/ 50448 w 253"/>
              <a:gd name="T65" fmla="*/ 90952 h 246"/>
              <a:gd name="T66" fmla="*/ 62640 w 253"/>
              <a:gd name="T67" fmla="*/ 85725 h 246"/>
              <a:gd name="T68" fmla="*/ 75252 w 253"/>
              <a:gd name="T69" fmla="*/ 76839 h 246"/>
              <a:gd name="T70" fmla="*/ 82819 w 253"/>
              <a:gd name="T71" fmla="*/ 70566 h 246"/>
              <a:gd name="T72" fmla="*/ 88285 w 253"/>
              <a:gd name="T73" fmla="*/ 64294 h 246"/>
              <a:gd name="T74" fmla="*/ 91648 w 253"/>
              <a:gd name="T75" fmla="*/ 58021 h 246"/>
              <a:gd name="T76" fmla="*/ 92068 w 253"/>
              <a:gd name="T77" fmla="*/ 51226 h 246"/>
              <a:gd name="T78" fmla="*/ 89966 w 253"/>
              <a:gd name="T79" fmla="*/ 45999 h 246"/>
              <a:gd name="T80" fmla="*/ 88285 w 253"/>
              <a:gd name="T81" fmla="*/ 41817 h 246"/>
              <a:gd name="T82" fmla="*/ 87023 w 253"/>
              <a:gd name="T83" fmla="*/ 37635 h 246"/>
              <a:gd name="T84" fmla="*/ 84501 w 253"/>
              <a:gd name="T85" fmla="*/ 35022 h 246"/>
              <a:gd name="T86" fmla="*/ 80297 w 253"/>
              <a:gd name="T87" fmla="*/ 33976 h 246"/>
              <a:gd name="T88" fmla="*/ 77354 w 253"/>
              <a:gd name="T89" fmla="*/ 31885 h 246"/>
              <a:gd name="T90" fmla="*/ 75673 w 253"/>
              <a:gd name="T91" fmla="*/ 28226 h 246"/>
              <a:gd name="T92" fmla="*/ 58856 w 253"/>
              <a:gd name="T93" fmla="*/ 25613 h 246"/>
              <a:gd name="T94" fmla="*/ 57175 w 253"/>
              <a:gd name="T95" fmla="*/ 22999 h 246"/>
              <a:gd name="T96" fmla="*/ 57175 w 253"/>
              <a:gd name="T97" fmla="*/ 18818 h 246"/>
              <a:gd name="T98" fmla="*/ 58856 w 253"/>
              <a:gd name="T99" fmla="*/ 9409 h 246"/>
              <a:gd name="T100" fmla="*/ 46244 w 253"/>
              <a:gd name="T101" fmla="*/ 5750 h 246"/>
              <a:gd name="T102" fmla="*/ 40779 w 253"/>
              <a:gd name="T103" fmla="*/ 6273 h 246"/>
              <a:gd name="T104" fmla="*/ 36155 w 253"/>
              <a:gd name="T105" fmla="*/ 9409 h 246"/>
              <a:gd name="T106" fmla="*/ 43722 w 253"/>
              <a:gd name="T107" fmla="*/ 2614 h 246"/>
              <a:gd name="T108" fmla="*/ 47506 w 253"/>
              <a:gd name="T109" fmla="*/ 523 h 246"/>
              <a:gd name="T110" fmla="*/ 53391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31" name="Freeform 281">
            <a:extLst>
              <a:ext uri="{FF2B5EF4-FFF2-40B4-BE49-F238E27FC236}">
                <a16:creationId xmlns:a16="http://schemas.microsoft.com/office/drawing/2014/main" id="{C5EAC573-6102-4A55-8705-54E63C0696B8}"/>
              </a:ext>
            </a:extLst>
          </p:cNvPr>
          <p:cNvSpPr>
            <a:spLocks/>
          </p:cNvSpPr>
          <p:nvPr>
            <p:custDataLst>
              <p:tags r:id="rId208"/>
            </p:custDataLst>
          </p:nvPr>
        </p:nvSpPr>
        <p:spPr bwMode="auto">
          <a:xfrm>
            <a:off x="11864238" y="6928269"/>
            <a:ext cx="134735" cy="252629"/>
          </a:xfrm>
          <a:custGeom>
            <a:avLst/>
            <a:gdLst>
              <a:gd name="T0" fmla="*/ 18465 w 141"/>
              <a:gd name="T1" fmla="*/ 119063 h 228"/>
              <a:gd name="T2" fmla="*/ 16213 w 141"/>
              <a:gd name="T3" fmla="*/ 114885 h 228"/>
              <a:gd name="T4" fmla="*/ 13060 w 141"/>
              <a:gd name="T5" fmla="*/ 108619 h 228"/>
              <a:gd name="T6" fmla="*/ 9908 w 141"/>
              <a:gd name="T7" fmla="*/ 101308 h 228"/>
              <a:gd name="T8" fmla="*/ 7206 w 141"/>
              <a:gd name="T9" fmla="*/ 92953 h 228"/>
              <a:gd name="T10" fmla="*/ 4504 w 141"/>
              <a:gd name="T11" fmla="*/ 85120 h 228"/>
              <a:gd name="T12" fmla="*/ 2252 w 141"/>
              <a:gd name="T13" fmla="*/ 77287 h 228"/>
              <a:gd name="T14" fmla="*/ 901 w 141"/>
              <a:gd name="T15" fmla="*/ 70498 h 228"/>
              <a:gd name="T16" fmla="*/ 0 w 141"/>
              <a:gd name="T17" fmla="*/ 64231 h 228"/>
              <a:gd name="T18" fmla="*/ 901 w 141"/>
              <a:gd name="T19" fmla="*/ 54309 h 228"/>
              <a:gd name="T20" fmla="*/ 1801 w 141"/>
              <a:gd name="T21" fmla="*/ 45432 h 228"/>
              <a:gd name="T22" fmla="*/ 2702 w 141"/>
              <a:gd name="T23" fmla="*/ 36554 h 228"/>
              <a:gd name="T24" fmla="*/ 4053 w 141"/>
              <a:gd name="T25" fmla="*/ 28721 h 228"/>
              <a:gd name="T26" fmla="*/ 8106 w 141"/>
              <a:gd name="T27" fmla="*/ 14622 h 228"/>
              <a:gd name="T28" fmla="*/ 12610 w 141"/>
              <a:gd name="T29" fmla="*/ 0 h 228"/>
              <a:gd name="T30" fmla="*/ 20266 w 141"/>
              <a:gd name="T31" fmla="*/ 8355 h 228"/>
              <a:gd name="T32" fmla="*/ 27922 w 141"/>
              <a:gd name="T33" fmla="*/ 14622 h 228"/>
              <a:gd name="T34" fmla="*/ 34227 w 141"/>
              <a:gd name="T35" fmla="*/ 19322 h 228"/>
              <a:gd name="T36" fmla="*/ 40082 w 141"/>
              <a:gd name="T37" fmla="*/ 25066 h 228"/>
              <a:gd name="T38" fmla="*/ 42784 w 141"/>
              <a:gd name="T39" fmla="*/ 28721 h 228"/>
              <a:gd name="T40" fmla="*/ 45486 w 141"/>
              <a:gd name="T41" fmla="*/ 32899 h 228"/>
              <a:gd name="T42" fmla="*/ 48188 w 141"/>
              <a:gd name="T43" fmla="*/ 38643 h 228"/>
              <a:gd name="T44" fmla="*/ 51340 w 141"/>
              <a:gd name="T45" fmla="*/ 44910 h 228"/>
              <a:gd name="T46" fmla="*/ 54043 w 141"/>
              <a:gd name="T47" fmla="*/ 52221 h 228"/>
              <a:gd name="T48" fmla="*/ 57195 w 141"/>
              <a:gd name="T49" fmla="*/ 61098 h 228"/>
              <a:gd name="T50" fmla="*/ 59897 w 141"/>
              <a:gd name="T51" fmla="*/ 72064 h 228"/>
              <a:gd name="T52" fmla="*/ 63500 w 141"/>
              <a:gd name="T53" fmla="*/ 84075 h 228"/>
              <a:gd name="T54" fmla="*/ 63050 w 141"/>
              <a:gd name="T55" fmla="*/ 88253 h 228"/>
              <a:gd name="T56" fmla="*/ 62149 w 141"/>
              <a:gd name="T57" fmla="*/ 92430 h 228"/>
              <a:gd name="T58" fmla="*/ 60798 w 141"/>
              <a:gd name="T59" fmla="*/ 97130 h 228"/>
              <a:gd name="T60" fmla="*/ 58996 w 141"/>
              <a:gd name="T61" fmla="*/ 100264 h 228"/>
              <a:gd name="T62" fmla="*/ 57195 w 141"/>
              <a:gd name="T63" fmla="*/ 103919 h 228"/>
              <a:gd name="T64" fmla="*/ 54493 w 141"/>
              <a:gd name="T65" fmla="*/ 106530 h 228"/>
              <a:gd name="T66" fmla="*/ 51791 w 141"/>
              <a:gd name="T67" fmla="*/ 109141 h 228"/>
              <a:gd name="T68" fmla="*/ 48638 w 141"/>
              <a:gd name="T69" fmla="*/ 111230 h 228"/>
              <a:gd name="T70" fmla="*/ 45035 w 141"/>
              <a:gd name="T71" fmla="*/ 113319 h 228"/>
              <a:gd name="T72" fmla="*/ 41883 w 141"/>
              <a:gd name="T73" fmla="*/ 114885 h 228"/>
              <a:gd name="T74" fmla="*/ 38280 w 141"/>
              <a:gd name="T75" fmla="*/ 116452 h 228"/>
              <a:gd name="T76" fmla="*/ 34227 w 141"/>
              <a:gd name="T77" fmla="*/ 117496 h 228"/>
              <a:gd name="T78" fmla="*/ 26571 w 141"/>
              <a:gd name="T79" fmla="*/ 118541 h 228"/>
              <a:gd name="T80" fmla="*/ 18465 w 141"/>
              <a:gd name="T81" fmla="*/ 119063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grpSp>
        <p:nvGrpSpPr>
          <p:cNvPr id="832" name="Group 282">
            <a:extLst>
              <a:ext uri="{FF2B5EF4-FFF2-40B4-BE49-F238E27FC236}">
                <a16:creationId xmlns:a16="http://schemas.microsoft.com/office/drawing/2014/main" id="{D4DD3CCE-91DB-460C-BC2A-C3DB557EEABC}"/>
              </a:ext>
            </a:extLst>
          </p:cNvPr>
          <p:cNvGrpSpPr>
            <a:grpSpLocks/>
          </p:cNvGrpSpPr>
          <p:nvPr>
            <p:custDataLst>
              <p:tags r:id="rId209"/>
            </p:custDataLst>
          </p:nvPr>
        </p:nvGrpSpPr>
        <p:grpSpPr bwMode="auto">
          <a:xfrm>
            <a:off x="13858316" y="6315224"/>
            <a:ext cx="495150" cy="933041"/>
            <a:chOff x="5062" y="2295"/>
            <a:chExt cx="177" cy="279"/>
          </a:xfrm>
          <a:solidFill>
            <a:schemeClr val="bg2">
              <a:lumMod val="50000"/>
              <a:alpha val="18000"/>
            </a:schemeClr>
          </a:solidFill>
        </p:grpSpPr>
        <p:sp>
          <p:nvSpPr>
            <p:cNvPr id="833" name="Freeform 283">
              <a:extLst>
                <a:ext uri="{FF2B5EF4-FFF2-40B4-BE49-F238E27FC236}">
                  <a16:creationId xmlns:a16="http://schemas.microsoft.com/office/drawing/2014/main" id="{FEC525B0-059E-4EB6-9F08-45E3A2997C04}"/>
                </a:ext>
              </a:extLst>
            </p:cNvPr>
            <p:cNvSpPr>
              <a:spLocks/>
            </p:cNvSpPr>
            <p:nvPr/>
          </p:nvSpPr>
          <p:spPr bwMode="auto">
            <a:xfrm>
              <a:off x="5154" y="2449"/>
              <a:ext cx="19" cy="37"/>
            </a:xfrm>
            <a:custGeom>
              <a:avLst/>
              <a:gdLst>
                <a:gd name="T0" fmla="*/ 12 w 60"/>
                <a:gd name="T1" fmla="*/ 37 h 110"/>
                <a:gd name="T2" fmla="*/ 13 w 60"/>
                <a:gd name="T3" fmla="*/ 37 h 110"/>
                <a:gd name="T4" fmla="*/ 15 w 60"/>
                <a:gd name="T5" fmla="*/ 36 h 110"/>
                <a:gd name="T6" fmla="*/ 16 w 60"/>
                <a:gd name="T7" fmla="*/ 34 h 110"/>
                <a:gd name="T8" fmla="*/ 16 w 60"/>
                <a:gd name="T9" fmla="*/ 32 h 110"/>
                <a:gd name="T10" fmla="*/ 17 w 60"/>
                <a:gd name="T11" fmla="*/ 30 h 110"/>
                <a:gd name="T12" fmla="*/ 18 w 60"/>
                <a:gd name="T13" fmla="*/ 28 h 110"/>
                <a:gd name="T14" fmla="*/ 19 w 60"/>
                <a:gd name="T15" fmla="*/ 26 h 110"/>
                <a:gd name="T16" fmla="*/ 19 w 60"/>
                <a:gd name="T17" fmla="*/ 25 h 110"/>
                <a:gd name="T18" fmla="*/ 19 w 60"/>
                <a:gd name="T19" fmla="*/ 20 h 110"/>
                <a:gd name="T20" fmla="*/ 18 w 60"/>
                <a:gd name="T21" fmla="*/ 16 h 110"/>
                <a:gd name="T22" fmla="*/ 18 w 60"/>
                <a:gd name="T23" fmla="*/ 13 h 110"/>
                <a:gd name="T24" fmla="*/ 17 w 60"/>
                <a:gd name="T25" fmla="*/ 10 h 110"/>
                <a:gd name="T26" fmla="*/ 16 w 60"/>
                <a:gd name="T27" fmla="*/ 7 h 110"/>
                <a:gd name="T28" fmla="*/ 15 w 60"/>
                <a:gd name="T29" fmla="*/ 4 h 110"/>
                <a:gd name="T30" fmla="*/ 14 w 60"/>
                <a:gd name="T31" fmla="*/ 2 h 110"/>
                <a:gd name="T32" fmla="*/ 12 w 60"/>
                <a:gd name="T33" fmla="*/ 0 h 110"/>
                <a:gd name="T34" fmla="*/ 11 w 60"/>
                <a:gd name="T35" fmla="*/ 1 h 110"/>
                <a:gd name="T36" fmla="*/ 10 w 60"/>
                <a:gd name="T37" fmla="*/ 3 h 110"/>
                <a:gd name="T38" fmla="*/ 9 w 60"/>
                <a:gd name="T39" fmla="*/ 4 h 110"/>
                <a:gd name="T40" fmla="*/ 8 w 60"/>
                <a:gd name="T41" fmla="*/ 6 h 110"/>
                <a:gd name="T42" fmla="*/ 6 w 60"/>
                <a:gd name="T43" fmla="*/ 10 h 110"/>
                <a:gd name="T44" fmla="*/ 5 w 60"/>
                <a:gd name="T45" fmla="*/ 13 h 110"/>
                <a:gd name="T46" fmla="*/ 3 w 60"/>
                <a:gd name="T47" fmla="*/ 17 h 110"/>
                <a:gd name="T48" fmla="*/ 2 w 60"/>
                <a:gd name="T49" fmla="*/ 21 h 110"/>
                <a:gd name="T50" fmla="*/ 2 w 60"/>
                <a:gd name="T51" fmla="*/ 22 h 110"/>
                <a:gd name="T52" fmla="*/ 1 w 60"/>
                <a:gd name="T53" fmla="*/ 23 h 110"/>
                <a:gd name="T54" fmla="*/ 1 w 60"/>
                <a:gd name="T55" fmla="*/ 24 h 110"/>
                <a:gd name="T56" fmla="*/ 0 w 60"/>
                <a:gd name="T57" fmla="*/ 25 h 110"/>
                <a:gd name="T58" fmla="*/ 0 w 60"/>
                <a:gd name="T59" fmla="*/ 26 h 110"/>
                <a:gd name="T60" fmla="*/ 1 w 60"/>
                <a:gd name="T61" fmla="*/ 28 h 110"/>
                <a:gd name="T62" fmla="*/ 2 w 60"/>
                <a:gd name="T63" fmla="*/ 30 h 110"/>
                <a:gd name="T64" fmla="*/ 4 w 60"/>
                <a:gd name="T65" fmla="*/ 32 h 110"/>
                <a:gd name="T66" fmla="*/ 6 w 60"/>
                <a:gd name="T67" fmla="*/ 34 h 110"/>
                <a:gd name="T68" fmla="*/ 8 w 60"/>
                <a:gd name="T69" fmla="*/ 36 h 110"/>
                <a:gd name="T70" fmla="*/ 10 w 60"/>
                <a:gd name="T71" fmla="*/ 37 h 110"/>
                <a:gd name="T72" fmla="*/ 12 w 60"/>
                <a:gd name="T73" fmla="*/ 37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rgbClr val="FFFFFF"/>
              </a:solidFill>
              <a:prstDash val="solid"/>
              <a:round/>
              <a:headEnd/>
              <a:tailEnd/>
            </a:ln>
          </p:spPr>
          <p:txBody>
            <a:bodyPr/>
            <a:lstStyle/>
            <a:p>
              <a:endParaRPr lang="es-ES" dirty="0"/>
            </a:p>
          </p:txBody>
        </p:sp>
        <p:sp>
          <p:nvSpPr>
            <p:cNvPr id="834" name="Freeform 284">
              <a:extLst>
                <a:ext uri="{FF2B5EF4-FFF2-40B4-BE49-F238E27FC236}">
                  <a16:creationId xmlns:a16="http://schemas.microsoft.com/office/drawing/2014/main" id="{10E9A546-938B-4672-8821-2BB178A5CE5F}"/>
                </a:ext>
              </a:extLst>
            </p:cNvPr>
            <p:cNvSpPr>
              <a:spLocks/>
            </p:cNvSpPr>
            <p:nvPr/>
          </p:nvSpPr>
          <p:spPr bwMode="auto">
            <a:xfrm>
              <a:off x="5189" y="2422"/>
              <a:ext cx="24" cy="25"/>
            </a:xfrm>
            <a:custGeom>
              <a:avLst/>
              <a:gdLst>
                <a:gd name="T0" fmla="*/ 0 w 72"/>
                <a:gd name="T1" fmla="*/ 4 h 75"/>
                <a:gd name="T2" fmla="*/ 3 w 72"/>
                <a:gd name="T3" fmla="*/ 6 h 75"/>
                <a:gd name="T4" fmla="*/ 5 w 72"/>
                <a:gd name="T5" fmla="*/ 8 h 75"/>
                <a:gd name="T6" fmla="*/ 8 w 72"/>
                <a:gd name="T7" fmla="*/ 11 h 75"/>
                <a:gd name="T8" fmla="*/ 10 w 72"/>
                <a:gd name="T9" fmla="*/ 13 h 75"/>
                <a:gd name="T10" fmla="*/ 12 w 72"/>
                <a:gd name="T11" fmla="*/ 16 h 75"/>
                <a:gd name="T12" fmla="*/ 14 w 72"/>
                <a:gd name="T13" fmla="*/ 19 h 75"/>
                <a:gd name="T14" fmla="*/ 15 w 72"/>
                <a:gd name="T15" fmla="*/ 22 h 75"/>
                <a:gd name="T16" fmla="*/ 15 w 72"/>
                <a:gd name="T17" fmla="*/ 25 h 75"/>
                <a:gd name="T18" fmla="*/ 24 w 72"/>
                <a:gd name="T19" fmla="*/ 25 h 75"/>
                <a:gd name="T20" fmla="*/ 22 w 72"/>
                <a:gd name="T21" fmla="*/ 17 h 75"/>
                <a:gd name="T22" fmla="*/ 20 w 72"/>
                <a:gd name="T23" fmla="*/ 11 h 75"/>
                <a:gd name="T24" fmla="*/ 20 w 72"/>
                <a:gd name="T25" fmla="*/ 9 h 75"/>
                <a:gd name="T26" fmla="*/ 21 w 72"/>
                <a:gd name="T27" fmla="*/ 6 h 75"/>
                <a:gd name="T28" fmla="*/ 22 w 72"/>
                <a:gd name="T29" fmla="*/ 4 h 75"/>
                <a:gd name="T30" fmla="*/ 24 w 72"/>
                <a:gd name="T31" fmla="*/ 0 h 75"/>
                <a:gd name="T32" fmla="*/ 17 w 72"/>
                <a:gd name="T33" fmla="*/ 0 h 75"/>
                <a:gd name="T34" fmla="*/ 11 w 72"/>
                <a:gd name="T35" fmla="*/ 0 h 75"/>
                <a:gd name="T36" fmla="*/ 7 w 72"/>
                <a:gd name="T37" fmla="*/ 0 h 75"/>
                <a:gd name="T38" fmla="*/ 4 w 72"/>
                <a:gd name="T39" fmla="*/ 1 h 75"/>
                <a:gd name="T40" fmla="*/ 3 w 72"/>
                <a:gd name="T41" fmla="*/ 2 h 75"/>
                <a:gd name="T42" fmla="*/ 2 w 72"/>
                <a:gd name="T43" fmla="*/ 2 h 75"/>
                <a:gd name="T44" fmla="*/ 1 w 72"/>
                <a:gd name="T45" fmla="*/ 3 h 75"/>
                <a:gd name="T46" fmla="*/ 0 w 72"/>
                <a:gd name="T47" fmla="*/ 4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rgbClr val="FFFFFF"/>
              </a:solidFill>
              <a:prstDash val="solid"/>
              <a:round/>
              <a:headEnd/>
              <a:tailEnd/>
            </a:ln>
          </p:spPr>
          <p:txBody>
            <a:bodyPr/>
            <a:lstStyle/>
            <a:p>
              <a:endParaRPr lang="es-ES" dirty="0"/>
            </a:p>
          </p:txBody>
        </p:sp>
        <p:sp>
          <p:nvSpPr>
            <p:cNvPr id="835" name="Freeform 285">
              <a:extLst>
                <a:ext uri="{FF2B5EF4-FFF2-40B4-BE49-F238E27FC236}">
                  <a16:creationId xmlns:a16="http://schemas.microsoft.com/office/drawing/2014/main" id="{8D2AACE2-8778-45DC-94F6-2DD7FCFFAB20}"/>
                </a:ext>
              </a:extLst>
            </p:cNvPr>
            <p:cNvSpPr>
              <a:spLocks/>
            </p:cNvSpPr>
            <p:nvPr/>
          </p:nvSpPr>
          <p:spPr bwMode="auto">
            <a:xfrm>
              <a:off x="5160" y="2389"/>
              <a:ext cx="5" cy="16"/>
            </a:xfrm>
            <a:custGeom>
              <a:avLst/>
              <a:gdLst>
                <a:gd name="T0" fmla="*/ 5 w 15"/>
                <a:gd name="T1" fmla="*/ 16 h 49"/>
                <a:gd name="T2" fmla="*/ 5 w 15"/>
                <a:gd name="T3" fmla="*/ 11 h 49"/>
                <a:gd name="T4" fmla="*/ 5 w 15"/>
                <a:gd name="T5" fmla="*/ 6 h 49"/>
                <a:gd name="T6" fmla="*/ 5 w 15"/>
                <a:gd name="T7" fmla="*/ 4 h 49"/>
                <a:gd name="T8" fmla="*/ 4 w 15"/>
                <a:gd name="T9" fmla="*/ 2 h 49"/>
                <a:gd name="T10" fmla="*/ 4 w 15"/>
                <a:gd name="T11" fmla="*/ 1 h 49"/>
                <a:gd name="T12" fmla="*/ 3 w 15"/>
                <a:gd name="T13" fmla="*/ 0 h 49"/>
                <a:gd name="T14" fmla="*/ 1 w 15"/>
                <a:gd name="T15" fmla="*/ 2 h 49"/>
                <a:gd name="T16" fmla="*/ 1 w 15"/>
                <a:gd name="T17" fmla="*/ 5 h 49"/>
                <a:gd name="T18" fmla="*/ 0 w 15"/>
                <a:gd name="T19" fmla="*/ 8 h 49"/>
                <a:gd name="T20" fmla="*/ 0 w 15"/>
                <a:gd name="T21" fmla="*/ 10 h 49"/>
                <a:gd name="T22" fmla="*/ 0 w 15"/>
                <a:gd name="T23" fmla="*/ 12 h 49"/>
                <a:gd name="T24" fmla="*/ 1 w 15"/>
                <a:gd name="T25" fmla="*/ 14 h 49"/>
                <a:gd name="T26" fmla="*/ 2 w 15"/>
                <a:gd name="T27" fmla="*/ 14 h 49"/>
                <a:gd name="T28" fmla="*/ 3 w 15"/>
                <a:gd name="T29" fmla="*/ 15 h 49"/>
                <a:gd name="T30" fmla="*/ 4 w 15"/>
                <a:gd name="T31" fmla="*/ 16 h 49"/>
                <a:gd name="T32" fmla="*/ 5 w 15"/>
                <a:gd name="T33" fmla="*/ 16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rgbClr val="FFFFFF"/>
              </a:solidFill>
              <a:prstDash val="solid"/>
              <a:round/>
              <a:headEnd/>
              <a:tailEnd/>
            </a:ln>
          </p:spPr>
          <p:txBody>
            <a:bodyPr/>
            <a:lstStyle/>
            <a:p>
              <a:endParaRPr lang="es-ES" dirty="0"/>
            </a:p>
          </p:txBody>
        </p:sp>
        <p:sp>
          <p:nvSpPr>
            <p:cNvPr id="836" name="Freeform 286">
              <a:extLst>
                <a:ext uri="{FF2B5EF4-FFF2-40B4-BE49-F238E27FC236}">
                  <a16:creationId xmlns:a16="http://schemas.microsoft.com/office/drawing/2014/main" id="{B0C2CE24-90B7-483E-BB04-BD7BF6B45DCF}"/>
                </a:ext>
              </a:extLst>
            </p:cNvPr>
            <p:cNvSpPr>
              <a:spLocks/>
            </p:cNvSpPr>
            <p:nvPr/>
          </p:nvSpPr>
          <p:spPr bwMode="auto">
            <a:xfrm>
              <a:off x="5139" y="2387"/>
              <a:ext cx="15" cy="13"/>
            </a:xfrm>
            <a:custGeom>
              <a:avLst/>
              <a:gdLst>
                <a:gd name="T0" fmla="*/ 6 w 47"/>
                <a:gd name="T1" fmla="*/ 2 h 40"/>
                <a:gd name="T2" fmla="*/ 0 w 47"/>
                <a:gd name="T3" fmla="*/ 12 h 40"/>
                <a:gd name="T4" fmla="*/ 2 w 47"/>
                <a:gd name="T5" fmla="*/ 13 h 40"/>
                <a:gd name="T6" fmla="*/ 4 w 47"/>
                <a:gd name="T7" fmla="*/ 13 h 40"/>
                <a:gd name="T8" fmla="*/ 6 w 47"/>
                <a:gd name="T9" fmla="*/ 13 h 40"/>
                <a:gd name="T10" fmla="*/ 8 w 47"/>
                <a:gd name="T11" fmla="*/ 12 h 40"/>
                <a:gd name="T12" fmla="*/ 10 w 47"/>
                <a:gd name="T13" fmla="*/ 12 h 40"/>
                <a:gd name="T14" fmla="*/ 12 w 47"/>
                <a:gd name="T15" fmla="*/ 11 h 40"/>
                <a:gd name="T16" fmla="*/ 14 w 47"/>
                <a:gd name="T17" fmla="*/ 10 h 40"/>
                <a:gd name="T18" fmla="*/ 15 w 47"/>
                <a:gd name="T19" fmla="*/ 8 h 40"/>
                <a:gd name="T20" fmla="*/ 15 w 47"/>
                <a:gd name="T21" fmla="*/ 0 h 40"/>
                <a:gd name="T22" fmla="*/ 13 w 47"/>
                <a:gd name="T23" fmla="*/ 0 h 40"/>
                <a:gd name="T24" fmla="*/ 11 w 47"/>
                <a:gd name="T25" fmla="*/ 0 h 40"/>
                <a:gd name="T26" fmla="*/ 8 w 47"/>
                <a:gd name="T27" fmla="*/ 1 h 40"/>
                <a:gd name="T28" fmla="*/ 6 w 47"/>
                <a:gd name="T29" fmla="*/ 2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rgbClr val="FFFFFF"/>
              </a:solidFill>
              <a:prstDash val="solid"/>
              <a:round/>
              <a:headEnd/>
              <a:tailEnd/>
            </a:ln>
          </p:spPr>
          <p:txBody>
            <a:bodyPr/>
            <a:lstStyle/>
            <a:p>
              <a:endParaRPr lang="es-ES" dirty="0"/>
            </a:p>
          </p:txBody>
        </p:sp>
        <p:sp>
          <p:nvSpPr>
            <p:cNvPr id="837" name="Freeform 287">
              <a:extLst>
                <a:ext uri="{FF2B5EF4-FFF2-40B4-BE49-F238E27FC236}">
                  <a16:creationId xmlns:a16="http://schemas.microsoft.com/office/drawing/2014/main" id="{0BA68611-BABE-40EE-B3F2-D136219F8F3D}"/>
                </a:ext>
              </a:extLst>
            </p:cNvPr>
            <p:cNvSpPr>
              <a:spLocks/>
            </p:cNvSpPr>
            <p:nvPr/>
          </p:nvSpPr>
          <p:spPr bwMode="auto">
            <a:xfrm>
              <a:off x="5184" y="2465"/>
              <a:ext cx="13" cy="10"/>
            </a:xfrm>
            <a:custGeom>
              <a:avLst/>
              <a:gdLst>
                <a:gd name="T0" fmla="*/ 0 w 39"/>
                <a:gd name="T1" fmla="*/ 0 h 31"/>
                <a:gd name="T2" fmla="*/ 1 w 39"/>
                <a:gd name="T3" fmla="*/ 3 h 31"/>
                <a:gd name="T4" fmla="*/ 2 w 39"/>
                <a:gd name="T5" fmla="*/ 4 h 31"/>
                <a:gd name="T6" fmla="*/ 4 w 39"/>
                <a:gd name="T7" fmla="*/ 6 h 31"/>
                <a:gd name="T8" fmla="*/ 6 w 39"/>
                <a:gd name="T9" fmla="*/ 7 h 31"/>
                <a:gd name="T10" fmla="*/ 8 w 39"/>
                <a:gd name="T11" fmla="*/ 8 h 31"/>
                <a:gd name="T12" fmla="*/ 9 w 39"/>
                <a:gd name="T13" fmla="*/ 9 h 31"/>
                <a:gd name="T14" fmla="*/ 11 w 39"/>
                <a:gd name="T15" fmla="*/ 10 h 31"/>
                <a:gd name="T16" fmla="*/ 13 w 39"/>
                <a:gd name="T17" fmla="*/ 10 h 31"/>
                <a:gd name="T18" fmla="*/ 11 w 39"/>
                <a:gd name="T19" fmla="*/ 7 h 31"/>
                <a:gd name="T20" fmla="*/ 8 w 39"/>
                <a:gd name="T21" fmla="*/ 5 h 31"/>
                <a:gd name="T22" fmla="*/ 5 w 39"/>
                <a:gd name="T23" fmla="*/ 2 h 31"/>
                <a:gd name="T24" fmla="*/ 2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rgbClr val="FFFFFF"/>
              </a:solidFill>
              <a:prstDash val="solid"/>
              <a:round/>
              <a:headEnd/>
              <a:tailEnd/>
            </a:ln>
          </p:spPr>
          <p:txBody>
            <a:bodyPr/>
            <a:lstStyle/>
            <a:p>
              <a:endParaRPr lang="es-ES" dirty="0"/>
            </a:p>
          </p:txBody>
        </p:sp>
        <p:sp>
          <p:nvSpPr>
            <p:cNvPr id="838" name="Freeform 288">
              <a:extLst>
                <a:ext uri="{FF2B5EF4-FFF2-40B4-BE49-F238E27FC236}">
                  <a16:creationId xmlns:a16="http://schemas.microsoft.com/office/drawing/2014/main" id="{9DD4748C-F7FA-452D-8C36-5F3685FF6F67}"/>
                </a:ext>
              </a:extLst>
            </p:cNvPr>
            <p:cNvSpPr>
              <a:spLocks/>
            </p:cNvSpPr>
            <p:nvPr/>
          </p:nvSpPr>
          <p:spPr bwMode="auto">
            <a:xfrm>
              <a:off x="5172" y="2410"/>
              <a:ext cx="10" cy="6"/>
            </a:xfrm>
            <a:custGeom>
              <a:avLst/>
              <a:gdLst>
                <a:gd name="T0" fmla="*/ 0 w 34"/>
                <a:gd name="T1" fmla="*/ 0 h 19"/>
                <a:gd name="T2" fmla="*/ 10 w 34"/>
                <a:gd name="T3" fmla="*/ 6 h 19"/>
                <a:gd name="T4" fmla="*/ 10 w 34"/>
                <a:gd name="T5" fmla="*/ 0 h 19"/>
                <a:gd name="T6" fmla="*/ 7 w 34"/>
                <a:gd name="T7" fmla="*/ 0 h 19"/>
                <a:gd name="T8" fmla="*/ 4 w 34"/>
                <a:gd name="T9" fmla="*/ 0 h 19"/>
                <a:gd name="T10" fmla="*/ 2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rgbClr val="FFFFFF"/>
              </a:solidFill>
              <a:prstDash val="solid"/>
              <a:round/>
              <a:headEnd/>
              <a:tailEnd/>
            </a:ln>
          </p:spPr>
          <p:txBody>
            <a:bodyPr/>
            <a:lstStyle/>
            <a:p>
              <a:endParaRPr lang="es-ES" dirty="0"/>
            </a:p>
          </p:txBody>
        </p:sp>
        <p:sp>
          <p:nvSpPr>
            <p:cNvPr id="839" name="Freeform 289">
              <a:extLst>
                <a:ext uri="{FF2B5EF4-FFF2-40B4-BE49-F238E27FC236}">
                  <a16:creationId xmlns:a16="http://schemas.microsoft.com/office/drawing/2014/main" id="{A41323A1-D75E-431F-B5B6-B033FE9CDC20}"/>
                </a:ext>
              </a:extLst>
            </p:cNvPr>
            <p:cNvSpPr>
              <a:spLocks/>
            </p:cNvSpPr>
            <p:nvPr/>
          </p:nvSpPr>
          <p:spPr bwMode="auto">
            <a:xfrm>
              <a:off x="5180" y="2471"/>
              <a:ext cx="6" cy="4"/>
            </a:xfrm>
            <a:custGeom>
              <a:avLst/>
              <a:gdLst>
                <a:gd name="T0" fmla="*/ 0 w 19"/>
                <a:gd name="T1" fmla="*/ 0 h 12"/>
                <a:gd name="T2" fmla="*/ 6 w 19"/>
                <a:gd name="T3" fmla="*/ 4 h 12"/>
                <a:gd name="T4" fmla="*/ 4 w 19"/>
                <a:gd name="T5" fmla="*/ 2 h 12"/>
                <a:gd name="T6" fmla="*/ 2 w 19"/>
                <a:gd name="T7" fmla="*/ 2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grpFill/>
            <a:ln w="9525" cmpd="sng">
              <a:solidFill>
                <a:srgbClr val="FFFFFF"/>
              </a:solidFill>
              <a:prstDash val="solid"/>
              <a:round/>
              <a:headEnd/>
              <a:tailEnd/>
            </a:ln>
          </p:spPr>
          <p:txBody>
            <a:bodyPr/>
            <a:lstStyle/>
            <a:p>
              <a:endParaRPr lang="es-ES" dirty="0"/>
            </a:p>
          </p:txBody>
        </p:sp>
        <p:sp>
          <p:nvSpPr>
            <p:cNvPr id="840" name="Freeform 290">
              <a:extLst>
                <a:ext uri="{FF2B5EF4-FFF2-40B4-BE49-F238E27FC236}">
                  <a16:creationId xmlns:a16="http://schemas.microsoft.com/office/drawing/2014/main" id="{B4B48F0A-21E1-42F5-B859-121A64E79FAF}"/>
                </a:ext>
              </a:extLst>
            </p:cNvPr>
            <p:cNvSpPr>
              <a:spLocks/>
            </p:cNvSpPr>
            <p:nvPr/>
          </p:nvSpPr>
          <p:spPr bwMode="auto">
            <a:xfrm>
              <a:off x="5062" y="2447"/>
              <a:ext cx="42" cy="55"/>
            </a:xfrm>
            <a:custGeom>
              <a:avLst/>
              <a:gdLst>
                <a:gd name="T0" fmla="*/ 38 w 126"/>
                <a:gd name="T1" fmla="*/ 0 h 166"/>
                <a:gd name="T2" fmla="*/ 39 w 126"/>
                <a:gd name="T3" fmla="*/ 2 h 166"/>
                <a:gd name="T4" fmla="*/ 40 w 126"/>
                <a:gd name="T5" fmla="*/ 3 h 166"/>
                <a:gd name="T6" fmla="*/ 41 w 126"/>
                <a:gd name="T7" fmla="*/ 4 h 166"/>
                <a:gd name="T8" fmla="*/ 42 w 126"/>
                <a:gd name="T9" fmla="*/ 6 h 166"/>
                <a:gd name="T10" fmla="*/ 42 w 126"/>
                <a:gd name="T11" fmla="*/ 7 h 166"/>
                <a:gd name="T12" fmla="*/ 42 w 126"/>
                <a:gd name="T13" fmla="*/ 8 h 166"/>
                <a:gd name="T14" fmla="*/ 41 w 126"/>
                <a:gd name="T15" fmla="*/ 11 h 166"/>
                <a:gd name="T16" fmla="*/ 39 w 126"/>
                <a:gd name="T17" fmla="*/ 14 h 166"/>
                <a:gd name="T18" fmla="*/ 38 w 126"/>
                <a:gd name="T19" fmla="*/ 17 h 166"/>
                <a:gd name="T20" fmla="*/ 35 w 126"/>
                <a:gd name="T21" fmla="*/ 20 h 166"/>
                <a:gd name="T22" fmla="*/ 30 w 126"/>
                <a:gd name="T23" fmla="*/ 28 h 166"/>
                <a:gd name="T24" fmla="*/ 24 w 126"/>
                <a:gd name="T25" fmla="*/ 34 h 166"/>
                <a:gd name="T26" fmla="*/ 18 w 126"/>
                <a:gd name="T27" fmla="*/ 42 h 166"/>
                <a:gd name="T28" fmla="*/ 11 w 126"/>
                <a:gd name="T29" fmla="*/ 48 h 166"/>
                <a:gd name="T30" fmla="*/ 8 w 126"/>
                <a:gd name="T31" fmla="*/ 50 h 166"/>
                <a:gd name="T32" fmla="*/ 5 w 126"/>
                <a:gd name="T33" fmla="*/ 52 h 166"/>
                <a:gd name="T34" fmla="*/ 2 w 126"/>
                <a:gd name="T35" fmla="*/ 54 h 166"/>
                <a:gd name="T36" fmla="*/ 0 w 126"/>
                <a:gd name="T37" fmla="*/ 55 h 166"/>
                <a:gd name="T38" fmla="*/ 0 w 126"/>
                <a:gd name="T39" fmla="*/ 53 h 166"/>
                <a:gd name="T40" fmla="*/ 0 w 126"/>
                <a:gd name="T41" fmla="*/ 51 h 166"/>
                <a:gd name="T42" fmla="*/ 0 w 126"/>
                <a:gd name="T43" fmla="*/ 48 h 166"/>
                <a:gd name="T44" fmla="*/ 0 w 126"/>
                <a:gd name="T45" fmla="*/ 45 h 166"/>
                <a:gd name="T46" fmla="*/ 1 w 126"/>
                <a:gd name="T47" fmla="*/ 43 h 166"/>
                <a:gd name="T48" fmla="*/ 2 w 126"/>
                <a:gd name="T49" fmla="*/ 42 h 166"/>
                <a:gd name="T50" fmla="*/ 4 w 126"/>
                <a:gd name="T51" fmla="*/ 41 h 166"/>
                <a:gd name="T52" fmla="*/ 5 w 126"/>
                <a:gd name="T53" fmla="*/ 40 h 166"/>
                <a:gd name="T54" fmla="*/ 9 w 126"/>
                <a:gd name="T55" fmla="*/ 38 h 166"/>
                <a:gd name="T56" fmla="*/ 11 w 126"/>
                <a:gd name="T57" fmla="*/ 36 h 166"/>
                <a:gd name="T58" fmla="*/ 13 w 126"/>
                <a:gd name="T59" fmla="*/ 34 h 166"/>
                <a:gd name="T60" fmla="*/ 16 w 126"/>
                <a:gd name="T61" fmla="*/ 32 h 166"/>
                <a:gd name="T62" fmla="*/ 18 w 126"/>
                <a:gd name="T63" fmla="*/ 29 h 166"/>
                <a:gd name="T64" fmla="*/ 19 w 126"/>
                <a:gd name="T65" fmla="*/ 27 h 166"/>
                <a:gd name="T66" fmla="*/ 22 w 126"/>
                <a:gd name="T67" fmla="*/ 22 h 166"/>
                <a:gd name="T68" fmla="*/ 24 w 126"/>
                <a:gd name="T69" fmla="*/ 17 h 166"/>
                <a:gd name="T70" fmla="*/ 26 w 126"/>
                <a:gd name="T71" fmla="*/ 12 h 166"/>
                <a:gd name="T72" fmla="*/ 29 w 126"/>
                <a:gd name="T73" fmla="*/ 8 h 166"/>
                <a:gd name="T74" fmla="*/ 31 w 126"/>
                <a:gd name="T75" fmla="*/ 5 h 166"/>
                <a:gd name="T76" fmla="*/ 32 w 126"/>
                <a:gd name="T77" fmla="*/ 4 h 166"/>
                <a:gd name="T78" fmla="*/ 35 w 126"/>
                <a:gd name="T79" fmla="*/ 2 h 166"/>
                <a:gd name="T80" fmla="*/ 38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rgbClr val="FFFFFF"/>
              </a:solidFill>
              <a:prstDash val="solid"/>
              <a:round/>
              <a:headEnd/>
              <a:tailEnd/>
            </a:ln>
          </p:spPr>
          <p:txBody>
            <a:bodyPr/>
            <a:lstStyle/>
            <a:p>
              <a:endParaRPr lang="es-ES" dirty="0"/>
            </a:p>
          </p:txBody>
        </p:sp>
        <p:sp>
          <p:nvSpPr>
            <p:cNvPr id="841" name="Freeform 291">
              <a:extLst>
                <a:ext uri="{FF2B5EF4-FFF2-40B4-BE49-F238E27FC236}">
                  <a16:creationId xmlns:a16="http://schemas.microsoft.com/office/drawing/2014/main" id="{A5854C4F-440E-4C21-A4FA-BE96A70137A4}"/>
                </a:ext>
              </a:extLst>
            </p:cNvPr>
            <p:cNvSpPr>
              <a:spLocks/>
            </p:cNvSpPr>
            <p:nvPr/>
          </p:nvSpPr>
          <p:spPr bwMode="auto">
            <a:xfrm>
              <a:off x="5154" y="2465"/>
              <a:ext cx="85" cy="86"/>
            </a:xfrm>
            <a:custGeom>
              <a:avLst/>
              <a:gdLst>
                <a:gd name="T0" fmla="*/ 3 w 259"/>
                <a:gd name="T1" fmla="*/ 60 h 259"/>
                <a:gd name="T2" fmla="*/ 0 w 259"/>
                <a:gd name="T3" fmla="*/ 54 h 259"/>
                <a:gd name="T4" fmla="*/ 0 w 259"/>
                <a:gd name="T5" fmla="*/ 47 h 259"/>
                <a:gd name="T6" fmla="*/ 2 w 259"/>
                <a:gd name="T7" fmla="*/ 43 h 259"/>
                <a:gd name="T8" fmla="*/ 6 w 259"/>
                <a:gd name="T9" fmla="*/ 42 h 259"/>
                <a:gd name="T10" fmla="*/ 11 w 259"/>
                <a:gd name="T11" fmla="*/ 39 h 259"/>
                <a:gd name="T12" fmla="*/ 16 w 259"/>
                <a:gd name="T13" fmla="*/ 33 h 259"/>
                <a:gd name="T14" fmla="*/ 20 w 259"/>
                <a:gd name="T15" fmla="*/ 30 h 259"/>
                <a:gd name="T16" fmla="*/ 22 w 259"/>
                <a:gd name="T17" fmla="*/ 29 h 259"/>
                <a:gd name="T18" fmla="*/ 27 w 259"/>
                <a:gd name="T19" fmla="*/ 29 h 259"/>
                <a:gd name="T20" fmla="*/ 31 w 259"/>
                <a:gd name="T21" fmla="*/ 31 h 259"/>
                <a:gd name="T22" fmla="*/ 33 w 259"/>
                <a:gd name="T23" fmla="*/ 35 h 259"/>
                <a:gd name="T24" fmla="*/ 35 w 259"/>
                <a:gd name="T25" fmla="*/ 37 h 259"/>
                <a:gd name="T26" fmla="*/ 39 w 259"/>
                <a:gd name="T27" fmla="*/ 37 h 259"/>
                <a:gd name="T28" fmla="*/ 44 w 259"/>
                <a:gd name="T29" fmla="*/ 35 h 259"/>
                <a:gd name="T30" fmla="*/ 49 w 259"/>
                <a:gd name="T31" fmla="*/ 31 h 259"/>
                <a:gd name="T32" fmla="*/ 53 w 259"/>
                <a:gd name="T33" fmla="*/ 26 h 259"/>
                <a:gd name="T34" fmla="*/ 57 w 259"/>
                <a:gd name="T35" fmla="*/ 17 h 259"/>
                <a:gd name="T36" fmla="*/ 62 w 259"/>
                <a:gd name="T37" fmla="*/ 5 h 259"/>
                <a:gd name="T38" fmla="*/ 64 w 259"/>
                <a:gd name="T39" fmla="*/ 1 h 259"/>
                <a:gd name="T40" fmla="*/ 66 w 259"/>
                <a:gd name="T41" fmla="*/ 4 h 259"/>
                <a:gd name="T42" fmla="*/ 70 w 259"/>
                <a:gd name="T43" fmla="*/ 6 h 259"/>
                <a:gd name="T44" fmla="*/ 72 w 259"/>
                <a:gd name="T45" fmla="*/ 11 h 259"/>
                <a:gd name="T46" fmla="*/ 72 w 259"/>
                <a:gd name="T47" fmla="*/ 17 h 259"/>
                <a:gd name="T48" fmla="*/ 74 w 259"/>
                <a:gd name="T49" fmla="*/ 20 h 259"/>
                <a:gd name="T50" fmla="*/ 77 w 259"/>
                <a:gd name="T51" fmla="*/ 23 h 259"/>
                <a:gd name="T52" fmla="*/ 77 w 259"/>
                <a:gd name="T53" fmla="*/ 29 h 259"/>
                <a:gd name="T54" fmla="*/ 77 w 259"/>
                <a:gd name="T55" fmla="*/ 35 h 259"/>
                <a:gd name="T56" fmla="*/ 78 w 259"/>
                <a:gd name="T57" fmla="*/ 37 h 259"/>
                <a:gd name="T58" fmla="*/ 80 w 259"/>
                <a:gd name="T59" fmla="*/ 40 h 259"/>
                <a:gd name="T60" fmla="*/ 82 w 259"/>
                <a:gd name="T61" fmla="*/ 45 h 259"/>
                <a:gd name="T62" fmla="*/ 83 w 259"/>
                <a:gd name="T63" fmla="*/ 53 h 259"/>
                <a:gd name="T64" fmla="*/ 80 w 259"/>
                <a:gd name="T65" fmla="*/ 78 h 259"/>
                <a:gd name="T66" fmla="*/ 78 w 259"/>
                <a:gd name="T67" fmla="*/ 74 h 259"/>
                <a:gd name="T68" fmla="*/ 78 w 259"/>
                <a:gd name="T69" fmla="*/ 69 h 259"/>
                <a:gd name="T70" fmla="*/ 78 w 259"/>
                <a:gd name="T71" fmla="*/ 64 h 259"/>
                <a:gd name="T72" fmla="*/ 73 w 259"/>
                <a:gd name="T73" fmla="*/ 62 h 259"/>
                <a:gd name="T74" fmla="*/ 68 w 259"/>
                <a:gd name="T75" fmla="*/ 59 h 259"/>
                <a:gd name="T76" fmla="*/ 64 w 259"/>
                <a:gd name="T77" fmla="*/ 66 h 259"/>
                <a:gd name="T78" fmla="*/ 62 w 259"/>
                <a:gd name="T79" fmla="*/ 73 h 259"/>
                <a:gd name="T80" fmla="*/ 61 w 259"/>
                <a:gd name="T81" fmla="*/ 86 h 259"/>
                <a:gd name="T82" fmla="*/ 41 w 259"/>
                <a:gd name="T83" fmla="*/ 80 h 259"/>
                <a:gd name="T84" fmla="*/ 36 w 259"/>
                <a:gd name="T85" fmla="*/ 73 h 259"/>
                <a:gd name="T86" fmla="*/ 32 w 259"/>
                <a:gd name="T87" fmla="*/ 69 h 259"/>
                <a:gd name="T88" fmla="*/ 32 w 259"/>
                <a:gd name="T89" fmla="*/ 65 h 259"/>
                <a:gd name="T90" fmla="*/ 34 w 259"/>
                <a:gd name="T91" fmla="*/ 62 h 259"/>
                <a:gd name="T92" fmla="*/ 37 w 259"/>
                <a:gd name="T93" fmla="*/ 60 h 259"/>
                <a:gd name="T94" fmla="*/ 38 w 259"/>
                <a:gd name="T95" fmla="*/ 57 h 259"/>
                <a:gd name="T96" fmla="*/ 31 w 259"/>
                <a:gd name="T97" fmla="*/ 51 h 259"/>
                <a:gd name="T98" fmla="*/ 9 w 259"/>
                <a:gd name="T99" fmla="*/ 51 h 259"/>
                <a:gd name="T100" fmla="*/ 7 w 259"/>
                <a:gd name="T101" fmla="*/ 54 h 259"/>
                <a:gd name="T102" fmla="*/ 5 w 259"/>
                <a:gd name="T103" fmla="*/ 58 h 259"/>
                <a:gd name="T104" fmla="*/ 4 w 259"/>
                <a:gd name="T105" fmla="*/ 62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rgbClr val="FFFFFF"/>
              </a:solidFill>
              <a:prstDash val="solid"/>
              <a:round/>
              <a:headEnd/>
              <a:tailEnd/>
            </a:ln>
          </p:spPr>
          <p:txBody>
            <a:bodyPr/>
            <a:lstStyle/>
            <a:p>
              <a:endParaRPr lang="es-ES" dirty="0"/>
            </a:p>
          </p:txBody>
        </p:sp>
        <p:sp>
          <p:nvSpPr>
            <p:cNvPr id="842" name="Freeform 292">
              <a:extLst>
                <a:ext uri="{FF2B5EF4-FFF2-40B4-BE49-F238E27FC236}">
                  <a16:creationId xmlns:a16="http://schemas.microsoft.com/office/drawing/2014/main" id="{D25972C6-5813-41A8-8D35-68D7538BA73D}"/>
                </a:ext>
              </a:extLst>
            </p:cNvPr>
            <p:cNvSpPr>
              <a:spLocks/>
            </p:cNvSpPr>
            <p:nvPr/>
          </p:nvSpPr>
          <p:spPr bwMode="auto">
            <a:xfrm>
              <a:off x="5104" y="2395"/>
              <a:ext cx="23" cy="31"/>
            </a:xfrm>
            <a:custGeom>
              <a:avLst/>
              <a:gdLst>
                <a:gd name="T0" fmla="*/ 23 w 72"/>
                <a:gd name="T1" fmla="*/ 14 h 92"/>
                <a:gd name="T2" fmla="*/ 23 w 72"/>
                <a:gd name="T3" fmla="*/ 31 h 92"/>
                <a:gd name="T4" fmla="*/ 21 w 72"/>
                <a:gd name="T5" fmla="*/ 29 h 92"/>
                <a:gd name="T6" fmla="*/ 19 w 72"/>
                <a:gd name="T7" fmla="*/ 27 h 92"/>
                <a:gd name="T8" fmla="*/ 16 w 72"/>
                <a:gd name="T9" fmla="*/ 25 h 92"/>
                <a:gd name="T10" fmla="*/ 15 w 72"/>
                <a:gd name="T11" fmla="*/ 23 h 92"/>
                <a:gd name="T12" fmla="*/ 12 w 72"/>
                <a:gd name="T13" fmla="*/ 20 h 92"/>
                <a:gd name="T14" fmla="*/ 10 w 72"/>
                <a:gd name="T15" fmla="*/ 16 h 92"/>
                <a:gd name="T16" fmla="*/ 8 w 72"/>
                <a:gd name="T17" fmla="*/ 11 h 92"/>
                <a:gd name="T18" fmla="*/ 6 w 72"/>
                <a:gd name="T19" fmla="*/ 8 h 92"/>
                <a:gd name="T20" fmla="*/ 4 w 72"/>
                <a:gd name="T21" fmla="*/ 4 h 92"/>
                <a:gd name="T22" fmla="*/ 0 w 72"/>
                <a:gd name="T23" fmla="*/ 0 h 92"/>
                <a:gd name="T24" fmla="*/ 8 w 72"/>
                <a:gd name="T25" fmla="*/ 4 h 92"/>
                <a:gd name="T26" fmla="*/ 14 w 72"/>
                <a:gd name="T27" fmla="*/ 7 h 92"/>
                <a:gd name="T28" fmla="*/ 16 w 72"/>
                <a:gd name="T29" fmla="*/ 9 h 92"/>
                <a:gd name="T30" fmla="*/ 19 w 72"/>
                <a:gd name="T31" fmla="*/ 10 h 92"/>
                <a:gd name="T32" fmla="*/ 21 w 72"/>
                <a:gd name="T33" fmla="*/ 12 h 92"/>
                <a:gd name="T34" fmla="*/ 23 w 72"/>
                <a:gd name="T35" fmla="*/ 14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rgbClr val="FFFFFF"/>
              </a:solidFill>
              <a:prstDash val="solid"/>
              <a:round/>
              <a:headEnd/>
              <a:tailEnd/>
            </a:ln>
          </p:spPr>
          <p:txBody>
            <a:bodyPr/>
            <a:lstStyle/>
            <a:p>
              <a:endParaRPr lang="es-ES" dirty="0"/>
            </a:p>
          </p:txBody>
        </p:sp>
        <p:sp>
          <p:nvSpPr>
            <p:cNvPr id="843" name="Freeform 293">
              <a:extLst>
                <a:ext uri="{FF2B5EF4-FFF2-40B4-BE49-F238E27FC236}">
                  <a16:creationId xmlns:a16="http://schemas.microsoft.com/office/drawing/2014/main" id="{3D189146-A29D-4EEC-8B77-16E9FF4D5677}"/>
                </a:ext>
              </a:extLst>
            </p:cNvPr>
            <p:cNvSpPr>
              <a:spLocks/>
            </p:cNvSpPr>
            <p:nvPr/>
          </p:nvSpPr>
          <p:spPr bwMode="auto">
            <a:xfrm>
              <a:off x="5143" y="2436"/>
              <a:ext cx="16" cy="21"/>
            </a:xfrm>
            <a:custGeom>
              <a:avLst/>
              <a:gdLst>
                <a:gd name="T0" fmla="*/ 2 w 46"/>
                <a:gd name="T1" fmla="*/ 2 h 62"/>
                <a:gd name="T2" fmla="*/ 7 w 46"/>
                <a:gd name="T3" fmla="*/ 2 h 62"/>
                <a:gd name="T4" fmla="*/ 11 w 46"/>
                <a:gd name="T5" fmla="*/ 1 h 62"/>
                <a:gd name="T6" fmla="*/ 14 w 46"/>
                <a:gd name="T7" fmla="*/ 0 h 62"/>
                <a:gd name="T8" fmla="*/ 16 w 46"/>
                <a:gd name="T9" fmla="*/ 0 h 62"/>
                <a:gd name="T10" fmla="*/ 16 w 46"/>
                <a:gd name="T11" fmla="*/ 3 h 62"/>
                <a:gd name="T12" fmla="*/ 16 w 46"/>
                <a:gd name="T13" fmla="*/ 6 h 62"/>
                <a:gd name="T14" fmla="*/ 16 w 46"/>
                <a:gd name="T15" fmla="*/ 9 h 62"/>
                <a:gd name="T16" fmla="*/ 16 w 46"/>
                <a:gd name="T17" fmla="*/ 13 h 62"/>
                <a:gd name="T18" fmla="*/ 16 w 46"/>
                <a:gd name="T19" fmla="*/ 16 h 62"/>
                <a:gd name="T20" fmla="*/ 14 w 46"/>
                <a:gd name="T21" fmla="*/ 18 h 62"/>
                <a:gd name="T22" fmla="*/ 14 w 46"/>
                <a:gd name="T23" fmla="*/ 19 h 62"/>
                <a:gd name="T24" fmla="*/ 13 w 46"/>
                <a:gd name="T25" fmla="*/ 20 h 62"/>
                <a:gd name="T26" fmla="*/ 12 w 46"/>
                <a:gd name="T27" fmla="*/ 21 h 62"/>
                <a:gd name="T28" fmla="*/ 11 w 46"/>
                <a:gd name="T29" fmla="*/ 21 h 62"/>
                <a:gd name="T30" fmla="*/ 9 w 46"/>
                <a:gd name="T31" fmla="*/ 21 h 62"/>
                <a:gd name="T32" fmla="*/ 8 w 46"/>
                <a:gd name="T33" fmla="*/ 20 h 62"/>
                <a:gd name="T34" fmla="*/ 6 w 46"/>
                <a:gd name="T35" fmla="*/ 20 h 62"/>
                <a:gd name="T36" fmla="*/ 5 w 46"/>
                <a:gd name="T37" fmla="*/ 19 h 62"/>
                <a:gd name="T38" fmla="*/ 4 w 46"/>
                <a:gd name="T39" fmla="*/ 18 h 62"/>
                <a:gd name="T40" fmla="*/ 2 w 46"/>
                <a:gd name="T41" fmla="*/ 17 h 62"/>
                <a:gd name="T42" fmla="*/ 2 w 46"/>
                <a:gd name="T43" fmla="*/ 16 h 62"/>
                <a:gd name="T44" fmla="*/ 1 w 46"/>
                <a:gd name="T45" fmla="*/ 15 h 62"/>
                <a:gd name="T46" fmla="*/ 0 w 46"/>
                <a:gd name="T47" fmla="*/ 12 h 62"/>
                <a:gd name="T48" fmla="*/ 0 w 46"/>
                <a:gd name="T49" fmla="*/ 8 h 62"/>
                <a:gd name="T50" fmla="*/ 0 w 46"/>
                <a:gd name="T51" fmla="*/ 5 h 62"/>
                <a:gd name="T52" fmla="*/ 0 w 46"/>
                <a:gd name="T53" fmla="*/ 2 h 62"/>
                <a:gd name="T54" fmla="*/ 2 w 46"/>
                <a:gd name="T55" fmla="*/ 2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rgbClr val="FFFFFF"/>
              </a:solidFill>
              <a:prstDash val="solid"/>
              <a:round/>
              <a:headEnd/>
              <a:tailEnd/>
            </a:ln>
          </p:spPr>
          <p:txBody>
            <a:bodyPr/>
            <a:lstStyle/>
            <a:p>
              <a:endParaRPr lang="es-ES" dirty="0"/>
            </a:p>
          </p:txBody>
        </p:sp>
        <p:sp>
          <p:nvSpPr>
            <p:cNvPr id="844" name="Freeform 294">
              <a:extLst>
                <a:ext uri="{FF2B5EF4-FFF2-40B4-BE49-F238E27FC236}">
                  <a16:creationId xmlns:a16="http://schemas.microsoft.com/office/drawing/2014/main" id="{71E2E803-0D5E-4B31-A503-D083DC393796}"/>
                </a:ext>
              </a:extLst>
            </p:cNvPr>
            <p:cNvSpPr>
              <a:spLocks/>
            </p:cNvSpPr>
            <p:nvPr/>
          </p:nvSpPr>
          <p:spPr bwMode="auto">
            <a:xfrm>
              <a:off x="5089" y="2295"/>
              <a:ext cx="50" cy="98"/>
            </a:xfrm>
            <a:custGeom>
              <a:avLst/>
              <a:gdLst>
                <a:gd name="T0" fmla="*/ 19 w 152"/>
                <a:gd name="T1" fmla="*/ 0 h 296"/>
                <a:gd name="T2" fmla="*/ 22 w 152"/>
                <a:gd name="T3" fmla="*/ 3 h 296"/>
                <a:gd name="T4" fmla="*/ 25 w 152"/>
                <a:gd name="T5" fmla="*/ 6 h 296"/>
                <a:gd name="T6" fmla="*/ 29 w 152"/>
                <a:gd name="T7" fmla="*/ 8 h 296"/>
                <a:gd name="T8" fmla="*/ 33 w 152"/>
                <a:gd name="T9" fmla="*/ 8 h 296"/>
                <a:gd name="T10" fmla="*/ 36 w 152"/>
                <a:gd name="T11" fmla="*/ 7 h 296"/>
                <a:gd name="T12" fmla="*/ 39 w 152"/>
                <a:gd name="T13" fmla="*/ 4 h 296"/>
                <a:gd name="T14" fmla="*/ 40 w 152"/>
                <a:gd name="T15" fmla="*/ 12 h 296"/>
                <a:gd name="T16" fmla="*/ 43 w 152"/>
                <a:gd name="T17" fmla="*/ 21 h 296"/>
                <a:gd name="T18" fmla="*/ 46 w 152"/>
                <a:gd name="T19" fmla="*/ 28 h 296"/>
                <a:gd name="T20" fmla="*/ 48 w 152"/>
                <a:gd name="T21" fmla="*/ 31 h 296"/>
                <a:gd name="T22" fmla="*/ 50 w 152"/>
                <a:gd name="T23" fmla="*/ 33 h 296"/>
                <a:gd name="T24" fmla="*/ 47 w 152"/>
                <a:gd name="T25" fmla="*/ 40 h 296"/>
                <a:gd name="T26" fmla="*/ 42 w 152"/>
                <a:gd name="T27" fmla="*/ 46 h 296"/>
                <a:gd name="T28" fmla="*/ 38 w 152"/>
                <a:gd name="T29" fmla="*/ 52 h 296"/>
                <a:gd name="T30" fmla="*/ 37 w 152"/>
                <a:gd name="T31" fmla="*/ 57 h 296"/>
                <a:gd name="T32" fmla="*/ 38 w 152"/>
                <a:gd name="T33" fmla="*/ 65 h 296"/>
                <a:gd name="T34" fmla="*/ 38 w 152"/>
                <a:gd name="T35" fmla="*/ 68 h 296"/>
                <a:gd name="T36" fmla="*/ 37 w 152"/>
                <a:gd name="T37" fmla="*/ 72 h 296"/>
                <a:gd name="T38" fmla="*/ 41 w 152"/>
                <a:gd name="T39" fmla="*/ 72 h 296"/>
                <a:gd name="T40" fmla="*/ 48 w 152"/>
                <a:gd name="T41" fmla="*/ 72 h 296"/>
                <a:gd name="T42" fmla="*/ 45 w 152"/>
                <a:gd name="T43" fmla="*/ 83 h 296"/>
                <a:gd name="T44" fmla="*/ 45 w 152"/>
                <a:gd name="T45" fmla="*/ 88 h 296"/>
                <a:gd name="T46" fmla="*/ 48 w 152"/>
                <a:gd name="T47" fmla="*/ 94 h 296"/>
                <a:gd name="T48" fmla="*/ 41 w 152"/>
                <a:gd name="T49" fmla="*/ 96 h 296"/>
                <a:gd name="T50" fmla="*/ 35 w 152"/>
                <a:gd name="T51" fmla="*/ 98 h 296"/>
                <a:gd name="T52" fmla="*/ 28 w 152"/>
                <a:gd name="T53" fmla="*/ 97 h 296"/>
                <a:gd name="T54" fmla="*/ 24 w 152"/>
                <a:gd name="T55" fmla="*/ 95 h 296"/>
                <a:gd name="T56" fmla="*/ 22 w 152"/>
                <a:gd name="T57" fmla="*/ 93 h 296"/>
                <a:gd name="T58" fmla="*/ 22 w 152"/>
                <a:gd name="T59" fmla="*/ 90 h 296"/>
                <a:gd name="T60" fmla="*/ 28 w 152"/>
                <a:gd name="T61" fmla="*/ 84 h 296"/>
                <a:gd name="T62" fmla="*/ 23 w 152"/>
                <a:gd name="T63" fmla="*/ 82 h 296"/>
                <a:gd name="T64" fmla="*/ 17 w 152"/>
                <a:gd name="T65" fmla="*/ 80 h 296"/>
                <a:gd name="T66" fmla="*/ 13 w 152"/>
                <a:gd name="T67" fmla="*/ 76 h 296"/>
                <a:gd name="T68" fmla="*/ 8 w 152"/>
                <a:gd name="T69" fmla="*/ 73 h 296"/>
                <a:gd name="T70" fmla="*/ 5 w 152"/>
                <a:gd name="T71" fmla="*/ 68 h 296"/>
                <a:gd name="T72" fmla="*/ 2 w 152"/>
                <a:gd name="T73" fmla="*/ 63 h 296"/>
                <a:gd name="T74" fmla="*/ 0 w 152"/>
                <a:gd name="T75" fmla="*/ 57 h 296"/>
                <a:gd name="T76" fmla="*/ 0 w 152"/>
                <a:gd name="T77" fmla="*/ 51 h 296"/>
                <a:gd name="T78" fmla="*/ 0 w 152"/>
                <a:gd name="T79" fmla="*/ 43 h 296"/>
                <a:gd name="T80" fmla="*/ 9 w 152"/>
                <a:gd name="T81" fmla="*/ 35 h 296"/>
                <a:gd name="T82" fmla="*/ 11 w 152"/>
                <a:gd name="T83" fmla="*/ 15 h 296"/>
                <a:gd name="T84" fmla="*/ 10 w 152"/>
                <a:gd name="T85" fmla="*/ 6 h 296"/>
                <a:gd name="T86" fmla="*/ 9 w 152"/>
                <a:gd name="T87" fmla="*/ 1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rgbClr val="FFFFFF"/>
              </a:solidFill>
              <a:prstDash val="solid"/>
              <a:round/>
              <a:headEnd/>
              <a:tailEnd/>
            </a:ln>
          </p:spPr>
          <p:txBody>
            <a:bodyPr/>
            <a:lstStyle/>
            <a:p>
              <a:endParaRPr lang="es-ES" dirty="0"/>
            </a:p>
          </p:txBody>
        </p:sp>
        <p:sp>
          <p:nvSpPr>
            <p:cNvPr id="845" name="Freeform 295">
              <a:extLst>
                <a:ext uri="{FF2B5EF4-FFF2-40B4-BE49-F238E27FC236}">
                  <a16:creationId xmlns:a16="http://schemas.microsoft.com/office/drawing/2014/main" id="{1A884ECC-BDE6-48C6-AC8B-2D11AE9401E2}"/>
                </a:ext>
              </a:extLst>
            </p:cNvPr>
            <p:cNvSpPr>
              <a:spLocks/>
            </p:cNvSpPr>
            <p:nvPr/>
          </p:nvSpPr>
          <p:spPr bwMode="auto">
            <a:xfrm>
              <a:off x="5189" y="2442"/>
              <a:ext cx="8" cy="13"/>
            </a:xfrm>
            <a:custGeom>
              <a:avLst/>
              <a:gdLst>
                <a:gd name="T0" fmla="*/ 8 w 26"/>
                <a:gd name="T1" fmla="*/ 13 h 38"/>
                <a:gd name="T2" fmla="*/ 8 w 26"/>
                <a:gd name="T3" fmla="*/ 0 h 38"/>
                <a:gd name="T4" fmla="*/ 6 w 26"/>
                <a:gd name="T5" fmla="*/ 0 h 38"/>
                <a:gd name="T6" fmla="*/ 4 w 26"/>
                <a:gd name="T7" fmla="*/ 1 h 38"/>
                <a:gd name="T8" fmla="*/ 2 w 26"/>
                <a:gd name="T9" fmla="*/ 3 h 38"/>
                <a:gd name="T10" fmla="*/ 0 w 26"/>
                <a:gd name="T11" fmla="*/ 4 h 38"/>
                <a:gd name="T12" fmla="*/ 6 w 26"/>
                <a:gd name="T13" fmla="*/ 10 h 38"/>
                <a:gd name="T14" fmla="*/ 8 w 26"/>
                <a:gd name="T15" fmla="*/ 13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rgbClr val="FFFFFF"/>
              </a:solidFill>
              <a:prstDash val="solid"/>
              <a:round/>
              <a:headEnd/>
              <a:tailEnd/>
            </a:ln>
          </p:spPr>
          <p:txBody>
            <a:bodyPr/>
            <a:lstStyle/>
            <a:p>
              <a:endParaRPr lang="es-ES" dirty="0"/>
            </a:p>
          </p:txBody>
        </p:sp>
        <p:sp>
          <p:nvSpPr>
            <p:cNvPr id="846" name="Freeform 296">
              <a:extLst>
                <a:ext uri="{FF2B5EF4-FFF2-40B4-BE49-F238E27FC236}">
                  <a16:creationId xmlns:a16="http://schemas.microsoft.com/office/drawing/2014/main" id="{7B8088F4-6BA0-4F6A-97A6-C7E4DC451457}"/>
                </a:ext>
              </a:extLst>
            </p:cNvPr>
            <p:cNvSpPr>
              <a:spLocks/>
            </p:cNvSpPr>
            <p:nvPr/>
          </p:nvSpPr>
          <p:spPr bwMode="auto">
            <a:xfrm>
              <a:off x="5165" y="2420"/>
              <a:ext cx="10" cy="10"/>
            </a:xfrm>
            <a:custGeom>
              <a:avLst/>
              <a:gdLst>
                <a:gd name="T0" fmla="*/ 0 w 34"/>
                <a:gd name="T1" fmla="*/ 6 h 31"/>
                <a:gd name="T2" fmla="*/ 2 w 34"/>
                <a:gd name="T3" fmla="*/ 7 h 31"/>
                <a:gd name="T4" fmla="*/ 5 w 34"/>
                <a:gd name="T5" fmla="*/ 8 h 31"/>
                <a:gd name="T6" fmla="*/ 8 w 34"/>
                <a:gd name="T7" fmla="*/ 10 h 31"/>
                <a:gd name="T8" fmla="*/ 10 w 34"/>
                <a:gd name="T9" fmla="*/ 10 h 31"/>
                <a:gd name="T10" fmla="*/ 10 w 34"/>
                <a:gd name="T11" fmla="*/ 8 h 31"/>
                <a:gd name="T12" fmla="*/ 9 w 34"/>
                <a:gd name="T13" fmla="*/ 5 h 31"/>
                <a:gd name="T14" fmla="*/ 8 w 34"/>
                <a:gd name="T15" fmla="*/ 2 h 31"/>
                <a:gd name="T16" fmla="*/ 6 w 34"/>
                <a:gd name="T17" fmla="*/ 0 h 31"/>
                <a:gd name="T18" fmla="*/ 5 w 34"/>
                <a:gd name="T19" fmla="*/ 2 h 31"/>
                <a:gd name="T20" fmla="*/ 3 w 34"/>
                <a:gd name="T21" fmla="*/ 4 h 31"/>
                <a:gd name="T22" fmla="*/ 2 w 34"/>
                <a:gd name="T23" fmla="*/ 5 h 31"/>
                <a:gd name="T24" fmla="*/ 2 w 34"/>
                <a:gd name="T25" fmla="*/ 5 h 31"/>
                <a:gd name="T26" fmla="*/ 1 w 34"/>
                <a:gd name="T27" fmla="*/ 6 h 31"/>
                <a:gd name="T28" fmla="*/ 0 w 34"/>
                <a:gd name="T29" fmla="*/ 6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rgbClr val="FFFFFF"/>
              </a:solidFill>
              <a:prstDash val="solid"/>
              <a:round/>
              <a:headEnd/>
              <a:tailEnd/>
            </a:ln>
          </p:spPr>
          <p:txBody>
            <a:bodyPr/>
            <a:lstStyle/>
            <a:p>
              <a:endParaRPr lang="es-ES" dirty="0"/>
            </a:p>
          </p:txBody>
        </p:sp>
        <p:sp>
          <p:nvSpPr>
            <p:cNvPr id="847" name="Freeform 297">
              <a:extLst>
                <a:ext uri="{FF2B5EF4-FFF2-40B4-BE49-F238E27FC236}">
                  <a16:creationId xmlns:a16="http://schemas.microsoft.com/office/drawing/2014/main" id="{6D9CAB57-E083-40FC-BDEF-D67AC713306C}"/>
                </a:ext>
              </a:extLst>
            </p:cNvPr>
            <p:cNvSpPr>
              <a:spLocks/>
            </p:cNvSpPr>
            <p:nvPr/>
          </p:nvSpPr>
          <p:spPr bwMode="auto">
            <a:xfrm>
              <a:off x="5139" y="2418"/>
              <a:ext cx="6" cy="12"/>
            </a:xfrm>
            <a:custGeom>
              <a:avLst/>
              <a:gdLst>
                <a:gd name="T0" fmla="*/ 0 w 20"/>
                <a:gd name="T1" fmla="*/ 2 h 37"/>
                <a:gd name="T2" fmla="*/ 0 w 20"/>
                <a:gd name="T3" fmla="*/ 12 h 37"/>
                <a:gd name="T4" fmla="*/ 2 w 20"/>
                <a:gd name="T5" fmla="*/ 11 h 37"/>
                <a:gd name="T6" fmla="*/ 6 w 20"/>
                <a:gd name="T7" fmla="*/ 10 h 37"/>
                <a:gd name="T8" fmla="*/ 6 w 20"/>
                <a:gd name="T9" fmla="*/ 0 h 37"/>
                <a:gd name="T10" fmla="*/ 0 w 20"/>
                <a:gd name="T11" fmla="*/ 2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grpFill/>
            <a:ln w="9525" cmpd="sng">
              <a:solidFill>
                <a:srgbClr val="FFFFFF"/>
              </a:solidFill>
              <a:prstDash val="solid"/>
              <a:round/>
              <a:headEnd/>
              <a:tailEnd/>
            </a:ln>
          </p:spPr>
          <p:txBody>
            <a:bodyPr/>
            <a:lstStyle/>
            <a:p>
              <a:endParaRPr lang="es-ES" dirty="0"/>
            </a:p>
          </p:txBody>
        </p:sp>
        <p:sp>
          <p:nvSpPr>
            <p:cNvPr id="848" name="Line 298">
              <a:extLst>
                <a:ext uri="{FF2B5EF4-FFF2-40B4-BE49-F238E27FC236}">
                  <a16:creationId xmlns:a16="http://schemas.microsoft.com/office/drawing/2014/main" id="{06AD3D55-6DB6-4B2B-92CA-9015CEF5413B}"/>
                </a:ext>
              </a:extLst>
            </p:cNvPr>
            <p:cNvSpPr>
              <a:spLocks noChangeShapeType="1"/>
            </p:cNvSpPr>
            <p:nvPr/>
          </p:nvSpPr>
          <p:spPr bwMode="auto">
            <a:xfrm>
              <a:off x="5180" y="2449"/>
              <a:ext cx="1" cy="10"/>
            </a:xfrm>
            <a:prstGeom prst="line">
              <a:avLst/>
            </a:prstGeom>
            <a:grpFill/>
            <a:ln w="9525">
              <a:solidFill>
                <a:srgbClr val="FFFFFF"/>
              </a:solidFill>
              <a:round/>
              <a:headEnd/>
              <a:tailEnd/>
            </a:ln>
          </p:spPr>
          <p:txBody>
            <a:bodyPr/>
            <a:lstStyle/>
            <a:p>
              <a:endParaRPr lang="es-ES" dirty="0"/>
            </a:p>
          </p:txBody>
        </p:sp>
        <p:sp>
          <p:nvSpPr>
            <p:cNvPr id="849" name="Freeform 299">
              <a:extLst>
                <a:ext uri="{FF2B5EF4-FFF2-40B4-BE49-F238E27FC236}">
                  <a16:creationId xmlns:a16="http://schemas.microsoft.com/office/drawing/2014/main" id="{1592042F-1A42-4F9C-8695-5E63494E4F20}"/>
                </a:ext>
              </a:extLst>
            </p:cNvPr>
            <p:cNvSpPr>
              <a:spLocks/>
            </p:cNvSpPr>
            <p:nvPr/>
          </p:nvSpPr>
          <p:spPr bwMode="auto">
            <a:xfrm>
              <a:off x="5180" y="2453"/>
              <a:ext cx="4" cy="6"/>
            </a:xfrm>
            <a:custGeom>
              <a:avLst/>
              <a:gdLst>
                <a:gd name="T0" fmla="*/ 0 w 13"/>
                <a:gd name="T1" fmla="*/ 6 h 18"/>
                <a:gd name="T2" fmla="*/ 0 w 13"/>
                <a:gd name="T3" fmla="*/ 4 h 18"/>
                <a:gd name="T4" fmla="*/ 1 w 13"/>
                <a:gd name="T5" fmla="*/ 3 h 18"/>
                <a:gd name="T6" fmla="*/ 2 w 13"/>
                <a:gd name="T7" fmla="*/ 1 h 18"/>
                <a:gd name="T8" fmla="*/ 4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grpFill/>
            <a:ln w="9525" cmpd="sng">
              <a:solidFill>
                <a:srgbClr val="FFFFFF"/>
              </a:solidFill>
              <a:prstDash val="solid"/>
              <a:round/>
              <a:headEnd/>
              <a:tailEnd/>
            </a:ln>
          </p:spPr>
          <p:txBody>
            <a:bodyPr/>
            <a:lstStyle/>
            <a:p>
              <a:endParaRPr lang="es-ES" dirty="0"/>
            </a:p>
          </p:txBody>
        </p:sp>
        <p:sp>
          <p:nvSpPr>
            <p:cNvPr id="850" name="Line 300">
              <a:extLst>
                <a:ext uri="{FF2B5EF4-FFF2-40B4-BE49-F238E27FC236}">
                  <a16:creationId xmlns:a16="http://schemas.microsoft.com/office/drawing/2014/main" id="{2BD95B8D-6253-4834-8867-8F0E8370BE92}"/>
                </a:ext>
              </a:extLst>
            </p:cNvPr>
            <p:cNvSpPr>
              <a:spLocks noChangeShapeType="1"/>
            </p:cNvSpPr>
            <p:nvPr/>
          </p:nvSpPr>
          <p:spPr bwMode="auto">
            <a:xfrm flipH="1" flipV="1">
              <a:off x="5178" y="2447"/>
              <a:ext cx="6" cy="6"/>
            </a:xfrm>
            <a:prstGeom prst="line">
              <a:avLst/>
            </a:prstGeom>
            <a:grpFill/>
            <a:ln w="9525">
              <a:solidFill>
                <a:srgbClr val="FFFFFF"/>
              </a:solidFill>
              <a:round/>
              <a:headEnd/>
              <a:tailEnd/>
            </a:ln>
          </p:spPr>
          <p:txBody>
            <a:bodyPr/>
            <a:lstStyle/>
            <a:p>
              <a:endParaRPr lang="es-ES" dirty="0"/>
            </a:p>
          </p:txBody>
        </p:sp>
        <p:sp>
          <p:nvSpPr>
            <p:cNvPr id="851" name="Freeform 301">
              <a:extLst>
                <a:ext uri="{FF2B5EF4-FFF2-40B4-BE49-F238E27FC236}">
                  <a16:creationId xmlns:a16="http://schemas.microsoft.com/office/drawing/2014/main" id="{1863068F-FD78-4869-B946-3C1AA7BC6ABE}"/>
                </a:ext>
              </a:extLst>
            </p:cNvPr>
            <p:cNvSpPr>
              <a:spLocks/>
            </p:cNvSpPr>
            <p:nvPr/>
          </p:nvSpPr>
          <p:spPr bwMode="auto">
            <a:xfrm>
              <a:off x="5116" y="2564"/>
              <a:ext cx="9" cy="10"/>
            </a:xfrm>
            <a:custGeom>
              <a:avLst/>
              <a:gdLst>
                <a:gd name="T0" fmla="*/ 0 w 27"/>
                <a:gd name="T1" fmla="*/ 0 h 31"/>
                <a:gd name="T2" fmla="*/ 7 w 27"/>
                <a:gd name="T3" fmla="*/ 10 h 31"/>
                <a:gd name="T4" fmla="*/ 9 w 27"/>
                <a:gd name="T5" fmla="*/ 4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grpFill/>
            <a:ln w="9525" cmpd="sng">
              <a:solidFill>
                <a:srgbClr val="FFFFFF"/>
              </a:solidFill>
              <a:prstDash val="solid"/>
              <a:round/>
              <a:headEnd/>
              <a:tailEnd/>
            </a:ln>
          </p:spPr>
          <p:txBody>
            <a:bodyPr/>
            <a:lstStyle/>
            <a:p>
              <a:endParaRPr lang="es-ES" dirty="0"/>
            </a:p>
          </p:txBody>
        </p:sp>
        <p:sp>
          <p:nvSpPr>
            <p:cNvPr id="852" name="Freeform 302">
              <a:extLst>
                <a:ext uri="{FF2B5EF4-FFF2-40B4-BE49-F238E27FC236}">
                  <a16:creationId xmlns:a16="http://schemas.microsoft.com/office/drawing/2014/main" id="{CDAAAE3F-AD8B-43EA-A884-6DB15D387D9A}"/>
                </a:ext>
              </a:extLst>
            </p:cNvPr>
            <p:cNvSpPr>
              <a:spLocks/>
            </p:cNvSpPr>
            <p:nvPr/>
          </p:nvSpPr>
          <p:spPr bwMode="auto">
            <a:xfrm>
              <a:off x="5119" y="2568"/>
              <a:ext cx="6" cy="1"/>
            </a:xfrm>
            <a:custGeom>
              <a:avLst/>
              <a:gdLst>
                <a:gd name="T0" fmla="*/ 6 w 20"/>
                <a:gd name="T1" fmla="*/ 0 h 1"/>
                <a:gd name="T2" fmla="*/ 3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grpFill/>
            <a:ln w="9525" cmpd="sng">
              <a:solidFill>
                <a:srgbClr val="FFFFFF"/>
              </a:solidFill>
              <a:prstDash val="solid"/>
              <a:round/>
              <a:headEnd/>
              <a:tailEnd/>
            </a:ln>
          </p:spPr>
          <p:txBody>
            <a:bodyPr/>
            <a:lstStyle/>
            <a:p>
              <a:endParaRPr lang="es-ES" dirty="0"/>
            </a:p>
          </p:txBody>
        </p:sp>
        <p:sp>
          <p:nvSpPr>
            <p:cNvPr id="853" name="Freeform 303">
              <a:extLst>
                <a:ext uri="{FF2B5EF4-FFF2-40B4-BE49-F238E27FC236}">
                  <a16:creationId xmlns:a16="http://schemas.microsoft.com/office/drawing/2014/main" id="{738A21D0-C246-42FE-8C38-C81661D9DBEE}"/>
                </a:ext>
              </a:extLst>
            </p:cNvPr>
            <p:cNvSpPr>
              <a:spLocks/>
            </p:cNvSpPr>
            <p:nvPr/>
          </p:nvSpPr>
          <p:spPr bwMode="auto">
            <a:xfrm>
              <a:off x="5127" y="2557"/>
              <a:ext cx="12" cy="5"/>
            </a:xfrm>
            <a:custGeom>
              <a:avLst/>
              <a:gdLst>
                <a:gd name="T0" fmla="*/ 0 w 34"/>
                <a:gd name="T1" fmla="*/ 5 h 13"/>
                <a:gd name="T2" fmla="*/ 2 w 34"/>
                <a:gd name="T3" fmla="*/ 5 h 13"/>
                <a:gd name="T4" fmla="*/ 4 w 34"/>
                <a:gd name="T5" fmla="*/ 4 h 13"/>
                <a:gd name="T6" fmla="*/ 6 w 34"/>
                <a:gd name="T7" fmla="*/ 4 h 13"/>
                <a:gd name="T8" fmla="*/ 7 w 34"/>
                <a:gd name="T9" fmla="*/ 3 h 13"/>
                <a:gd name="T10" fmla="*/ 10 w 34"/>
                <a:gd name="T11" fmla="*/ 1 h 13"/>
                <a:gd name="T12" fmla="*/ 12 w 34"/>
                <a:gd name="T13" fmla="*/ 0 h 13"/>
                <a:gd name="T14" fmla="*/ 9 w 34"/>
                <a:gd name="T15" fmla="*/ 0 h 13"/>
                <a:gd name="T16" fmla="*/ 5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rgbClr val="FFFFFF"/>
              </a:solidFill>
              <a:prstDash val="solid"/>
              <a:round/>
              <a:headEnd/>
              <a:tailEnd/>
            </a:ln>
          </p:spPr>
          <p:txBody>
            <a:bodyPr/>
            <a:lstStyle/>
            <a:p>
              <a:endParaRPr lang="es-ES" dirty="0"/>
            </a:p>
          </p:txBody>
        </p:sp>
        <p:sp>
          <p:nvSpPr>
            <p:cNvPr id="854" name="Freeform 304">
              <a:extLst>
                <a:ext uri="{FF2B5EF4-FFF2-40B4-BE49-F238E27FC236}">
                  <a16:creationId xmlns:a16="http://schemas.microsoft.com/office/drawing/2014/main" id="{83E8F0FD-BB27-4256-83F4-6716EFDC0606}"/>
                </a:ext>
              </a:extLst>
            </p:cNvPr>
            <p:cNvSpPr>
              <a:spLocks/>
            </p:cNvSpPr>
            <p:nvPr/>
          </p:nvSpPr>
          <p:spPr bwMode="auto">
            <a:xfrm>
              <a:off x="5127" y="2547"/>
              <a:ext cx="12" cy="6"/>
            </a:xfrm>
            <a:custGeom>
              <a:avLst/>
              <a:gdLst>
                <a:gd name="T0" fmla="*/ 12 w 34"/>
                <a:gd name="T1" fmla="*/ 6 h 18"/>
                <a:gd name="T2" fmla="*/ 12 w 34"/>
                <a:gd name="T3" fmla="*/ 0 h 18"/>
                <a:gd name="T4" fmla="*/ 10 w 34"/>
                <a:gd name="T5" fmla="*/ 0 h 18"/>
                <a:gd name="T6" fmla="*/ 7 w 34"/>
                <a:gd name="T7" fmla="*/ 0 h 18"/>
                <a:gd name="T8" fmla="*/ 4 w 34"/>
                <a:gd name="T9" fmla="*/ 0 h 18"/>
                <a:gd name="T10" fmla="*/ 0 w 34"/>
                <a:gd name="T11" fmla="*/ 0 h 18"/>
                <a:gd name="T12" fmla="*/ 12 w 34"/>
                <a:gd name="T13" fmla="*/ 6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rgbClr val="FFFFFF"/>
              </a:solidFill>
              <a:prstDash val="solid"/>
              <a:round/>
              <a:headEnd/>
              <a:tailEnd/>
            </a:ln>
          </p:spPr>
          <p:txBody>
            <a:bodyPr/>
            <a:lstStyle/>
            <a:p>
              <a:endParaRPr lang="es-ES" dirty="0"/>
            </a:p>
          </p:txBody>
        </p:sp>
        <p:sp>
          <p:nvSpPr>
            <p:cNvPr id="855" name="Freeform 305">
              <a:extLst>
                <a:ext uri="{FF2B5EF4-FFF2-40B4-BE49-F238E27FC236}">
                  <a16:creationId xmlns:a16="http://schemas.microsoft.com/office/drawing/2014/main" id="{2B1DAC07-886D-4295-A7F4-DD64C21CFFBD}"/>
                </a:ext>
              </a:extLst>
            </p:cNvPr>
            <p:cNvSpPr>
              <a:spLocks/>
            </p:cNvSpPr>
            <p:nvPr/>
          </p:nvSpPr>
          <p:spPr bwMode="auto">
            <a:xfrm>
              <a:off x="5141" y="2535"/>
              <a:ext cx="20" cy="8"/>
            </a:xfrm>
            <a:custGeom>
              <a:avLst/>
              <a:gdLst>
                <a:gd name="T0" fmla="*/ 18 w 59"/>
                <a:gd name="T1" fmla="*/ 8 h 25"/>
                <a:gd name="T2" fmla="*/ 19 w 59"/>
                <a:gd name="T3" fmla="*/ 4 h 25"/>
                <a:gd name="T4" fmla="*/ 20 w 59"/>
                <a:gd name="T5" fmla="*/ 0 h 25"/>
                <a:gd name="T6" fmla="*/ 15 w 59"/>
                <a:gd name="T7" fmla="*/ 0 h 25"/>
                <a:gd name="T8" fmla="*/ 9 w 59"/>
                <a:gd name="T9" fmla="*/ 0 h 25"/>
                <a:gd name="T10" fmla="*/ 6 w 59"/>
                <a:gd name="T11" fmla="*/ 0 h 25"/>
                <a:gd name="T12" fmla="*/ 4 w 59"/>
                <a:gd name="T13" fmla="*/ 1 h 25"/>
                <a:gd name="T14" fmla="*/ 2 w 59"/>
                <a:gd name="T15" fmla="*/ 1 h 25"/>
                <a:gd name="T16" fmla="*/ 0 w 59"/>
                <a:gd name="T17" fmla="*/ 2 h 25"/>
                <a:gd name="T18" fmla="*/ 4 w 59"/>
                <a:gd name="T19" fmla="*/ 4 h 25"/>
                <a:gd name="T20" fmla="*/ 9 w 59"/>
                <a:gd name="T21" fmla="*/ 6 h 25"/>
                <a:gd name="T22" fmla="*/ 11 w 59"/>
                <a:gd name="T23" fmla="*/ 7 h 25"/>
                <a:gd name="T24" fmla="*/ 13 w 59"/>
                <a:gd name="T25" fmla="*/ 8 h 25"/>
                <a:gd name="T26" fmla="*/ 16 w 59"/>
                <a:gd name="T27" fmla="*/ 8 h 25"/>
                <a:gd name="T28" fmla="*/ 18 w 59"/>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rgbClr val="FFFFFF"/>
              </a:solidFill>
              <a:prstDash val="solid"/>
              <a:round/>
              <a:headEnd/>
              <a:tailEnd/>
            </a:ln>
          </p:spPr>
          <p:txBody>
            <a:bodyPr/>
            <a:lstStyle/>
            <a:p>
              <a:endParaRPr lang="es-ES" dirty="0"/>
            </a:p>
          </p:txBody>
        </p:sp>
        <p:sp>
          <p:nvSpPr>
            <p:cNvPr id="856" name="Line 306">
              <a:extLst>
                <a:ext uri="{FF2B5EF4-FFF2-40B4-BE49-F238E27FC236}">
                  <a16:creationId xmlns:a16="http://schemas.microsoft.com/office/drawing/2014/main" id="{20AE33E2-3B2C-481A-A3C7-1EA93F35B4D3}"/>
                </a:ext>
              </a:extLst>
            </p:cNvPr>
            <p:cNvSpPr>
              <a:spLocks noChangeShapeType="1"/>
            </p:cNvSpPr>
            <p:nvPr/>
          </p:nvSpPr>
          <p:spPr bwMode="auto">
            <a:xfrm flipV="1">
              <a:off x="5191" y="2516"/>
              <a:ext cx="6" cy="2"/>
            </a:xfrm>
            <a:prstGeom prst="line">
              <a:avLst/>
            </a:prstGeom>
            <a:grpFill/>
            <a:ln w="9525">
              <a:solidFill>
                <a:srgbClr val="FFFFFF"/>
              </a:solidFill>
              <a:round/>
              <a:headEnd/>
              <a:tailEnd/>
            </a:ln>
          </p:spPr>
          <p:txBody>
            <a:bodyPr/>
            <a:lstStyle/>
            <a:p>
              <a:endParaRPr lang="es-ES" dirty="0"/>
            </a:p>
          </p:txBody>
        </p:sp>
      </p:grpSp>
      <p:sp>
        <p:nvSpPr>
          <p:cNvPr id="857" name="Freeform 307">
            <a:extLst>
              <a:ext uri="{FF2B5EF4-FFF2-40B4-BE49-F238E27FC236}">
                <a16:creationId xmlns:a16="http://schemas.microsoft.com/office/drawing/2014/main" id="{D59E438B-F3F3-4053-B7ED-C9541A894A5E}"/>
              </a:ext>
            </a:extLst>
          </p:cNvPr>
          <p:cNvSpPr>
            <a:spLocks/>
          </p:cNvSpPr>
          <p:nvPr>
            <p:custDataLst>
              <p:tags r:id="rId210"/>
            </p:custDataLst>
          </p:nvPr>
        </p:nvSpPr>
        <p:spPr bwMode="auto">
          <a:xfrm>
            <a:off x="14589253" y="8053306"/>
            <a:ext cx="30316" cy="117894"/>
          </a:xfrm>
          <a:custGeom>
            <a:avLst/>
            <a:gdLst>
              <a:gd name="T0" fmla="*/ 0 w 33"/>
              <a:gd name="T1" fmla="*/ 55563 h 43"/>
              <a:gd name="T2" fmla="*/ 433 w 33"/>
              <a:gd name="T3" fmla="*/ 43934 h 43"/>
              <a:gd name="T4" fmla="*/ 866 w 33"/>
              <a:gd name="T5" fmla="*/ 34888 h 43"/>
              <a:gd name="T6" fmla="*/ 2165 w 33"/>
              <a:gd name="T7" fmla="*/ 27135 h 43"/>
              <a:gd name="T8" fmla="*/ 3897 w 33"/>
              <a:gd name="T9" fmla="*/ 19382 h 43"/>
              <a:gd name="T10" fmla="*/ 6062 w 33"/>
              <a:gd name="T11" fmla="*/ 11629 h 43"/>
              <a:gd name="T12" fmla="*/ 8659 w 33"/>
              <a:gd name="T13" fmla="*/ 6461 h 43"/>
              <a:gd name="T14" fmla="*/ 11257 w 33"/>
              <a:gd name="T15" fmla="*/ 2584 h 43"/>
              <a:gd name="T16" fmla="*/ 14288 w 33"/>
              <a:gd name="T17" fmla="*/ 0 h 43"/>
              <a:gd name="T18" fmla="*/ 14288 w 33"/>
              <a:gd name="T19" fmla="*/ 32304 h 43"/>
              <a:gd name="T20" fmla="*/ 9958 w 33"/>
              <a:gd name="T21" fmla="*/ 34888 h 43"/>
              <a:gd name="T22" fmla="*/ 7793 w 33"/>
              <a:gd name="T23" fmla="*/ 37473 h 43"/>
              <a:gd name="T24" fmla="*/ 6928 w 33"/>
              <a:gd name="T25" fmla="*/ 41349 h 43"/>
              <a:gd name="T26" fmla="*/ 6928 w 33"/>
              <a:gd name="T27" fmla="*/ 43934 h 43"/>
              <a:gd name="T28" fmla="*/ 6928 w 33"/>
              <a:gd name="T29" fmla="*/ 46518 h 43"/>
              <a:gd name="T30" fmla="*/ 6062 w 33"/>
              <a:gd name="T31" fmla="*/ 49102 h 43"/>
              <a:gd name="T32" fmla="*/ 4330 w 33"/>
              <a:gd name="T33" fmla="*/ 52979 h 43"/>
              <a:gd name="T34" fmla="*/ 0 w 33"/>
              <a:gd name="T35" fmla="*/ 5556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58" name="Freeform 308">
            <a:extLst>
              <a:ext uri="{FF2B5EF4-FFF2-40B4-BE49-F238E27FC236}">
                <a16:creationId xmlns:a16="http://schemas.microsoft.com/office/drawing/2014/main" id="{120B8670-F9EE-499B-9838-7697715A0348}"/>
              </a:ext>
            </a:extLst>
          </p:cNvPr>
          <p:cNvSpPr>
            <a:spLocks/>
          </p:cNvSpPr>
          <p:nvPr>
            <p:custDataLst>
              <p:tags r:id="rId211"/>
            </p:custDataLst>
          </p:nvPr>
        </p:nvSpPr>
        <p:spPr bwMode="auto">
          <a:xfrm>
            <a:off x="14750935" y="7925308"/>
            <a:ext cx="47157" cy="124631"/>
          </a:xfrm>
          <a:custGeom>
            <a:avLst/>
            <a:gdLst>
              <a:gd name="T0" fmla="*/ 0 w 54"/>
              <a:gd name="T1" fmla="*/ 35115 h 92"/>
              <a:gd name="T2" fmla="*/ 412 w 54"/>
              <a:gd name="T3" fmla="*/ 32561 h 92"/>
              <a:gd name="T4" fmla="*/ 823 w 54"/>
              <a:gd name="T5" fmla="*/ 29369 h 92"/>
              <a:gd name="T6" fmla="*/ 1235 w 54"/>
              <a:gd name="T7" fmla="*/ 26815 h 92"/>
              <a:gd name="T8" fmla="*/ 2469 w 54"/>
              <a:gd name="T9" fmla="*/ 23623 h 92"/>
              <a:gd name="T10" fmla="*/ 4527 w 54"/>
              <a:gd name="T11" fmla="*/ 18515 h 92"/>
              <a:gd name="T12" fmla="*/ 7408 w 54"/>
              <a:gd name="T13" fmla="*/ 13408 h 92"/>
              <a:gd name="T14" fmla="*/ 12759 w 54"/>
              <a:gd name="T15" fmla="*/ 4469 h 92"/>
              <a:gd name="T16" fmla="*/ 16875 w 54"/>
              <a:gd name="T17" fmla="*/ 0 h 92"/>
              <a:gd name="T18" fmla="*/ 22225 w 54"/>
              <a:gd name="T19" fmla="*/ 7661 h 92"/>
              <a:gd name="T20" fmla="*/ 20990 w 54"/>
              <a:gd name="T21" fmla="*/ 13408 h 92"/>
              <a:gd name="T22" fmla="*/ 19344 w 54"/>
              <a:gd name="T23" fmla="*/ 18515 h 92"/>
              <a:gd name="T24" fmla="*/ 18109 w 54"/>
              <a:gd name="T25" fmla="*/ 22346 h 92"/>
              <a:gd name="T26" fmla="*/ 16875 w 54"/>
              <a:gd name="T27" fmla="*/ 26177 h 92"/>
              <a:gd name="T28" fmla="*/ 13582 w 54"/>
              <a:gd name="T29" fmla="*/ 31284 h 92"/>
              <a:gd name="T30" fmla="*/ 11524 w 54"/>
              <a:gd name="T31" fmla="*/ 35115 h 92"/>
              <a:gd name="T32" fmla="*/ 10701 w 54"/>
              <a:gd name="T33" fmla="*/ 40861 h 92"/>
              <a:gd name="T34" fmla="*/ 10701 w 54"/>
              <a:gd name="T35" fmla="*/ 47246 h 92"/>
              <a:gd name="T36" fmla="*/ 9878 w 54"/>
              <a:gd name="T37" fmla="*/ 52992 h 92"/>
              <a:gd name="T38" fmla="*/ 8231 w 54"/>
              <a:gd name="T39" fmla="*/ 58738 h 92"/>
              <a:gd name="T40" fmla="*/ 5762 w 54"/>
              <a:gd name="T41" fmla="*/ 52992 h 92"/>
              <a:gd name="T42" fmla="*/ 3293 w 54"/>
              <a:gd name="T43" fmla="*/ 47246 h 92"/>
              <a:gd name="T44" fmla="*/ 2058 w 54"/>
              <a:gd name="T45" fmla="*/ 44692 h 92"/>
              <a:gd name="T46" fmla="*/ 823 w 54"/>
              <a:gd name="T47" fmla="*/ 40861 h 92"/>
              <a:gd name="T48" fmla="*/ 412 w 54"/>
              <a:gd name="T49" fmla="*/ 38307 h 92"/>
              <a:gd name="T50" fmla="*/ 0 w 54"/>
              <a:gd name="T51" fmla="*/ 35115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59" name="Freeform 309">
            <a:extLst>
              <a:ext uri="{FF2B5EF4-FFF2-40B4-BE49-F238E27FC236}">
                <a16:creationId xmlns:a16="http://schemas.microsoft.com/office/drawing/2014/main" id="{D0919BF2-A466-49A7-ABD7-AAB42ED4DD2A}"/>
              </a:ext>
            </a:extLst>
          </p:cNvPr>
          <p:cNvSpPr>
            <a:spLocks/>
          </p:cNvSpPr>
          <p:nvPr>
            <p:custDataLst>
              <p:tags r:id="rId212"/>
            </p:custDataLst>
          </p:nvPr>
        </p:nvSpPr>
        <p:spPr bwMode="auto">
          <a:xfrm>
            <a:off x="14851986" y="7669311"/>
            <a:ext cx="50527" cy="121262"/>
          </a:xfrm>
          <a:custGeom>
            <a:avLst/>
            <a:gdLst>
              <a:gd name="T0" fmla="*/ 0 w 60"/>
              <a:gd name="T1" fmla="*/ 0 h 18"/>
              <a:gd name="T2" fmla="*/ 7541 w 60"/>
              <a:gd name="T3" fmla="*/ 12700 h 18"/>
              <a:gd name="T4" fmla="*/ 14685 w 60"/>
              <a:gd name="T5" fmla="*/ 28575 h 18"/>
              <a:gd name="T6" fmla="*/ 17860 w 60"/>
              <a:gd name="T7" fmla="*/ 34925 h 18"/>
              <a:gd name="T8" fmla="*/ 20241 w 60"/>
              <a:gd name="T9" fmla="*/ 41275 h 18"/>
              <a:gd name="T10" fmla="*/ 22225 w 60"/>
              <a:gd name="T11" fmla="*/ 50800 h 18"/>
              <a:gd name="T12" fmla="*/ 23813 w 60"/>
              <a:gd name="T13" fmla="*/ 57150 h 18"/>
              <a:gd name="T14" fmla="*/ 15082 w 60"/>
              <a:gd name="T15" fmla="*/ 57150 h 18"/>
              <a:gd name="T16" fmla="*/ 9128 w 60"/>
              <a:gd name="T17" fmla="*/ 57150 h 18"/>
              <a:gd name="T18" fmla="*/ 3969 w 60"/>
              <a:gd name="T19" fmla="*/ 57150 h 18"/>
              <a:gd name="T20" fmla="*/ 0 w 60"/>
              <a:gd name="T21" fmla="*/ 57150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60" name="Freeform 310">
            <a:extLst>
              <a:ext uri="{FF2B5EF4-FFF2-40B4-BE49-F238E27FC236}">
                <a16:creationId xmlns:a16="http://schemas.microsoft.com/office/drawing/2014/main" id="{601407D2-6B07-40BB-90B7-3B0C1C7D172D}"/>
              </a:ext>
            </a:extLst>
          </p:cNvPr>
          <p:cNvSpPr>
            <a:spLocks/>
          </p:cNvSpPr>
          <p:nvPr>
            <p:custDataLst>
              <p:tags r:id="rId213"/>
            </p:custDataLst>
          </p:nvPr>
        </p:nvSpPr>
        <p:spPr bwMode="auto">
          <a:xfrm>
            <a:off x="14818302" y="7605313"/>
            <a:ext cx="53894" cy="121262"/>
          </a:xfrm>
          <a:custGeom>
            <a:avLst/>
            <a:gdLst>
              <a:gd name="T0" fmla="*/ 0 w 66"/>
              <a:gd name="T1" fmla="*/ 57150 h 18"/>
              <a:gd name="T2" fmla="*/ 25400 w 66"/>
              <a:gd name="T3" fmla="*/ 57150 h 18"/>
              <a:gd name="T4" fmla="*/ 20012 w 66"/>
              <a:gd name="T5" fmla="*/ 41275 h 18"/>
              <a:gd name="T6" fmla="*/ 15394 w 66"/>
              <a:gd name="T7" fmla="*/ 22225 h 18"/>
              <a:gd name="T8" fmla="*/ 13470 w 66"/>
              <a:gd name="T9" fmla="*/ 12700 h 18"/>
              <a:gd name="T10" fmla="*/ 11161 w 66"/>
              <a:gd name="T11" fmla="*/ 6350 h 18"/>
              <a:gd name="T12" fmla="*/ 9621 w 66"/>
              <a:gd name="T13" fmla="*/ 3175 h 18"/>
              <a:gd name="T14" fmla="*/ 7312 w 66"/>
              <a:gd name="T15" fmla="*/ 0 h 18"/>
              <a:gd name="T16" fmla="*/ 0 w 66"/>
              <a:gd name="T17" fmla="*/ 5715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61" name="Freeform 311">
            <a:extLst>
              <a:ext uri="{FF2B5EF4-FFF2-40B4-BE49-F238E27FC236}">
                <a16:creationId xmlns:a16="http://schemas.microsoft.com/office/drawing/2014/main" id="{BDB1FD0F-94BE-430D-83A9-2EE75DD0CFDE}"/>
              </a:ext>
            </a:extLst>
          </p:cNvPr>
          <p:cNvSpPr>
            <a:spLocks/>
          </p:cNvSpPr>
          <p:nvPr>
            <p:custDataLst>
              <p:tags r:id="rId214"/>
            </p:custDataLst>
          </p:nvPr>
        </p:nvSpPr>
        <p:spPr bwMode="auto">
          <a:xfrm>
            <a:off x="14447781" y="7386368"/>
            <a:ext cx="16843" cy="121262"/>
          </a:xfrm>
          <a:custGeom>
            <a:avLst/>
            <a:gdLst>
              <a:gd name="T0" fmla="*/ 0 w 17"/>
              <a:gd name="T1" fmla="*/ 48986 h 42"/>
              <a:gd name="T2" fmla="*/ 6070 w 17"/>
              <a:gd name="T3" fmla="*/ 57150 h 42"/>
              <a:gd name="T4" fmla="*/ 6537 w 17"/>
              <a:gd name="T5" fmla="*/ 44904 h 42"/>
              <a:gd name="T6" fmla="*/ 7471 w 17"/>
              <a:gd name="T7" fmla="*/ 31296 h 42"/>
              <a:gd name="T8" fmla="*/ 7938 w 17"/>
              <a:gd name="T9" fmla="*/ 24493 h 42"/>
              <a:gd name="T10" fmla="*/ 7471 w 17"/>
              <a:gd name="T11" fmla="*/ 16329 h 42"/>
              <a:gd name="T12" fmla="*/ 7471 w 17"/>
              <a:gd name="T13" fmla="*/ 8164 h 42"/>
              <a:gd name="T14" fmla="*/ 6070 w 17"/>
              <a:gd name="T15" fmla="*/ 0 h 42"/>
              <a:gd name="T16" fmla="*/ 0 w 17"/>
              <a:gd name="T17" fmla="*/ 48986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62" name="Freeform 312">
            <a:extLst>
              <a:ext uri="{FF2B5EF4-FFF2-40B4-BE49-F238E27FC236}">
                <a16:creationId xmlns:a16="http://schemas.microsoft.com/office/drawing/2014/main" id="{6C9F3CD4-9B59-433F-BB04-DB5C8FF07C91}"/>
              </a:ext>
            </a:extLst>
          </p:cNvPr>
          <p:cNvSpPr>
            <a:spLocks/>
          </p:cNvSpPr>
          <p:nvPr>
            <p:custDataLst>
              <p:tags r:id="rId215"/>
            </p:custDataLst>
          </p:nvPr>
        </p:nvSpPr>
        <p:spPr bwMode="auto">
          <a:xfrm>
            <a:off x="14292836" y="7672681"/>
            <a:ext cx="64000" cy="124629"/>
          </a:xfrm>
          <a:custGeom>
            <a:avLst/>
            <a:gdLst>
              <a:gd name="T0" fmla="*/ 2514 w 72"/>
              <a:gd name="T1" fmla="*/ 58737 h 29"/>
              <a:gd name="T2" fmla="*/ 6284 w 72"/>
              <a:gd name="T3" fmla="*/ 52661 h 29"/>
              <a:gd name="T4" fmla="*/ 10054 w 72"/>
              <a:gd name="T5" fmla="*/ 48610 h 29"/>
              <a:gd name="T6" fmla="*/ 13406 w 72"/>
              <a:gd name="T7" fmla="*/ 48610 h 29"/>
              <a:gd name="T8" fmla="*/ 16338 w 72"/>
              <a:gd name="T9" fmla="*/ 48610 h 29"/>
              <a:gd name="T10" fmla="*/ 23041 w 72"/>
              <a:gd name="T11" fmla="*/ 54686 h 29"/>
              <a:gd name="T12" fmla="*/ 30163 w 72"/>
              <a:gd name="T13" fmla="*/ 58737 h 29"/>
              <a:gd name="T14" fmla="*/ 30163 w 72"/>
              <a:gd name="T15" fmla="*/ 8102 h 29"/>
              <a:gd name="T16" fmla="*/ 24298 w 72"/>
              <a:gd name="T17" fmla="*/ 2025 h 29"/>
              <a:gd name="T18" fmla="*/ 19690 w 72"/>
              <a:gd name="T19" fmla="*/ 0 h 29"/>
              <a:gd name="T20" fmla="*/ 16338 w 72"/>
              <a:gd name="T21" fmla="*/ 0 h 29"/>
              <a:gd name="T22" fmla="*/ 14244 w 72"/>
              <a:gd name="T23" fmla="*/ 4051 h 29"/>
              <a:gd name="T24" fmla="*/ 11311 w 72"/>
              <a:gd name="T25" fmla="*/ 6076 h 29"/>
              <a:gd name="T26" fmla="*/ 8798 w 72"/>
              <a:gd name="T27" fmla="*/ 10127 h 29"/>
              <a:gd name="T28" fmla="*/ 5027 w 72"/>
              <a:gd name="T29" fmla="*/ 10127 h 29"/>
              <a:gd name="T30" fmla="*/ 0 w 72"/>
              <a:gd name="T31" fmla="*/ 8102 h 29"/>
              <a:gd name="T32" fmla="*/ 1257 w 72"/>
              <a:gd name="T33" fmla="*/ 32407 h 29"/>
              <a:gd name="T34" fmla="*/ 2514 w 72"/>
              <a:gd name="T35" fmla="*/ 5873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63" name="Freeform 313">
            <a:extLst>
              <a:ext uri="{FF2B5EF4-FFF2-40B4-BE49-F238E27FC236}">
                <a16:creationId xmlns:a16="http://schemas.microsoft.com/office/drawing/2014/main" id="{111B50AE-0F8E-4A74-A93E-2438C5E46359}"/>
              </a:ext>
            </a:extLst>
          </p:cNvPr>
          <p:cNvSpPr>
            <a:spLocks/>
          </p:cNvSpPr>
          <p:nvPr>
            <p:custDataLst>
              <p:tags r:id="rId216"/>
            </p:custDataLst>
          </p:nvPr>
        </p:nvSpPr>
        <p:spPr bwMode="auto">
          <a:xfrm>
            <a:off x="14309679" y="8066780"/>
            <a:ext cx="40421" cy="117894"/>
          </a:xfrm>
          <a:custGeom>
            <a:avLst/>
            <a:gdLst>
              <a:gd name="T0" fmla="*/ 0 w 46"/>
              <a:gd name="T1" fmla="*/ 0 h 37"/>
              <a:gd name="T2" fmla="*/ 3727 w 46"/>
              <a:gd name="T3" fmla="*/ 13515 h 37"/>
              <a:gd name="T4" fmla="*/ 8283 w 46"/>
              <a:gd name="T5" fmla="*/ 22526 h 37"/>
              <a:gd name="T6" fmla="*/ 12838 w 46"/>
              <a:gd name="T7" fmla="*/ 30034 h 37"/>
              <a:gd name="T8" fmla="*/ 19050 w 46"/>
              <a:gd name="T9" fmla="*/ 37543 h 37"/>
              <a:gd name="T10" fmla="*/ 15323 w 46"/>
              <a:gd name="T11" fmla="*/ 43549 h 37"/>
              <a:gd name="T12" fmla="*/ 12010 w 46"/>
              <a:gd name="T13" fmla="*/ 49556 h 37"/>
              <a:gd name="T14" fmla="*/ 8697 w 46"/>
              <a:gd name="T15" fmla="*/ 54061 h 37"/>
              <a:gd name="T16" fmla="*/ 5384 w 46"/>
              <a:gd name="T17" fmla="*/ 55563 h 37"/>
              <a:gd name="T18" fmla="*/ 3727 w 46"/>
              <a:gd name="T19" fmla="*/ 54061 h 37"/>
              <a:gd name="T20" fmla="*/ 2899 w 46"/>
              <a:gd name="T21" fmla="*/ 49556 h 37"/>
              <a:gd name="T22" fmla="*/ 2071 w 46"/>
              <a:gd name="T23" fmla="*/ 43549 h 37"/>
              <a:gd name="T24" fmla="*/ 1242 w 46"/>
              <a:gd name="T25" fmla="*/ 34539 h 37"/>
              <a:gd name="T26" fmla="*/ 414 w 46"/>
              <a:gd name="T27" fmla="*/ 18020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64" name="Freeform 314">
            <a:extLst>
              <a:ext uri="{FF2B5EF4-FFF2-40B4-BE49-F238E27FC236}">
                <a16:creationId xmlns:a16="http://schemas.microsoft.com/office/drawing/2014/main" id="{B113ED6C-B9DD-4DCC-B8FD-BB508270EAC6}"/>
              </a:ext>
            </a:extLst>
          </p:cNvPr>
          <p:cNvSpPr>
            <a:spLocks/>
          </p:cNvSpPr>
          <p:nvPr>
            <p:custDataLst>
              <p:tags r:id="rId217"/>
            </p:custDataLst>
          </p:nvPr>
        </p:nvSpPr>
        <p:spPr bwMode="auto">
          <a:xfrm>
            <a:off x="14548832" y="7682785"/>
            <a:ext cx="23580" cy="121262"/>
          </a:xfrm>
          <a:custGeom>
            <a:avLst/>
            <a:gdLst>
              <a:gd name="T0" fmla="*/ 0 w 26"/>
              <a:gd name="T1" fmla="*/ 0 h 19"/>
              <a:gd name="T2" fmla="*/ 11113 w 26"/>
              <a:gd name="T3" fmla="*/ 57150 h 19"/>
              <a:gd name="T4" fmla="*/ 11113 w 26"/>
              <a:gd name="T5" fmla="*/ 27071 h 19"/>
              <a:gd name="T6" fmla="*/ 11113 w 26"/>
              <a:gd name="T7" fmla="*/ 0 h 19"/>
              <a:gd name="T8" fmla="*/ 6411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0" y="0"/>
                </a:moveTo>
                <a:lnTo>
                  <a:pt x="26" y="19"/>
                </a:lnTo>
                <a:lnTo>
                  <a:pt x="26" y="9"/>
                </a:lnTo>
                <a:lnTo>
                  <a:pt x="26" y="0"/>
                </a:lnTo>
                <a:lnTo>
                  <a:pt x="15" y="0"/>
                </a:lnTo>
                <a:lnTo>
                  <a:pt x="0"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65" name="Freeform 315">
            <a:extLst>
              <a:ext uri="{FF2B5EF4-FFF2-40B4-BE49-F238E27FC236}">
                <a16:creationId xmlns:a16="http://schemas.microsoft.com/office/drawing/2014/main" id="{04D79FEA-C150-468A-86EA-76F3A4314A68}"/>
              </a:ext>
            </a:extLst>
          </p:cNvPr>
          <p:cNvSpPr>
            <a:spLocks/>
          </p:cNvSpPr>
          <p:nvPr>
            <p:custDataLst>
              <p:tags r:id="rId218"/>
            </p:custDataLst>
          </p:nvPr>
        </p:nvSpPr>
        <p:spPr bwMode="auto">
          <a:xfrm>
            <a:off x="14252415" y="7672681"/>
            <a:ext cx="40421" cy="124629"/>
          </a:xfrm>
          <a:custGeom>
            <a:avLst/>
            <a:gdLst>
              <a:gd name="T0" fmla="*/ 886 w 43"/>
              <a:gd name="T1" fmla="*/ 0 h 31"/>
              <a:gd name="T2" fmla="*/ 443 w 43"/>
              <a:gd name="T3" fmla="*/ 22737 h 31"/>
              <a:gd name="T4" fmla="*/ 0 w 43"/>
              <a:gd name="T5" fmla="*/ 43579 h 31"/>
              <a:gd name="T6" fmla="*/ 0 w 43"/>
              <a:gd name="T7" fmla="*/ 49263 h 31"/>
              <a:gd name="T8" fmla="*/ 0 w 43"/>
              <a:gd name="T9" fmla="*/ 54948 h 31"/>
              <a:gd name="T10" fmla="*/ 0 w 43"/>
              <a:gd name="T11" fmla="*/ 58737 h 31"/>
              <a:gd name="T12" fmla="*/ 886 w 43"/>
              <a:gd name="T13" fmla="*/ 58737 h 31"/>
              <a:gd name="T14" fmla="*/ 5759 w 43"/>
              <a:gd name="T15" fmla="*/ 41684 h 31"/>
              <a:gd name="T16" fmla="*/ 11076 w 43"/>
              <a:gd name="T17" fmla="*/ 24632 h 31"/>
              <a:gd name="T18" fmla="*/ 15506 w 43"/>
              <a:gd name="T19" fmla="*/ 9474 h 31"/>
              <a:gd name="T20" fmla="*/ 19050 w 43"/>
              <a:gd name="T21" fmla="*/ 0 h 31"/>
              <a:gd name="T22" fmla="*/ 886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66" name="Freeform 316">
            <a:extLst>
              <a:ext uri="{FF2B5EF4-FFF2-40B4-BE49-F238E27FC236}">
                <a16:creationId xmlns:a16="http://schemas.microsoft.com/office/drawing/2014/main" id="{4F56D33F-F675-4D9F-91D7-B522FF4E58A2}"/>
              </a:ext>
            </a:extLst>
          </p:cNvPr>
          <p:cNvSpPr>
            <a:spLocks/>
          </p:cNvSpPr>
          <p:nvPr>
            <p:custDataLst>
              <p:tags r:id="rId219"/>
            </p:custDataLst>
          </p:nvPr>
        </p:nvSpPr>
        <p:spPr bwMode="auto">
          <a:xfrm>
            <a:off x="14346730" y="7773732"/>
            <a:ext cx="64000" cy="121262"/>
          </a:xfrm>
          <a:custGeom>
            <a:avLst/>
            <a:gdLst>
              <a:gd name="T0" fmla="*/ 1699 w 71"/>
              <a:gd name="T1" fmla="*/ 13996 h 49"/>
              <a:gd name="T2" fmla="*/ 1699 w 71"/>
              <a:gd name="T3" fmla="*/ 20994 h 49"/>
              <a:gd name="T4" fmla="*/ 2124 w 71"/>
              <a:gd name="T5" fmla="*/ 29158 h 49"/>
              <a:gd name="T6" fmla="*/ 2974 w 71"/>
              <a:gd name="T7" fmla="*/ 36156 h 49"/>
              <a:gd name="T8" fmla="*/ 3823 w 71"/>
              <a:gd name="T9" fmla="*/ 43154 h 49"/>
              <a:gd name="T10" fmla="*/ 5948 w 71"/>
              <a:gd name="T11" fmla="*/ 47819 h 49"/>
              <a:gd name="T12" fmla="*/ 7647 w 71"/>
              <a:gd name="T13" fmla="*/ 53651 h 49"/>
              <a:gd name="T14" fmla="*/ 9771 w 71"/>
              <a:gd name="T15" fmla="*/ 55984 h 49"/>
              <a:gd name="T16" fmla="*/ 12745 w 71"/>
              <a:gd name="T17" fmla="*/ 57150 h 49"/>
              <a:gd name="T18" fmla="*/ 14869 w 71"/>
              <a:gd name="T19" fmla="*/ 55984 h 49"/>
              <a:gd name="T20" fmla="*/ 16993 w 71"/>
              <a:gd name="T21" fmla="*/ 53651 h 49"/>
              <a:gd name="T22" fmla="*/ 19117 w 71"/>
              <a:gd name="T23" fmla="*/ 48986 h 49"/>
              <a:gd name="T24" fmla="*/ 21242 w 71"/>
              <a:gd name="T25" fmla="*/ 43154 h 49"/>
              <a:gd name="T26" fmla="*/ 25490 w 71"/>
              <a:gd name="T27" fmla="*/ 32657 h 49"/>
              <a:gd name="T28" fmla="*/ 30163 w 71"/>
              <a:gd name="T29" fmla="*/ 20994 h 49"/>
              <a:gd name="T30" fmla="*/ 25915 w 71"/>
              <a:gd name="T31" fmla="*/ 13996 h 49"/>
              <a:gd name="T32" fmla="*/ 22091 w 71"/>
              <a:gd name="T33" fmla="*/ 10497 h 49"/>
              <a:gd name="T34" fmla="*/ 18693 w 71"/>
              <a:gd name="T35" fmla="*/ 8164 h 49"/>
              <a:gd name="T36" fmla="*/ 15719 w 71"/>
              <a:gd name="T37" fmla="*/ 6998 h 49"/>
              <a:gd name="T38" fmla="*/ 12320 w 71"/>
              <a:gd name="T39" fmla="*/ 6998 h 49"/>
              <a:gd name="T40" fmla="*/ 8921 w 71"/>
              <a:gd name="T41" fmla="*/ 5832 h 49"/>
              <a:gd name="T42" fmla="*/ 5948 w 71"/>
              <a:gd name="T43" fmla="*/ 3499 h 49"/>
              <a:gd name="T44" fmla="*/ 1699 w 71"/>
              <a:gd name="T45" fmla="*/ 0 h 49"/>
              <a:gd name="T46" fmla="*/ 1274 w 71"/>
              <a:gd name="T47" fmla="*/ 1166 h 49"/>
              <a:gd name="T48" fmla="*/ 425 w 71"/>
              <a:gd name="T49" fmla="*/ 6998 h 49"/>
              <a:gd name="T50" fmla="*/ 0 w 71"/>
              <a:gd name="T51" fmla="*/ 9331 h 49"/>
              <a:gd name="T52" fmla="*/ 0 w 71"/>
              <a:gd name="T53" fmla="*/ 11663 h 49"/>
              <a:gd name="T54" fmla="*/ 425 w 71"/>
              <a:gd name="T55" fmla="*/ 12830 h 49"/>
              <a:gd name="T56" fmla="*/ 1699 w 71"/>
              <a:gd name="T57" fmla="*/ 13996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67" name="Freeform 317">
            <a:extLst>
              <a:ext uri="{FF2B5EF4-FFF2-40B4-BE49-F238E27FC236}">
                <a16:creationId xmlns:a16="http://schemas.microsoft.com/office/drawing/2014/main" id="{B35F39B3-1094-4C65-90FD-0382B07C7E79}"/>
              </a:ext>
            </a:extLst>
          </p:cNvPr>
          <p:cNvSpPr>
            <a:spLocks/>
          </p:cNvSpPr>
          <p:nvPr>
            <p:custDataLst>
              <p:tags r:id="rId220"/>
            </p:custDataLst>
          </p:nvPr>
        </p:nvSpPr>
        <p:spPr bwMode="auto">
          <a:xfrm>
            <a:off x="13925684" y="8204884"/>
            <a:ext cx="97682" cy="124629"/>
          </a:xfrm>
          <a:custGeom>
            <a:avLst/>
            <a:gdLst>
              <a:gd name="T0" fmla="*/ 18908 w 112"/>
              <a:gd name="T1" fmla="*/ 4518 h 26"/>
              <a:gd name="T2" fmla="*/ 23019 w 112"/>
              <a:gd name="T3" fmla="*/ 4518 h 26"/>
              <a:gd name="T4" fmla="*/ 27129 w 112"/>
              <a:gd name="T5" fmla="*/ 6777 h 26"/>
              <a:gd name="T6" fmla="*/ 30417 w 112"/>
              <a:gd name="T7" fmla="*/ 9036 h 26"/>
              <a:gd name="T8" fmla="*/ 34528 w 112"/>
              <a:gd name="T9" fmla="*/ 13555 h 26"/>
              <a:gd name="T10" fmla="*/ 37816 w 112"/>
              <a:gd name="T11" fmla="*/ 20332 h 26"/>
              <a:gd name="T12" fmla="*/ 41104 w 112"/>
              <a:gd name="T13" fmla="*/ 27109 h 26"/>
              <a:gd name="T14" fmla="*/ 43571 w 112"/>
              <a:gd name="T15" fmla="*/ 36146 h 26"/>
              <a:gd name="T16" fmla="*/ 46037 w 112"/>
              <a:gd name="T17" fmla="*/ 45182 h 26"/>
              <a:gd name="T18" fmla="*/ 45215 w 112"/>
              <a:gd name="T19" fmla="*/ 49701 h 26"/>
              <a:gd name="T20" fmla="*/ 43160 w 112"/>
              <a:gd name="T21" fmla="*/ 51960 h 26"/>
              <a:gd name="T22" fmla="*/ 41516 w 112"/>
              <a:gd name="T23" fmla="*/ 56478 h 26"/>
              <a:gd name="T24" fmla="*/ 39049 w 112"/>
              <a:gd name="T25" fmla="*/ 56478 h 26"/>
              <a:gd name="T26" fmla="*/ 35761 w 112"/>
              <a:gd name="T27" fmla="*/ 58737 h 26"/>
              <a:gd name="T28" fmla="*/ 32473 w 112"/>
              <a:gd name="T29" fmla="*/ 58737 h 26"/>
              <a:gd name="T30" fmla="*/ 27129 w 112"/>
              <a:gd name="T31" fmla="*/ 54219 h 26"/>
              <a:gd name="T32" fmla="*/ 16853 w 112"/>
              <a:gd name="T33" fmla="*/ 42923 h 26"/>
              <a:gd name="T34" fmla="*/ 6577 w 112"/>
              <a:gd name="T35" fmla="*/ 29369 h 26"/>
              <a:gd name="T36" fmla="*/ 0 w 112"/>
              <a:gd name="T37" fmla="*/ 18073 h 26"/>
              <a:gd name="T38" fmla="*/ 2055 w 112"/>
              <a:gd name="T39" fmla="*/ 9036 h 26"/>
              <a:gd name="T40" fmla="*/ 4521 w 112"/>
              <a:gd name="T41" fmla="*/ 4518 h 26"/>
              <a:gd name="T42" fmla="*/ 7399 w 112"/>
              <a:gd name="T43" fmla="*/ 2259 h 26"/>
              <a:gd name="T44" fmla="*/ 10276 w 112"/>
              <a:gd name="T45" fmla="*/ 0 h 26"/>
              <a:gd name="T46" fmla="*/ 15209 w 112"/>
              <a:gd name="T47" fmla="*/ 2259 h 26"/>
              <a:gd name="T48" fmla="*/ 18908 w 112"/>
              <a:gd name="T49" fmla="*/ 4518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68" name="Freeform 318">
            <a:extLst>
              <a:ext uri="{FF2B5EF4-FFF2-40B4-BE49-F238E27FC236}">
                <a16:creationId xmlns:a16="http://schemas.microsoft.com/office/drawing/2014/main" id="{42923A48-9F1C-49E2-B0B7-CEDED441A065}"/>
              </a:ext>
            </a:extLst>
          </p:cNvPr>
          <p:cNvSpPr>
            <a:spLocks/>
          </p:cNvSpPr>
          <p:nvPr>
            <p:custDataLst>
              <p:tags r:id="rId221"/>
            </p:custDataLst>
          </p:nvPr>
        </p:nvSpPr>
        <p:spPr bwMode="auto">
          <a:xfrm>
            <a:off x="14134523" y="8285725"/>
            <a:ext cx="30314" cy="124629"/>
          </a:xfrm>
          <a:custGeom>
            <a:avLst/>
            <a:gdLst>
              <a:gd name="T0" fmla="*/ 0 w 41"/>
              <a:gd name="T1" fmla="*/ 0 h 25"/>
              <a:gd name="T2" fmla="*/ 14287 w 41"/>
              <a:gd name="T3" fmla="*/ 0 h 25"/>
              <a:gd name="T4" fmla="*/ 9757 w 41"/>
              <a:gd name="T5" fmla="*/ 18796 h 25"/>
              <a:gd name="T6" fmla="*/ 6272 w 41"/>
              <a:gd name="T7" fmla="*/ 35242 h 25"/>
              <a:gd name="T8" fmla="*/ 3136 w 41"/>
              <a:gd name="T9" fmla="*/ 46990 h 25"/>
              <a:gd name="T10" fmla="*/ 0 w 41"/>
              <a:gd name="T11" fmla="*/ 5873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69" name="Freeform 319">
            <a:extLst>
              <a:ext uri="{FF2B5EF4-FFF2-40B4-BE49-F238E27FC236}">
                <a16:creationId xmlns:a16="http://schemas.microsoft.com/office/drawing/2014/main" id="{20CCB5F7-9920-4256-A4E9-31DE7E0E4CCD}"/>
              </a:ext>
            </a:extLst>
          </p:cNvPr>
          <p:cNvSpPr>
            <a:spLocks/>
          </p:cNvSpPr>
          <p:nvPr>
            <p:custDataLst>
              <p:tags r:id="rId222"/>
            </p:custDataLst>
          </p:nvPr>
        </p:nvSpPr>
        <p:spPr bwMode="auto">
          <a:xfrm>
            <a:off x="13780843" y="8140884"/>
            <a:ext cx="77474" cy="117894"/>
          </a:xfrm>
          <a:custGeom>
            <a:avLst/>
            <a:gdLst>
              <a:gd name="T0" fmla="*/ 0 w 81"/>
              <a:gd name="T1" fmla="*/ 55563 h 31"/>
              <a:gd name="T2" fmla="*/ 0 w 81"/>
              <a:gd name="T3" fmla="*/ 39432 h 31"/>
              <a:gd name="T4" fmla="*/ 0 w 81"/>
              <a:gd name="T5" fmla="*/ 23301 h 31"/>
              <a:gd name="T6" fmla="*/ 0 w 81"/>
              <a:gd name="T7" fmla="*/ 17924 h 31"/>
              <a:gd name="T8" fmla="*/ 902 w 81"/>
              <a:gd name="T9" fmla="*/ 14339 h 31"/>
              <a:gd name="T10" fmla="*/ 1352 w 81"/>
              <a:gd name="T11" fmla="*/ 10754 h 31"/>
              <a:gd name="T12" fmla="*/ 1803 w 81"/>
              <a:gd name="T13" fmla="*/ 7169 h 31"/>
              <a:gd name="T14" fmla="*/ 3606 w 81"/>
              <a:gd name="T15" fmla="*/ 3585 h 31"/>
              <a:gd name="T16" fmla="*/ 6311 w 81"/>
              <a:gd name="T17" fmla="*/ 0 h 31"/>
              <a:gd name="T18" fmla="*/ 11720 w 81"/>
              <a:gd name="T19" fmla="*/ 1792 h 31"/>
              <a:gd name="T20" fmla="*/ 18482 w 81"/>
              <a:gd name="T21" fmla="*/ 1792 h 31"/>
              <a:gd name="T22" fmla="*/ 25244 w 81"/>
              <a:gd name="T23" fmla="*/ 1792 h 31"/>
              <a:gd name="T24" fmla="*/ 29301 w 81"/>
              <a:gd name="T25" fmla="*/ 1792 h 31"/>
              <a:gd name="T26" fmla="*/ 32907 w 81"/>
              <a:gd name="T27" fmla="*/ 1792 h 31"/>
              <a:gd name="T28" fmla="*/ 36513 w 81"/>
              <a:gd name="T29" fmla="*/ 1792 h 31"/>
              <a:gd name="T30" fmla="*/ 32907 w 81"/>
              <a:gd name="T31" fmla="*/ 10754 h 31"/>
              <a:gd name="T32" fmla="*/ 30202 w 81"/>
              <a:gd name="T33" fmla="*/ 17924 h 31"/>
              <a:gd name="T34" fmla="*/ 28850 w 81"/>
              <a:gd name="T35" fmla="*/ 25093 h 31"/>
              <a:gd name="T36" fmla="*/ 27948 w 81"/>
              <a:gd name="T37" fmla="*/ 32262 h 31"/>
              <a:gd name="T38" fmla="*/ 26596 w 81"/>
              <a:gd name="T39" fmla="*/ 37639 h 31"/>
              <a:gd name="T40" fmla="*/ 24342 w 81"/>
              <a:gd name="T41" fmla="*/ 41224 h 31"/>
              <a:gd name="T42" fmla="*/ 21187 w 81"/>
              <a:gd name="T43" fmla="*/ 44809 h 31"/>
              <a:gd name="T44" fmla="*/ 15326 w 81"/>
              <a:gd name="T45" fmla="*/ 44809 h 31"/>
              <a:gd name="T46" fmla="*/ 0 w 81"/>
              <a:gd name="T47" fmla="*/ 5556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70" name="Freeform 320">
            <a:extLst>
              <a:ext uri="{FF2B5EF4-FFF2-40B4-BE49-F238E27FC236}">
                <a16:creationId xmlns:a16="http://schemas.microsoft.com/office/drawing/2014/main" id="{EFAC214A-C1EA-4695-9383-37D457A57F0B}"/>
              </a:ext>
            </a:extLst>
          </p:cNvPr>
          <p:cNvSpPr>
            <a:spLocks/>
          </p:cNvSpPr>
          <p:nvPr>
            <p:custDataLst>
              <p:tags r:id="rId223"/>
            </p:custDataLst>
          </p:nvPr>
        </p:nvSpPr>
        <p:spPr bwMode="auto">
          <a:xfrm>
            <a:off x="13875157" y="8110570"/>
            <a:ext cx="84210" cy="117892"/>
          </a:xfrm>
          <a:custGeom>
            <a:avLst/>
            <a:gdLst>
              <a:gd name="T0" fmla="*/ 892 w 89"/>
              <a:gd name="T1" fmla="*/ 55562 h 49"/>
              <a:gd name="T2" fmla="*/ 39688 w 89"/>
              <a:gd name="T3" fmla="*/ 55562 h 49"/>
              <a:gd name="T4" fmla="*/ 34783 w 89"/>
              <a:gd name="T5" fmla="*/ 46491 h 49"/>
              <a:gd name="T6" fmla="*/ 30323 w 89"/>
              <a:gd name="T7" fmla="*/ 39687 h 49"/>
              <a:gd name="T8" fmla="*/ 25418 w 89"/>
              <a:gd name="T9" fmla="*/ 34018 h 49"/>
              <a:gd name="T10" fmla="*/ 20513 w 89"/>
              <a:gd name="T11" fmla="*/ 28348 h 49"/>
              <a:gd name="T12" fmla="*/ 16054 w 89"/>
              <a:gd name="T13" fmla="*/ 23812 h 49"/>
              <a:gd name="T14" fmla="*/ 11594 w 89"/>
              <a:gd name="T15" fmla="*/ 15875 h 49"/>
              <a:gd name="T16" fmla="*/ 7135 w 89"/>
              <a:gd name="T17" fmla="*/ 9071 h 49"/>
              <a:gd name="T18" fmla="*/ 4013 w 89"/>
              <a:gd name="T19" fmla="*/ 0 h 49"/>
              <a:gd name="T20" fmla="*/ 1784 w 89"/>
              <a:gd name="T21" fmla="*/ 11339 h 49"/>
              <a:gd name="T22" fmla="*/ 446 w 89"/>
              <a:gd name="T23" fmla="*/ 26080 h 49"/>
              <a:gd name="T24" fmla="*/ 0 w 89"/>
              <a:gd name="T25" fmla="*/ 32884 h 49"/>
              <a:gd name="T26" fmla="*/ 0 w 89"/>
              <a:gd name="T27" fmla="*/ 40821 h 49"/>
              <a:gd name="T28" fmla="*/ 0 w 89"/>
              <a:gd name="T29" fmla="*/ 48758 h 49"/>
              <a:gd name="T30" fmla="*/ 892 w 89"/>
              <a:gd name="T31" fmla="*/ 55562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71" name="Freeform 321">
            <a:extLst>
              <a:ext uri="{FF2B5EF4-FFF2-40B4-BE49-F238E27FC236}">
                <a16:creationId xmlns:a16="http://schemas.microsoft.com/office/drawing/2014/main" id="{B35D7F88-76BF-45A6-AC70-ED9729F90918}"/>
              </a:ext>
            </a:extLst>
          </p:cNvPr>
          <p:cNvSpPr>
            <a:spLocks/>
          </p:cNvSpPr>
          <p:nvPr>
            <p:custDataLst>
              <p:tags r:id="rId224"/>
            </p:custDataLst>
          </p:nvPr>
        </p:nvSpPr>
        <p:spPr bwMode="auto">
          <a:xfrm>
            <a:off x="13986314" y="8130780"/>
            <a:ext cx="77472" cy="124629"/>
          </a:xfrm>
          <a:custGeom>
            <a:avLst/>
            <a:gdLst>
              <a:gd name="T0" fmla="*/ 0 w 86"/>
              <a:gd name="T1" fmla="*/ 26815 h 46"/>
              <a:gd name="T2" fmla="*/ 5944 w 86"/>
              <a:gd name="T3" fmla="*/ 33199 h 46"/>
              <a:gd name="T4" fmla="*/ 10614 w 86"/>
              <a:gd name="T5" fmla="*/ 37030 h 46"/>
              <a:gd name="T6" fmla="*/ 12737 w 86"/>
              <a:gd name="T7" fmla="*/ 38307 h 46"/>
              <a:gd name="T8" fmla="*/ 15284 w 86"/>
              <a:gd name="T9" fmla="*/ 38307 h 46"/>
              <a:gd name="T10" fmla="*/ 17407 w 86"/>
              <a:gd name="T11" fmla="*/ 37030 h 46"/>
              <a:gd name="T12" fmla="*/ 19530 w 86"/>
              <a:gd name="T13" fmla="*/ 34476 h 46"/>
              <a:gd name="T14" fmla="*/ 19530 w 86"/>
              <a:gd name="T15" fmla="*/ 45968 h 46"/>
              <a:gd name="T16" fmla="*/ 19530 w 86"/>
              <a:gd name="T17" fmla="*/ 58737 h 46"/>
              <a:gd name="T18" fmla="*/ 23775 w 86"/>
              <a:gd name="T19" fmla="*/ 57460 h 46"/>
              <a:gd name="T20" fmla="*/ 28445 w 86"/>
              <a:gd name="T21" fmla="*/ 54906 h 46"/>
              <a:gd name="T22" fmla="*/ 32691 w 86"/>
              <a:gd name="T23" fmla="*/ 51076 h 46"/>
              <a:gd name="T24" fmla="*/ 36512 w 86"/>
              <a:gd name="T25" fmla="*/ 51076 h 46"/>
              <a:gd name="T26" fmla="*/ 35238 w 86"/>
              <a:gd name="T27" fmla="*/ 40861 h 46"/>
              <a:gd name="T28" fmla="*/ 33965 w 86"/>
              <a:gd name="T29" fmla="*/ 31922 h 46"/>
              <a:gd name="T30" fmla="*/ 31417 w 86"/>
              <a:gd name="T31" fmla="*/ 24261 h 46"/>
              <a:gd name="T32" fmla="*/ 29719 w 86"/>
              <a:gd name="T33" fmla="*/ 17876 h 46"/>
              <a:gd name="T34" fmla="*/ 27172 w 86"/>
              <a:gd name="T35" fmla="*/ 11492 h 46"/>
              <a:gd name="T36" fmla="*/ 24624 w 86"/>
              <a:gd name="T37" fmla="*/ 7661 h 46"/>
              <a:gd name="T38" fmla="*/ 21652 w 86"/>
              <a:gd name="T39" fmla="*/ 3831 h 46"/>
              <a:gd name="T40" fmla="*/ 19530 w 86"/>
              <a:gd name="T41" fmla="*/ 1277 h 46"/>
              <a:gd name="T42" fmla="*/ 16558 w 86"/>
              <a:gd name="T43" fmla="*/ 0 h 46"/>
              <a:gd name="T44" fmla="*/ 14010 w 86"/>
              <a:gd name="T45" fmla="*/ 0 h 46"/>
              <a:gd name="T46" fmla="*/ 11039 w 86"/>
              <a:gd name="T47" fmla="*/ 1277 h 46"/>
              <a:gd name="T48" fmla="*/ 8067 w 86"/>
              <a:gd name="T49" fmla="*/ 3831 h 46"/>
              <a:gd name="T50" fmla="*/ 5944 w 86"/>
              <a:gd name="T51" fmla="*/ 7661 h 46"/>
              <a:gd name="T52" fmla="*/ 3396 w 86"/>
              <a:gd name="T53" fmla="*/ 12769 h 46"/>
              <a:gd name="T54" fmla="*/ 1698 w 86"/>
              <a:gd name="T55" fmla="*/ 19153 h 46"/>
              <a:gd name="T56" fmla="*/ 0 w 86"/>
              <a:gd name="T57" fmla="*/ 26815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72" name="Freeform 322">
            <a:extLst>
              <a:ext uri="{FF2B5EF4-FFF2-40B4-BE49-F238E27FC236}">
                <a16:creationId xmlns:a16="http://schemas.microsoft.com/office/drawing/2014/main" id="{A126764F-20F0-4D5C-9212-04B01DF85055}"/>
              </a:ext>
            </a:extLst>
          </p:cNvPr>
          <p:cNvSpPr>
            <a:spLocks/>
          </p:cNvSpPr>
          <p:nvPr>
            <p:custDataLst>
              <p:tags r:id="rId225"/>
            </p:custDataLst>
          </p:nvPr>
        </p:nvSpPr>
        <p:spPr bwMode="auto">
          <a:xfrm>
            <a:off x="14097470" y="8140884"/>
            <a:ext cx="53894" cy="117894"/>
          </a:xfrm>
          <a:custGeom>
            <a:avLst/>
            <a:gdLst>
              <a:gd name="T0" fmla="*/ 0 w 59"/>
              <a:gd name="T1" fmla="*/ 0 h 18"/>
              <a:gd name="T2" fmla="*/ 0 w 59"/>
              <a:gd name="T3" fmla="*/ 55563 h 18"/>
              <a:gd name="T4" fmla="*/ 16790 w 59"/>
              <a:gd name="T5" fmla="*/ 55563 h 18"/>
              <a:gd name="T6" fmla="*/ 25400 w 59"/>
              <a:gd name="T7" fmla="*/ 18521 h 18"/>
              <a:gd name="T8" fmla="*/ 21956 w 59"/>
              <a:gd name="T9" fmla="*/ 15434 h 18"/>
              <a:gd name="T10" fmla="*/ 19373 w 59"/>
              <a:gd name="T11" fmla="*/ 12347 h 18"/>
              <a:gd name="T12" fmla="*/ 15929 w 59"/>
              <a:gd name="T13" fmla="*/ 15434 h 18"/>
              <a:gd name="T14" fmla="*/ 12485 w 59"/>
              <a:gd name="T15" fmla="*/ 18521 h 18"/>
              <a:gd name="T16" fmla="*/ 9471 w 59"/>
              <a:gd name="T17" fmla="*/ 18521 h 18"/>
              <a:gd name="T18" fmla="*/ 6027 w 59"/>
              <a:gd name="T19" fmla="*/ 15434 h 18"/>
              <a:gd name="T20" fmla="*/ 3014 w 59"/>
              <a:gd name="T21" fmla="*/ 123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73" name="Freeform 323">
            <a:extLst>
              <a:ext uri="{FF2B5EF4-FFF2-40B4-BE49-F238E27FC236}">
                <a16:creationId xmlns:a16="http://schemas.microsoft.com/office/drawing/2014/main" id="{B7CA2297-1200-42FE-8670-A098C7443A5E}"/>
              </a:ext>
            </a:extLst>
          </p:cNvPr>
          <p:cNvSpPr>
            <a:spLocks/>
          </p:cNvSpPr>
          <p:nvPr>
            <p:custDataLst>
              <p:tags r:id="rId226"/>
            </p:custDataLst>
          </p:nvPr>
        </p:nvSpPr>
        <p:spPr bwMode="auto">
          <a:xfrm>
            <a:off x="14252415" y="8124043"/>
            <a:ext cx="3369" cy="117892"/>
          </a:xfrm>
          <a:custGeom>
            <a:avLst/>
            <a:gdLst>
              <a:gd name="T0" fmla="*/ 1588 w 4"/>
              <a:gd name="T1" fmla="*/ 55562 h 19"/>
              <a:gd name="T2" fmla="*/ 1588 w 4"/>
              <a:gd name="T3" fmla="*/ 0 h 19"/>
              <a:gd name="T4" fmla="*/ 794 w 4"/>
              <a:gd name="T5" fmla="*/ 2924 h 19"/>
              <a:gd name="T6" fmla="*/ 397 w 4"/>
              <a:gd name="T7" fmla="*/ 8773 h 19"/>
              <a:gd name="T8" fmla="*/ 0 w 4"/>
              <a:gd name="T9" fmla="*/ 17546 h 19"/>
              <a:gd name="T10" fmla="*/ 0 w 4"/>
              <a:gd name="T11" fmla="*/ 29243 h 19"/>
              <a:gd name="T12" fmla="*/ 0 w 4"/>
              <a:gd name="T13" fmla="*/ 40940 h 19"/>
              <a:gd name="T14" fmla="*/ 397 w 4"/>
              <a:gd name="T15" fmla="*/ 46789 h 19"/>
              <a:gd name="T16" fmla="*/ 794 w 4"/>
              <a:gd name="T17" fmla="*/ 55562 h 19"/>
              <a:gd name="T18" fmla="*/ 1588 w 4"/>
              <a:gd name="T19" fmla="*/ 55562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74" name="Freeform 324">
            <a:extLst>
              <a:ext uri="{FF2B5EF4-FFF2-40B4-BE49-F238E27FC236}">
                <a16:creationId xmlns:a16="http://schemas.microsoft.com/office/drawing/2014/main" id="{294BCB9D-9936-4C35-A713-C1BEF3D9C387}"/>
              </a:ext>
            </a:extLst>
          </p:cNvPr>
          <p:cNvSpPr>
            <a:spLocks/>
          </p:cNvSpPr>
          <p:nvPr>
            <p:custDataLst>
              <p:tags r:id="rId227"/>
            </p:custDataLst>
          </p:nvPr>
        </p:nvSpPr>
        <p:spPr bwMode="auto">
          <a:xfrm>
            <a:off x="13349691" y="7729942"/>
            <a:ext cx="43790" cy="124631"/>
          </a:xfrm>
          <a:custGeom>
            <a:avLst/>
            <a:gdLst>
              <a:gd name="T0" fmla="*/ 0 w 46"/>
              <a:gd name="T1" fmla="*/ 58738 h 50"/>
              <a:gd name="T2" fmla="*/ 3141 w 46"/>
              <a:gd name="T3" fmla="*/ 0 h 50"/>
              <a:gd name="T4" fmla="*/ 10319 w 46"/>
              <a:gd name="T5" fmla="*/ 9398 h 50"/>
              <a:gd name="T6" fmla="*/ 15254 w 46"/>
              <a:gd name="T7" fmla="*/ 16447 h 50"/>
              <a:gd name="T8" fmla="*/ 16600 w 46"/>
              <a:gd name="T9" fmla="*/ 21146 h 50"/>
              <a:gd name="T10" fmla="*/ 18395 w 46"/>
              <a:gd name="T11" fmla="*/ 25845 h 50"/>
              <a:gd name="T12" fmla="*/ 19741 w 46"/>
              <a:gd name="T13" fmla="*/ 35243 h 50"/>
              <a:gd name="T14" fmla="*/ 20638 w 46"/>
              <a:gd name="T15" fmla="*/ 44641 h 50"/>
              <a:gd name="T16" fmla="*/ 15254 w 46"/>
              <a:gd name="T17" fmla="*/ 49340 h 50"/>
              <a:gd name="T18" fmla="*/ 9422 w 46"/>
              <a:gd name="T19" fmla="*/ 54039 h 50"/>
              <a:gd name="T20" fmla="*/ 3589 w 46"/>
              <a:gd name="T21" fmla="*/ 57563 h 50"/>
              <a:gd name="T22" fmla="*/ 0 w 46"/>
              <a:gd name="T23" fmla="*/ 58738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75" name="Freeform 325">
            <a:extLst>
              <a:ext uri="{FF2B5EF4-FFF2-40B4-BE49-F238E27FC236}">
                <a16:creationId xmlns:a16="http://schemas.microsoft.com/office/drawing/2014/main" id="{D5378D8C-BD99-41AC-A8E5-7119A677F83A}"/>
              </a:ext>
            </a:extLst>
          </p:cNvPr>
          <p:cNvSpPr>
            <a:spLocks/>
          </p:cNvSpPr>
          <p:nvPr>
            <p:custDataLst>
              <p:tags r:id="rId228"/>
            </p:custDataLst>
          </p:nvPr>
        </p:nvSpPr>
        <p:spPr bwMode="auto">
          <a:xfrm>
            <a:off x="13235166" y="7672681"/>
            <a:ext cx="64000" cy="124629"/>
          </a:xfrm>
          <a:custGeom>
            <a:avLst/>
            <a:gdLst>
              <a:gd name="T0" fmla="*/ 0 w 66"/>
              <a:gd name="T1" fmla="*/ 0 h 80"/>
              <a:gd name="T2" fmla="*/ 4570 w 66"/>
              <a:gd name="T3" fmla="*/ 0 h 80"/>
              <a:gd name="T4" fmla="*/ 8226 w 66"/>
              <a:gd name="T5" fmla="*/ 0 h 80"/>
              <a:gd name="T6" fmla="*/ 11882 w 66"/>
              <a:gd name="T7" fmla="*/ 0 h 80"/>
              <a:gd name="T8" fmla="*/ 15082 w 66"/>
              <a:gd name="T9" fmla="*/ 0 h 80"/>
              <a:gd name="T10" fmla="*/ 15082 w 66"/>
              <a:gd name="T11" fmla="*/ 5139 h 80"/>
              <a:gd name="T12" fmla="*/ 15539 w 66"/>
              <a:gd name="T13" fmla="*/ 10279 h 80"/>
              <a:gd name="T14" fmla="*/ 16453 w 66"/>
              <a:gd name="T15" fmla="*/ 15418 h 80"/>
              <a:gd name="T16" fmla="*/ 17367 w 66"/>
              <a:gd name="T17" fmla="*/ 19824 h 80"/>
              <a:gd name="T18" fmla="*/ 20109 w 66"/>
              <a:gd name="T19" fmla="*/ 26432 h 80"/>
              <a:gd name="T20" fmla="*/ 22394 w 66"/>
              <a:gd name="T21" fmla="*/ 33040 h 80"/>
              <a:gd name="T22" fmla="*/ 25593 w 66"/>
              <a:gd name="T23" fmla="*/ 38179 h 80"/>
              <a:gd name="T24" fmla="*/ 27878 w 66"/>
              <a:gd name="T25" fmla="*/ 44053 h 80"/>
              <a:gd name="T26" fmla="*/ 28335 w 66"/>
              <a:gd name="T27" fmla="*/ 47724 h 80"/>
              <a:gd name="T28" fmla="*/ 29706 w 66"/>
              <a:gd name="T29" fmla="*/ 50661 h 80"/>
              <a:gd name="T30" fmla="*/ 30163 w 66"/>
              <a:gd name="T31" fmla="*/ 55066 h 80"/>
              <a:gd name="T32" fmla="*/ 30163 w 66"/>
              <a:gd name="T33" fmla="*/ 58737 h 80"/>
              <a:gd name="T34" fmla="*/ 0 w 66"/>
              <a:gd name="T35" fmla="*/ 13216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76" name="Freeform 326">
            <a:extLst>
              <a:ext uri="{FF2B5EF4-FFF2-40B4-BE49-F238E27FC236}">
                <a16:creationId xmlns:a16="http://schemas.microsoft.com/office/drawing/2014/main" id="{53D67544-C434-445C-A2E6-251B186122E8}"/>
              </a:ext>
            </a:extLst>
          </p:cNvPr>
          <p:cNvSpPr>
            <a:spLocks/>
          </p:cNvSpPr>
          <p:nvPr>
            <p:custDataLst>
              <p:tags r:id="rId229"/>
            </p:custDataLst>
          </p:nvPr>
        </p:nvSpPr>
        <p:spPr bwMode="auto">
          <a:xfrm>
            <a:off x="12884855" y="7638997"/>
            <a:ext cx="16843" cy="121262"/>
          </a:xfrm>
          <a:custGeom>
            <a:avLst/>
            <a:gdLst>
              <a:gd name="T0" fmla="*/ 7938 w 20"/>
              <a:gd name="T1" fmla="*/ 57150 h 48"/>
              <a:gd name="T2" fmla="*/ 7938 w 20"/>
              <a:gd name="T3" fmla="*/ 46434 h 48"/>
              <a:gd name="T4" fmla="*/ 7541 w 20"/>
              <a:gd name="T5" fmla="*/ 38100 h 48"/>
              <a:gd name="T6" fmla="*/ 6350 w 20"/>
              <a:gd name="T7" fmla="*/ 29766 h 48"/>
              <a:gd name="T8" fmla="*/ 5557 w 20"/>
              <a:gd name="T9" fmla="*/ 22622 h 48"/>
              <a:gd name="T10" fmla="*/ 4763 w 20"/>
              <a:gd name="T11" fmla="*/ 16669 h 48"/>
              <a:gd name="T12" fmla="*/ 3572 w 20"/>
              <a:gd name="T13" fmla="*/ 10716 h 48"/>
              <a:gd name="T14" fmla="*/ 1588 w 20"/>
              <a:gd name="T15" fmla="*/ 4763 h 48"/>
              <a:gd name="T16" fmla="*/ 0 w 20"/>
              <a:gd name="T17" fmla="*/ 0 h 48"/>
              <a:gd name="T18" fmla="*/ 0 w 20"/>
              <a:gd name="T19" fmla="*/ 9525 h 48"/>
              <a:gd name="T20" fmla="*/ 794 w 20"/>
              <a:gd name="T21" fmla="*/ 20241 h 48"/>
              <a:gd name="T22" fmla="*/ 1588 w 20"/>
              <a:gd name="T23" fmla="*/ 28575 h 48"/>
              <a:gd name="T24" fmla="*/ 3175 w 20"/>
              <a:gd name="T25" fmla="*/ 36909 h 48"/>
              <a:gd name="T26" fmla="*/ 5557 w 20"/>
              <a:gd name="T27" fmla="*/ 48816 h 48"/>
              <a:gd name="T28" fmla="*/ 7938 w 20"/>
              <a:gd name="T29" fmla="*/ 57150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77" name="Line 327" descr="Horizontal dunkel">
            <a:extLst>
              <a:ext uri="{FF2B5EF4-FFF2-40B4-BE49-F238E27FC236}">
                <a16:creationId xmlns:a16="http://schemas.microsoft.com/office/drawing/2014/main" id="{B75C61E6-1D69-4222-8FFF-16263291A71E}"/>
              </a:ext>
            </a:extLst>
          </p:cNvPr>
          <p:cNvSpPr>
            <a:spLocks noChangeShapeType="1"/>
          </p:cNvSpPr>
          <p:nvPr>
            <p:custDataLst>
              <p:tags r:id="rId230"/>
            </p:custDataLst>
          </p:nvPr>
        </p:nvSpPr>
        <p:spPr bwMode="auto">
          <a:xfrm>
            <a:off x="12938749" y="7716469"/>
            <a:ext cx="10106" cy="13474"/>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878" name="Freeform 328">
            <a:extLst>
              <a:ext uri="{FF2B5EF4-FFF2-40B4-BE49-F238E27FC236}">
                <a16:creationId xmlns:a16="http://schemas.microsoft.com/office/drawing/2014/main" id="{92D08F63-EAA7-47E0-8933-12C6D0262992}"/>
              </a:ext>
            </a:extLst>
          </p:cNvPr>
          <p:cNvSpPr>
            <a:spLocks/>
          </p:cNvSpPr>
          <p:nvPr>
            <p:custDataLst>
              <p:tags r:id="rId231"/>
            </p:custDataLst>
          </p:nvPr>
        </p:nvSpPr>
        <p:spPr bwMode="auto">
          <a:xfrm>
            <a:off x="12932012" y="7716469"/>
            <a:ext cx="16843" cy="121262"/>
          </a:xfrm>
          <a:custGeom>
            <a:avLst/>
            <a:gdLst>
              <a:gd name="T0" fmla="*/ 7938 w 20"/>
              <a:gd name="T1" fmla="*/ 57150 h 12"/>
              <a:gd name="T2" fmla="*/ 7938 w 20"/>
              <a:gd name="T3" fmla="*/ 38100 h 12"/>
              <a:gd name="T4" fmla="*/ 7144 w 20"/>
              <a:gd name="T5" fmla="*/ 23813 h 12"/>
              <a:gd name="T6" fmla="*/ 5954 w 20"/>
              <a:gd name="T7" fmla="*/ 14288 h 12"/>
              <a:gd name="T8" fmla="*/ 5160 w 20"/>
              <a:gd name="T9" fmla="*/ 9525 h 12"/>
              <a:gd name="T10" fmla="*/ 2778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20" y="8"/>
                </a:lnTo>
                <a:lnTo>
                  <a:pt x="18" y="5"/>
                </a:lnTo>
                <a:lnTo>
                  <a:pt x="15" y="3"/>
                </a:lnTo>
                <a:lnTo>
                  <a:pt x="13" y="2"/>
                </a:lnTo>
                <a:lnTo>
                  <a:pt x="7" y="0"/>
                </a:lnTo>
                <a:lnTo>
                  <a:pt x="0"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79" name="Freeform 329">
            <a:extLst>
              <a:ext uri="{FF2B5EF4-FFF2-40B4-BE49-F238E27FC236}">
                <a16:creationId xmlns:a16="http://schemas.microsoft.com/office/drawing/2014/main" id="{2E311D9D-E0CE-4A23-9D6F-87587F9657B2}"/>
              </a:ext>
            </a:extLst>
          </p:cNvPr>
          <p:cNvSpPr>
            <a:spLocks/>
          </p:cNvSpPr>
          <p:nvPr>
            <p:custDataLst>
              <p:tags r:id="rId232"/>
            </p:custDataLst>
          </p:nvPr>
        </p:nvSpPr>
        <p:spPr bwMode="auto">
          <a:xfrm>
            <a:off x="12723173" y="7386368"/>
            <a:ext cx="47157" cy="121262"/>
          </a:xfrm>
          <a:custGeom>
            <a:avLst/>
            <a:gdLst>
              <a:gd name="T0" fmla="*/ 2935 w 53"/>
              <a:gd name="T1" fmla="*/ 0 h 30"/>
              <a:gd name="T2" fmla="*/ 4613 w 53"/>
              <a:gd name="T3" fmla="*/ 7620 h 30"/>
              <a:gd name="T4" fmla="*/ 9645 w 53"/>
              <a:gd name="T5" fmla="*/ 24765 h 30"/>
              <a:gd name="T6" fmla="*/ 15516 w 53"/>
              <a:gd name="T7" fmla="*/ 43815 h 30"/>
              <a:gd name="T8" fmla="*/ 19290 w 53"/>
              <a:gd name="T9" fmla="*/ 57150 h 30"/>
              <a:gd name="T10" fmla="*/ 20548 w 53"/>
              <a:gd name="T11" fmla="*/ 34290 h 30"/>
              <a:gd name="T12" fmla="*/ 22225 w 53"/>
              <a:gd name="T13" fmla="*/ 11430 h 30"/>
              <a:gd name="T14" fmla="*/ 15516 w 53"/>
              <a:gd name="T15" fmla="*/ 9525 h 30"/>
              <a:gd name="T16" fmla="*/ 10903 w 53"/>
              <a:gd name="T17" fmla="*/ 5715 h 30"/>
              <a:gd name="T18" fmla="*/ 8806 w 53"/>
              <a:gd name="T19" fmla="*/ 5715 h 30"/>
              <a:gd name="T20" fmla="*/ 6290 w 53"/>
              <a:gd name="T21" fmla="*/ 5715 h 30"/>
              <a:gd name="T22" fmla="*/ 3774 w 53"/>
              <a:gd name="T23" fmla="*/ 7620 h 30"/>
              <a:gd name="T24" fmla="*/ 0 w 53"/>
              <a:gd name="T25" fmla="*/ 11430 h 30"/>
              <a:gd name="T26" fmla="*/ 2935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80" name="Freeform 330">
            <a:extLst>
              <a:ext uri="{FF2B5EF4-FFF2-40B4-BE49-F238E27FC236}">
                <a16:creationId xmlns:a16="http://schemas.microsoft.com/office/drawing/2014/main" id="{BCEBCB01-4A51-4D05-9F85-3C05833097A0}"/>
              </a:ext>
            </a:extLst>
          </p:cNvPr>
          <p:cNvSpPr>
            <a:spLocks/>
          </p:cNvSpPr>
          <p:nvPr>
            <p:custDataLst>
              <p:tags r:id="rId233"/>
            </p:custDataLst>
          </p:nvPr>
        </p:nvSpPr>
        <p:spPr bwMode="auto">
          <a:xfrm>
            <a:off x="13844843" y="8157727"/>
            <a:ext cx="23578" cy="121262"/>
          </a:xfrm>
          <a:custGeom>
            <a:avLst/>
            <a:gdLst>
              <a:gd name="T0" fmla="*/ 0 w 33"/>
              <a:gd name="T1" fmla="*/ 11061 h 31"/>
              <a:gd name="T2" fmla="*/ 1347 w 33"/>
              <a:gd name="T3" fmla="*/ 38715 h 31"/>
              <a:gd name="T4" fmla="*/ 2357 w 33"/>
              <a:gd name="T5" fmla="*/ 57150 h 31"/>
              <a:gd name="T6" fmla="*/ 7408 w 33"/>
              <a:gd name="T7" fmla="*/ 57150 h 31"/>
              <a:gd name="T8" fmla="*/ 11112 w 33"/>
              <a:gd name="T9" fmla="*/ 57150 h 31"/>
              <a:gd name="T10" fmla="*/ 11112 w 33"/>
              <a:gd name="T11" fmla="*/ 0 h 31"/>
              <a:gd name="T12" fmla="*/ 9092 w 33"/>
              <a:gd name="T13" fmla="*/ 0 h 31"/>
              <a:gd name="T14" fmla="*/ 6398 w 33"/>
              <a:gd name="T15" fmla="*/ 0 h 31"/>
              <a:gd name="T16" fmla="*/ 3367 w 33"/>
              <a:gd name="T17" fmla="*/ 0 h 31"/>
              <a:gd name="T18" fmla="*/ 0 w 33"/>
              <a:gd name="T19" fmla="*/ 0 h 31"/>
              <a:gd name="T20" fmla="*/ 0 w 33"/>
              <a:gd name="T21" fmla="*/ 1106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81" name="Freeform 331">
            <a:extLst>
              <a:ext uri="{FF2B5EF4-FFF2-40B4-BE49-F238E27FC236}">
                <a16:creationId xmlns:a16="http://schemas.microsoft.com/office/drawing/2014/main" id="{B87A0662-269C-4370-B04C-7DE32C47C7D2}"/>
              </a:ext>
            </a:extLst>
          </p:cNvPr>
          <p:cNvSpPr>
            <a:spLocks/>
          </p:cNvSpPr>
          <p:nvPr>
            <p:custDataLst>
              <p:tags r:id="rId234"/>
            </p:custDataLst>
          </p:nvPr>
        </p:nvSpPr>
        <p:spPr bwMode="auto">
          <a:xfrm>
            <a:off x="14939564" y="8066780"/>
            <a:ext cx="60631" cy="117894"/>
          </a:xfrm>
          <a:custGeom>
            <a:avLst/>
            <a:gdLst>
              <a:gd name="T0" fmla="*/ 8353 w 65"/>
              <a:gd name="T1" fmla="*/ 55563 h 68"/>
              <a:gd name="T2" fmla="*/ 7034 w 65"/>
              <a:gd name="T3" fmla="*/ 55563 h 68"/>
              <a:gd name="T4" fmla="*/ 6155 w 65"/>
              <a:gd name="T5" fmla="*/ 53929 h 68"/>
              <a:gd name="T6" fmla="*/ 4836 w 65"/>
              <a:gd name="T7" fmla="*/ 52295 h 68"/>
              <a:gd name="T8" fmla="*/ 3077 w 65"/>
              <a:gd name="T9" fmla="*/ 49843 h 68"/>
              <a:gd name="T10" fmla="*/ 1758 w 65"/>
              <a:gd name="T11" fmla="*/ 48209 h 68"/>
              <a:gd name="T12" fmla="*/ 879 w 65"/>
              <a:gd name="T13" fmla="*/ 44941 h 68"/>
              <a:gd name="T14" fmla="*/ 0 w 65"/>
              <a:gd name="T15" fmla="*/ 42489 h 68"/>
              <a:gd name="T16" fmla="*/ 0 w 65"/>
              <a:gd name="T17" fmla="*/ 40038 h 68"/>
              <a:gd name="T18" fmla="*/ 0 w 65"/>
              <a:gd name="T19" fmla="*/ 31050 h 68"/>
              <a:gd name="T20" fmla="*/ 879 w 65"/>
              <a:gd name="T21" fmla="*/ 23696 h 68"/>
              <a:gd name="T22" fmla="*/ 2198 w 65"/>
              <a:gd name="T23" fmla="*/ 17159 h 68"/>
              <a:gd name="T24" fmla="*/ 3957 w 65"/>
              <a:gd name="T25" fmla="*/ 11439 h 68"/>
              <a:gd name="T26" fmla="*/ 6594 w 65"/>
              <a:gd name="T27" fmla="*/ 6537 h 68"/>
              <a:gd name="T28" fmla="*/ 9672 w 65"/>
              <a:gd name="T29" fmla="*/ 3268 h 68"/>
              <a:gd name="T30" fmla="*/ 13188 w 65"/>
              <a:gd name="T31" fmla="*/ 1634 h 68"/>
              <a:gd name="T32" fmla="*/ 17145 w 65"/>
              <a:gd name="T33" fmla="*/ 0 h 68"/>
              <a:gd name="T34" fmla="*/ 22860 w 65"/>
              <a:gd name="T35" fmla="*/ 0 h 68"/>
              <a:gd name="T36" fmla="*/ 28575 w 65"/>
              <a:gd name="T37" fmla="*/ 0 h 68"/>
              <a:gd name="T38" fmla="*/ 28575 w 65"/>
              <a:gd name="T39" fmla="*/ 35135 h 68"/>
              <a:gd name="T40" fmla="*/ 24618 w 65"/>
              <a:gd name="T41" fmla="*/ 42489 h 68"/>
              <a:gd name="T42" fmla="*/ 19783 w 65"/>
              <a:gd name="T43" fmla="*/ 49843 h 68"/>
              <a:gd name="T44" fmla="*/ 17145 w 65"/>
              <a:gd name="T45" fmla="*/ 52295 h 68"/>
              <a:gd name="T46" fmla="*/ 14947 w 65"/>
              <a:gd name="T47" fmla="*/ 53929 h 68"/>
              <a:gd name="T48" fmla="*/ 11870 w 65"/>
              <a:gd name="T49" fmla="*/ 55563 h 68"/>
              <a:gd name="T50" fmla="*/ 8353 w 65"/>
              <a:gd name="T51" fmla="*/ 55563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82" name="Freeform 332">
            <a:extLst>
              <a:ext uri="{FF2B5EF4-FFF2-40B4-BE49-F238E27FC236}">
                <a16:creationId xmlns:a16="http://schemas.microsoft.com/office/drawing/2014/main" id="{AFA0F1AA-FDAD-4C9D-901A-44B73BED9826}"/>
              </a:ext>
            </a:extLst>
          </p:cNvPr>
          <p:cNvSpPr>
            <a:spLocks/>
          </p:cNvSpPr>
          <p:nvPr>
            <p:custDataLst>
              <p:tags r:id="rId235"/>
            </p:custDataLst>
          </p:nvPr>
        </p:nvSpPr>
        <p:spPr bwMode="auto">
          <a:xfrm>
            <a:off x="12686122" y="7180898"/>
            <a:ext cx="582728" cy="781463"/>
          </a:xfrm>
          <a:custGeom>
            <a:avLst/>
            <a:gdLst>
              <a:gd name="T0" fmla="*/ 220588 w 625"/>
              <a:gd name="T1" fmla="*/ 178843 h 694"/>
              <a:gd name="T2" fmla="*/ 212679 w 625"/>
              <a:gd name="T3" fmla="*/ 180966 h 694"/>
              <a:gd name="T4" fmla="*/ 210482 w 625"/>
              <a:gd name="T5" fmla="*/ 202724 h 694"/>
              <a:gd name="T6" fmla="*/ 226301 w 625"/>
              <a:gd name="T7" fmla="*/ 214399 h 694"/>
              <a:gd name="T8" fmla="*/ 234650 w 625"/>
              <a:gd name="T9" fmla="*/ 214930 h 694"/>
              <a:gd name="T10" fmla="*/ 241681 w 625"/>
              <a:gd name="T11" fmla="*/ 225013 h 694"/>
              <a:gd name="T12" fmla="*/ 246075 w 625"/>
              <a:gd name="T13" fmla="*/ 243587 h 694"/>
              <a:gd name="T14" fmla="*/ 251348 w 625"/>
              <a:gd name="T15" fmla="*/ 251548 h 694"/>
              <a:gd name="T16" fmla="*/ 258378 w 625"/>
              <a:gd name="T17" fmla="*/ 256324 h 694"/>
              <a:gd name="T18" fmla="*/ 269803 w 625"/>
              <a:gd name="T19" fmla="*/ 258447 h 694"/>
              <a:gd name="T20" fmla="*/ 274637 w 625"/>
              <a:gd name="T21" fmla="*/ 267999 h 694"/>
              <a:gd name="T22" fmla="*/ 274637 w 625"/>
              <a:gd name="T23" fmla="*/ 286043 h 694"/>
              <a:gd name="T24" fmla="*/ 271561 w 625"/>
              <a:gd name="T25" fmla="*/ 320007 h 694"/>
              <a:gd name="T26" fmla="*/ 268485 w 625"/>
              <a:gd name="T27" fmla="*/ 356625 h 694"/>
              <a:gd name="T28" fmla="*/ 246954 w 625"/>
              <a:gd name="T29" fmla="*/ 367769 h 694"/>
              <a:gd name="T30" fmla="*/ 236847 w 625"/>
              <a:gd name="T31" fmla="*/ 367769 h 694"/>
              <a:gd name="T32" fmla="*/ 173131 w 625"/>
              <a:gd name="T33" fmla="*/ 299310 h 694"/>
              <a:gd name="T34" fmla="*/ 174449 w 625"/>
              <a:gd name="T35" fmla="*/ 292942 h 694"/>
              <a:gd name="T36" fmla="*/ 173131 w 625"/>
              <a:gd name="T37" fmla="*/ 286043 h 694"/>
              <a:gd name="T38" fmla="*/ 148524 w 625"/>
              <a:gd name="T39" fmla="*/ 258978 h 694"/>
              <a:gd name="T40" fmla="*/ 134023 w 625"/>
              <a:gd name="T41" fmla="*/ 240403 h 694"/>
              <a:gd name="T42" fmla="*/ 128750 w 625"/>
              <a:gd name="T43" fmla="*/ 222360 h 694"/>
              <a:gd name="T44" fmla="*/ 127871 w 625"/>
              <a:gd name="T45" fmla="*/ 202194 h 694"/>
              <a:gd name="T46" fmla="*/ 125234 w 625"/>
              <a:gd name="T47" fmla="*/ 191049 h 694"/>
              <a:gd name="T48" fmla="*/ 117764 w 625"/>
              <a:gd name="T49" fmla="*/ 181497 h 694"/>
              <a:gd name="T50" fmla="*/ 105900 w 625"/>
              <a:gd name="T51" fmla="*/ 164514 h 694"/>
              <a:gd name="T52" fmla="*/ 98430 w 625"/>
              <a:gd name="T53" fmla="*/ 142756 h 694"/>
              <a:gd name="T54" fmla="*/ 93596 w 625"/>
              <a:gd name="T55" fmla="*/ 126305 h 694"/>
              <a:gd name="T56" fmla="*/ 83490 w 625"/>
              <a:gd name="T57" fmla="*/ 112507 h 694"/>
              <a:gd name="T58" fmla="*/ 65913 w 625"/>
              <a:gd name="T59" fmla="*/ 90748 h 694"/>
              <a:gd name="T60" fmla="*/ 59761 w 625"/>
              <a:gd name="T61" fmla="*/ 77481 h 694"/>
              <a:gd name="T62" fmla="*/ 49215 w 625"/>
              <a:gd name="T63" fmla="*/ 70051 h 694"/>
              <a:gd name="T64" fmla="*/ 35154 w 625"/>
              <a:gd name="T65" fmla="*/ 59968 h 694"/>
              <a:gd name="T66" fmla="*/ 21532 w 625"/>
              <a:gd name="T67" fmla="*/ 45109 h 694"/>
              <a:gd name="T68" fmla="*/ 10107 w 625"/>
              <a:gd name="T69" fmla="*/ 27065 h 694"/>
              <a:gd name="T70" fmla="*/ 2197 w 625"/>
              <a:gd name="T71" fmla="*/ 10083 h 694"/>
              <a:gd name="T72" fmla="*/ 4394 w 625"/>
              <a:gd name="T73" fmla="*/ 2123 h 694"/>
              <a:gd name="T74" fmla="*/ 16259 w 625"/>
              <a:gd name="T75" fmla="*/ 6899 h 694"/>
              <a:gd name="T76" fmla="*/ 36911 w 625"/>
              <a:gd name="T77" fmla="*/ 8491 h 694"/>
              <a:gd name="T78" fmla="*/ 50973 w 625"/>
              <a:gd name="T79" fmla="*/ 10614 h 694"/>
              <a:gd name="T80" fmla="*/ 60640 w 625"/>
              <a:gd name="T81" fmla="*/ 14329 h 694"/>
              <a:gd name="T82" fmla="*/ 68549 w 625"/>
              <a:gd name="T83" fmla="*/ 22289 h 694"/>
              <a:gd name="T84" fmla="*/ 89642 w 625"/>
              <a:gd name="T85" fmla="*/ 57845 h 694"/>
              <a:gd name="T86" fmla="*/ 111612 w 625"/>
              <a:gd name="T87" fmla="*/ 86503 h 694"/>
              <a:gd name="T88" fmla="*/ 131386 w 625"/>
              <a:gd name="T89" fmla="*/ 107200 h 694"/>
              <a:gd name="T90" fmla="*/ 144569 w 625"/>
              <a:gd name="T91" fmla="*/ 116221 h 694"/>
              <a:gd name="T92" fmla="*/ 160827 w 625"/>
              <a:gd name="T93" fmla="*/ 120467 h 694"/>
              <a:gd name="T94" fmla="*/ 170495 w 625"/>
              <a:gd name="T95" fmla="*/ 122059 h 694"/>
              <a:gd name="T96" fmla="*/ 176207 w 625"/>
              <a:gd name="T97" fmla="*/ 127897 h 694"/>
              <a:gd name="T98" fmla="*/ 182798 w 625"/>
              <a:gd name="T99" fmla="*/ 137980 h 694"/>
              <a:gd name="T100" fmla="*/ 187632 w 625"/>
              <a:gd name="T101" fmla="*/ 140633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83" name="Freeform 333">
            <a:extLst>
              <a:ext uri="{FF2B5EF4-FFF2-40B4-BE49-F238E27FC236}">
                <a16:creationId xmlns:a16="http://schemas.microsoft.com/office/drawing/2014/main" id="{D3E7371F-4E6F-49C4-A2C5-B13AFEDDEFBF}"/>
              </a:ext>
            </a:extLst>
          </p:cNvPr>
          <p:cNvSpPr>
            <a:spLocks/>
          </p:cNvSpPr>
          <p:nvPr>
            <p:custDataLst>
              <p:tags r:id="rId236"/>
            </p:custDataLst>
          </p:nvPr>
        </p:nvSpPr>
        <p:spPr bwMode="auto">
          <a:xfrm>
            <a:off x="13410321" y="7285317"/>
            <a:ext cx="538940" cy="545677"/>
          </a:xfrm>
          <a:custGeom>
            <a:avLst/>
            <a:gdLst>
              <a:gd name="T0" fmla="*/ 224041 w 585"/>
              <a:gd name="T1" fmla="*/ 14606 h 493"/>
              <a:gd name="T2" fmla="*/ 214923 w 585"/>
              <a:gd name="T3" fmla="*/ 28691 h 493"/>
              <a:gd name="T4" fmla="*/ 222304 w 585"/>
              <a:gd name="T5" fmla="*/ 48514 h 493"/>
              <a:gd name="T6" fmla="*/ 231856 w 585"/>
              <a:gd name="T7" fmla="*/ 67815 h 493"/>
              <a:gd name="T8" fmla="*/ 248790 w 585"/>
              <a:gd name="T9" fmla="*/ 92333 h 493"/>
              <a:gd name="T10" fmla="*/ 251829 w 585"/>
              <a:gd name="T11" fmla="*/ 106939 h 493"/>
              <a:gd name="T12" fmla="*/ 237501 w 585"/>
              <a:gd name="T13" fmla="*/ 106417 h 493"/>
              <a:gd name="T14" fmla="*/ 224041 w 585"/>
              <a:gd name="T15" fmla="*/ 121545 h 493"/>
              <a:gd name="T16" fmla="*/ 219699 w 585"/>
              <a:gd name="T17" fmla="*/ 128327 h 493"/>
              <a:gd name="T18" fmla="*/ 224909 w 585"/>
              <a:gd name="T19" fmla="*/ 141368 h 493"/>
              <a:gd name="T20" fmla="*/ 227949 w 585"/>
              <a:gd name="T21" fmla="*/ 153366 h 493"/>
              <a:gd name="T22" fmla="*/ 219265 w 585"/>
              <a:gd name="T23" fmla="*/ 160669 h 493"/>
              <a:gd name="T24" fmla="*/ 199292 w 585"/>
              <a:gd name="T25" fmla="*/ 168494 h 493"/>
              <a:gd name="T26" fmla="*/ 192345 w 585"/>
              <a:gd name="T27" fmla="*/ 184665 h 493"/>
              <a:gd name="T28" fmla="*/ 193214 w 585"/>
              <a:gd name="T29" fmla="*/ 216486 h 493"/>
              <a:gd name="T30" fmla="*/ 186701 w 585"/>
              <a:gd name="T31" fmla="*/ 236831 h 493"/>
              <a:gd name="T32" fmla="*/ 173675 w 585"/>
              <a:gd name="T33" fmla="*/ 246220 h 493"/>
              <a:gd name="T34" fmla="*/ 160650 w 585"/>
              <a:gd name="T35" fmla="*/ 254567 h 493"/>
              <a:gd name="T36" fmla="*/ 148058 w 585"/>
              <a:gd name="T37" fmla="*/ 257175 h 493"/>
              <a:gd name="T38" fmla="*/ 142848 w 585"/>
              <a:gd name="T39" fmla="*/ 254045 h 493"/>
              <a:gd name="T40" fmla="*/ 141979 w 585"/>
              <a:gd name="T41" fmla="*/ 245699 h 493"/>
              <a:gd name="T42" fmla="*/ 131993 w 585"/>
              <a:gd name="T43" fmla="*/ 235266 h 493"/>
              <a:gd name="T44" fmla="*/ 108981 w 585"/>
              <a:gd name="T45" fmla="*/ 236831 h 493"/>
              <a:gd name="T46" fmla="*/ 95087 w 585"/>
              <a:gd name="T47" fmla="*/ 241004 h 493"/>
              <a:gd name="T48" fmla="*/ 76417 w 585"/>
              <a:gd name="T49" fmla="*/ 229527 h 493"/>
              <a:gd name="T50" fmla="*/ 52971 w 585"/>
              <a:gd name="T51" fmla="*/ 227441 h 493"/>
              <a:gd name="T52" fmla="*/ 41248 w 585"/>
              <a:gd name="T53" fmla="*/ 223789 h 493"/>
              <a:gd name="T54" fmla="*/ 35169 w 585"/>
              <a:gd name="T55" fmla="*/ 190925 h 493"/>
              <a:gd name="T56" fmla="*/ 25183 w 585"/>
              <a:gd name="T57" fmla="*/ 161712 h 493"/>
              <a:gd name="T58" fmla="*/ 15197 w 585"/>
              <a:gd name="T59" fmla="*/ 152323 h 493"/>
              <a:gd name="T60" fmla="*/ 5210 w 585"/>
              <a:gd name="T61" fmla="*/ 135630 h 493"/>
              <a:gd name="T62" fmla="*/ 2171 w 585"/>
              <a:gd name="T63" fmla="*/ 106417 h 493"/>
              <a:gd name="T64" fmla="*/ 13460 w 585"/>
              <a:gd name="T65" fmla="*/ 79813 h 493"/>
              <a:gd name="T66" fmla="*/ 23446 w 585"/>
              <a:gd name="T67" fmla="*/ 73553 h 493"/>
              <a:gd name="T68" fmla="*/ 32564 w 585"/>
              <a:gd name="T69" fmla="*/ 79291 h 493"/>
              <a:gd name="T70" fmla="*/ 42116 w 585"/>
              <a:gd name="T71" fmla="*/ 97549 h 493"/>
              <a:gd name="T72" fmla="*/ 56010 w 585"/>
              <a:gd name="T73" fmla="*/ 111634 h 493"/>
              <a:gd name="T74" fmla="*/ 73812 w 585"/>
              <a:gd name="T75" fmla="*/ 111112 h 493"/>
              <a:gd name="T76" fmla="*/ 95956 w 585"/>
              <a:gd name="T77" fmla="*/ 98592 h 493"/>
              <a:gd name="T78" fmla="*/ 101166 w 585"/>
              <a:gd name="T79" fmla="*/ 89724 h 493"/>
              <a:gd name="T80" fmla="*/ 125046 w 585"/>
              <a:gd name="T81" fmla="*/ 92854 h 493"/>
              <a:gd name="T82" fmla="*/ 141545 w 585"/>
              <a:gd name="T83" fmla="*/ 94419 h 493"/>
              <a:gd name="T84" fmla="*/ 146321 w 585"/>
              <a:gd name="T85" fmla="*/ 88681 h 493"/>
              <a:gd name="T86" fmla="*/ 157176 w 585"/>
              <a:gd name="T87" fmla="*/ 82421 h 493"/>
              <a:gd name="T88" fmla="*/ 166294 w 585"/>
              <a:gd name="T89" fmla="*/ 70945 h 493"/>
              <a:gd name="T90" fmla="*/ 180188 w 585"/>
              <a:gd name="T91" fmla="*/ 41211 h 493"/>
              <a:gd name="T92" fmla="*/ 185398 w 585"/>
              <a:gd name="T93" fmla="*/ 13041 h 493"/>
              <a:gd name="T94" fmla="*/ 194082 w 585"/>
              <a:gd name="T95" fmla="*/ 3130 h 493"/>
              <a:gd name="T96" fmla="*/ 207976 w 585"/>
              <a:gd name="T97" fmla="*/ 1043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84" name="Freeform 334">
            <a:extLst>
              <a:ext uri="{FF2B5EF4-FFF2-40B4-BE49-F238E27FC236}">
                <a16:creationId xmlns:a16="http://schemas.microsoft.com/office/drawing/2014/main" id="{1289F504-B194-4BB7-9AA3-18C61ECD87E2}"/>
              </a:ext>
            </a:extLst>
          </p:cNvPr>
          <p:cNvSpPr>
            <a:spLocks/>
          </p:cNvSpPr>
          <p:nvPr>
            <p:custDataLst>
              <p:tags r:id="rId237"/>
            </p:custDataLst>
          </p:nvPr>
        </p:nvSpPr>
        <p:spPr bwMode="auto">
          <a:xfrm>
            <a:off x="14164837" y="8147621"/>
            <a:ext cx="195366" cy="121262"/>
          </a:xfrm>
          <a:custGeom>
            <a:avLst/>
            <a:gdLst>
              <a:gd name="T0" fmla="*/ 0 w 212"/>
              <a:gd name="T1" fmla="*/ 57150 h 105"/>
              <a:gd name="T2" fmla="*/ 6949 w 212"/>
              <a:gd name="T3" fmla="*/ 46264 h 105"/>
              <a:gd name="T4" fmla="*/ 15201 w 212"/>
              <a:gd name="T5" fmla="*/ 37011 h 105"/>
              <a:gd name="T6" fmla="*/ 19110 w 212"/>
              <a:gd name="T7" fmla="*/ 32657 h 105"/>
              <a:gd name="T8" fmla="*/ 23453 w 212"/>
              <a:gd name="T9" fmla="*/ 28847 h 105"/>
              <a:gd name="T10" fmla="*/ 27796 w 212"/>
              <a:gd name="T11" fmla="*/ 25037 h 105"/>
              <a:gd name="T12" fmla="*/ 31705 w 212"/>
              <a:gd name="T13" fmla="*/ 20683 h 105"/>
              <a:gd name="T14" fmla="*/ 36048 w 212"/>
              <a:gd name="T15" fmla="*/ 17417 h 105"/>
              <a:gd name="T16" fmla="*/ 40826 w 212"/>
              <a:gd name="T17" fmla="*/ 14696 h 105"/>
              <a:gd name="T18" fmla="*/ 46038 w 212"/>
              <a:gd name="T19" fmla="*/ 11430 h 105"/>
              <a:gd name="T20" fmla="*/ 51249 w 212"/>
              <a:gd name="T21" fmla="*/ 8709 h 105"/>
              <a:gd name="T22" fmla="*/ 62542 w 212"/>
              <a:gd name="T23" fmla="*/ 4354 h 105"/>
              <a:gd name="T24" fmla="*/ 74702 w 212"/>
              <a:gd name="T25" fmla="*/ 0 h 105"/>
              <a:gd name="T26" fmla="*/ 92075 w 212"/>
              <a:gd name="T27" fmla="*/ 0 h 105"/>
              <a:gd name="T28" fmla="*/ 87732 w 212"/>
              <a:gd name="T29" fmla="*/ 4899 h 105"/>
              <a:gd name="T30" fmla="*/ 82520 w 212"/>
              <a:gd name="T31" fmla="*/ 9797 h 105"/>
              <a:gd name="T32" fmla="*/ 77308 w 212"/>
              <a:gd name="T33" fmla="*/ 14696 h 105"/>
              <a:gd name="T34" fmla="*/ 71662 w 212"/>
              <a:gd name="T35" fmla="*/ 19050 h 105"/>
              <a:gd name="T36" fmla="*/ 59501 w 212"/>
              <a:gd name="T37" fmla="*/ 28303 h 105"/>
              <a:gd name="T38" fmla="*/ 47340 w 212"/>
              <a:gd name="T39" fmla="*/ 35923 h 105"/>
              <a:gd name="T40" fmla="*/ 34311 w 212"/>
              <a:gd name="T41" fmla="*/ 42999 h 105"/>
              <a:gd name="T42" fmla="*/ 21716 w 212"/>
              <a:gd name="T43" fmla="*/ 48986 h 105"/>
              <a:gd name="T44" fmla="*/ 9989 w 212"/>
              <a:gd name="T45" fmla="*/ 53884 h 105"/>
              <a:gd name="T46" fmla="*/ 0 w 212"/>
              <a:gd name="T47" fmla="*/ 5715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85" name="Freeform 335">
            <a:extLst>
              <a:ext uri="{FF2B5EF4-FFF2-40B4-BE49-F238E27FC236}">
                <a16:creationId xmlns:a16="http://schemas.microsoft.com/office/drawing/2014/main" id="{7AB5BD00-652A-4053-876D-6FC0B6EE1669}"/>
              </a:ext>
            </a:extLst>
          </p:cNvPr>
          <p:cNvSpPr>
            <a:spLocks/>
          </p:cNvSpPr>
          <p:nvPr>
            <p:custDataLst>
              <p:tags r:id="rId238"/>
            </p:custDataLst>
          </p:nvPr>
        </p:nvSpPr>
        <p:spPr bwMode="auto">
          <a:xfrm>
            <a:off x="14410730" y="7440262"/>
            <a:ext cx="90945" cy="188629"/>
          </a:xfrm>
          <a:custGeom>
            <a:avLst/>
            <a:gdLst>
              <a:gd name="T0" fmla="*/ 0 w 92"/>
              <a:gd name="T1" fmla="*/ 43379 h 166"/>
              <a:gd name="T2" fmla="*/ 0 w 92"/>
              <a:gd name="T3" fmla="*/ 79260 h 166"/>
              <a:gd name="T4" fmla="*/ 2329 w 92"/>
              <a:gd name="T5" fmla="*/ 77118 h 166"/>
              <a:gd name="T6" fmla="*/ 5591 w 92"/>
              <a:gd name="T7" fmla="*/ 74440 h 166"/>
              <a:gd name="T8" fmla="*/ 6522 w 92"/>
              <a:gd name="T9" fmla="*/ 73369 h 166"/>
              <a:gd name="T10" fmla="*/ 7920 w 92"/>
              <a:gd name="T11" fmla="*/ 72298 h 166"/>
              <a:gd name="T12" fmla="*/ 8386 w 92"/>
              <a:gd name="T13" fmla="*/ 70692 h 166"/>
              <a:gd name="T14" fmla="*/ 8852 w 92"/>
              <a:gd name="T15" fmla="*/ 69620 h 166"/>
              <a:gd name="T16" fmla="*/ 9318 w 92"/>
              <a:gd name="T17" fmla="*/ 73905 h 166"/>
              <a:gd name="T18" fmla="*/ 11181 w 92"/>
              <a:gd name="T19" fmla="*/ 79260 h 166"/>
              <a:gd name="T20" fmla="*/ 12579 w 92"/>
              <a:gd name="T21" fmla="*/ 82473 h 166"/>
              <a:gd name="T22" fmla="*/ 13977 w 92"/>
              <a:gd name="T23" fmla="*/ 85151 h 166"/>
              <a:gd name="T24" fmla="*/ 16306 w 92"/>
              <a:gd name="T25" fmla="*/ 87293 h 166"/>
              <a:gd name="T26" fmla="*/ 18170 w 92"/>
              <a:gd name="T27" fmla="*/ 88900 h 166"/>
              <a:gd name="T28" fmla="*/ 19102 w 92"/>
              <a:gd name="T29" fmla="*/ 84616 h 166"/>
              <a:gd name="T30" fmla="*/ 19102 w 92"/>
              <a:gd name="T31" fmla="*/ 79260 h 166"/>
              <a:gd name="T32" fmla="*/ 19102 w 92"/>
              <a:gd name="T33" fmla="*/ 73369 h 166"/>
              <a:gd name="T34" fmla="*/ 19102 w 92"/>
              <a:gd name="T35" fmla="*/ 67478 h 166"/>
              <a:gd name="T36" fmla="*/ 18636 w 92"/>
              <a:gd name="T37" fmla="*/ 57303 h 166"/>
              <a:gd name="T38" fmla="*/ 18170 w 92"/>
              <a:gd name="T39" fmla="*/ 53019 h 166"/>
              <a:gd name="T40" fmla="*/ 22363 w 92"/>
              <a:gd name="T41" fmla="*/ 53554 h 166"/>
              <a:gd name="T42" fmla="*/ 26556 w 92"/>
              <a:gd name="T43" fmla="*/ 54625 h 166"/>
              <a:gd name="T44" fmla="*/ 29817 w 92"/>
              <a:gd name="T45" fmla="*/ 56232 h 166"/>
              <a:gd name="T46" fmla="*/ 33078 w 92"/>
              <a:gd name="T47" fmla="*/ 57839 h 166"/>
              <a:gd name="T48" fmla="*/ 35408 w 92"/>
              <a:gd name="T49" fmla="*/ 59445 h 166"/>
              <a:gd name="T50" fmla="*/ 38203 w 92"/>
              <a:gd name="T51" fmla="*/ 61052 h 166"/>
              <a:gd name="T52" fmla="*/ 40533 w 92"/>
              <a:gd name="T53" fmla="*/ 62123 h 166"/>
              <a:gd name="T54" fmla="*/ 42862 w 92"/>
              <a:gd name="T55" fmla="*/ 63194 h 166"/>
              <a:gd name="T56" fmla="*/ 39601 w 92"/>
              <a:gd name="T57" fmla="*/ 55161 h 166"/>
              <a:gd name="T58" fmla="*/ 37737 w 92"/>
              <a:gd name="T59" fmla="*/ 47663 h 166"/>
              <a:gd name="T60" fmla="*/ 35408 w 92"/>
              <a:gd name="T61" fmla="*/ 40166 h 166"/>
              <a:gd name="T62" fmla="*/ 34010 w 92"/>
              <a:gd name="T63" fmla="*/ 32133 h 166"/>
              <a:gd name="T64" fmla="*/ 32612 w 92"/>
              <a:gd name="T65" fmla="*/ 25170 h 166"/>
              <a:gd name="T66" fmla="*/ 31215 w 92"/>
              <a:gd name="T67" fmla="*/ 18208 h 166"/>
              <a:gd name="T68" fmla="*/ 29351 w 92"/>
              <a:gd name="T69" fmla="*/ 12317 h 166"/>
              <a:gd name="T70" fmla="*/ 27488 w 92"/>
              <a:gd name="T71" fmla="*/ 6962 h 166"/>
              <a:gd name="T72" fmla="*/ 27488 w 92"/>
              <a:gd name="T73" fmla="*/ 10175 h 166"/>
              <a:gd name="T74" fmla="*/ 27488 w 92"/>
              <a:gd name="T75" fmla="*/ 13389 h 166"/>
              <a:gd name="T76" fmla="*/ 23295 w 92"/>
              <a:gd name="T77" fmla="*/ 12317 h 166"/>
              <a:gd name="T78" fmla="*/ 19567 w 92"/>
              <a:gd name="T79" fmla="*/ 10175 h 166"/>
              <a:gd name="T80" fmla="*/ 16306 w 92"/>
              <a:gd name="T81" fmla="*/ 8033 h 166"/>
              <a:gd name="T82" fmla="*/ 13511 w 92"/>
              <a:gd name="T83" fmla="*/ 5891 h 166"/>
              <a:gd name="T84" fmla="*/ 10716 w 92"/>
              <a:gd name="T85" fmla="*/ 3749 h 166"/>
              <a:gd name="T86" fmla="*/ 7454 w 92"/>
              <a:gd name="T87" fmla="*/ 1607 h 166"/>
              <a:gd name="T88" fmla="*/ 3727 w 92"/>
              <a:gd name="T89" fmla="*/ 536 h 166"/>
              <a:gd name="T90" fmla="*/ 0 w 92"/>
              <a:gd name="T91" fmla="*/ 0 h 166"/>
              <a:gd name="T92" fmla="*/ 0 w 92"/>
              <a:gd name="T93" fmla="*/ 5355 h 166"/>
              <a:gd name="T94" fmla="*/ 0 w 92"/>
              <a:gd name="T95" fmla="*/ 10175 h 166"/>
              <a:gd name="T96" fmla="*/ 0 w 92"/>
              <a:gd name="T97" fmla="*/ 17673 h 166"/>
              <a:gd name="T98" fmla="*/ 0 w 92"/>
              <a:gd name="T99" fmla="*/ 27848 h 166"/>
              <a:gd name="T100" fmla="*/ 0 w 92"/>
              <a:gd name="T101" fmla="*/ 37488 h 166"/>
              <a:gd name="T102" fmla="*/ 0 w 92"/>
              <a:gd name="T103" fmla="*/ 43379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86" name="Freeform 336">
            <a:extLst>
              <a:ext uri="{FF2B5EF4-FFF2-40B4-BE49-F238E27FC236}">
                <a16:creationId xmlns:a16="http://schemas.microsoft.com/office/drawing/2014/main" id="{52D1CDB0-5F16-4A22-9A45-F5B927EF0C69}"/>
              </a:ext>
            </a:extLst>
          </p:cNvPr>
          <p:cNvSpPr>
            <a:spLocks/>
          </p:cNvSpPr>
          <p:nvPr>
            <p:custDataLst>
              <p:tags r:id="rId239"/>
            </p:custDataLst>
          </p:nvPr>
        </p:nvSpPr>
        <p:spPr bwMode="auto">
          <a:xfrm>
            <a:off x="14437677" y="7746785"/>
            <a:ext cx="151576" cy="117892"/>
          </a:xfrm>
          <a:custGeom>
            <a:avLst/>
            <a:gdLst>
              <a:gd name="T0" fmla="*/ 3012 w 166"/>
              <a:gd name="T1" fmla="*/ 0 h 62"/>
              <a:gd name="T2" fmla="*/ 6025 w 166"/>
              <a:gd name="T3" fmla="*/ 2688 h 62"/>
              <a:gd name="T4" fmla="*/ 9468 w 166"/>
              <a:gd name="T5" fmla="*/ 5377 h 62"/>
              <a:gd name="T6" fmla="*/ 12910 w 166"/>
              <a:gd name="T7" fmla="*/ 6273 h 62"/>
              <a:gd name="T8" fmla="*/ 15492 w 166"/>
              <a:gd name="T9" fmla="*/ 7169 h 62"/>
              <a:gd name="T10" fmla="*/ 20656 w 166"/>
              <a:gd name="T11" fmla="*/ 7169 h 62"/>
              <a:gd name="T12" fmla="*/ 24960 w 166"/>
              <a:gd name="T13" fmla="*/ 6273 h 62"/>
              <a:gd name="T14" fmla="*/ 29694 w 166"/>
              <a:gd name="T15" fmla="*/ 4481 h 62"/>
              <a:gd name="T16" fmla="*/ 34427 w 166"/>
              <a:gd name="T17" fmla="*/ 2688 h 62"/>
              <a:gd name="T18" fmla="*/ 39592 w 166"/>
              <a:gd name="T19" fmla="*/ 896 h 62"/>
              <a:gd name="T20" fmla="*/ 45616 w 166"/>
              <a:gd name="T21" fmla="*/ 0 h 62"/>
              <a:gd name="T22" fmla="*/ 47768 w 166"/>
              <a:gd name="T23" fmla="*/ 896 h 62"/>
              <a:gd name="T24" fmla="*/ 49489 w 166"/>
              <a:gd name="T25" fmla="*/ 1792 h 62"/>
              <a:gd name="T26" fmla="*/ 51641 w 166"/>
              <a:gd name="T27" fmla="*/ 4481 h 62"/>
              <a:gd name="T28" fmla="*/ 53363 w 166"/>
              <a:gd name="T29" fmla="*/ 7169 h 62"/>
              <a:gd name="T30" fmla="*/ 56805 w 166"/>
              <a:gd name="T31" fmla="*/ 15235 h 62"/>
              <a:gd name="T32" fmla="*/ 59387 w 166"/>
              <a:gd name="T33" fmla="*/ 23300 h 62"/>
              <a:gd name="T34" fmla="*/ 62400 w 166"/>
              <a:gd name="T35" fmla="*/ 32262 h 62"/>
              <a:gd name="T36" fmla="*/ 64982 w 166"/>
              <a:gd name="T37" fmla="*/ 40327 h 62"/>
              <a:gd name="T38" fmla="*/ 66703 w 166"/>
              <a:gd name="T39" fmla="*/ 43912 h 62"/>
              <a:gd name="T40" fmla="*/ 67994 w 166"/>
              <a:gd name="T41" fmla="*/ 46600 h 62"/>
              <a:gd name="T42" fmla="*/ 69716 w 166"/>
              <a:gd name="T43" fmla="*/ 48393 h 62"/>
              <a:gd name="T44" fmla="*/ 71437 w 166"/>
              <a:gd name="T45" fmla="*/ 50185 h 62"/>
              <a:gd name="T46" fmla="*/ 68425 w 166"/>
              <a:gd name="T47" fmla="*/ 51081 h 62"/>
              <a:gd name="T48" fmla="*/ 64982 w 166"/>
              <a:gd name="T49" fmla="*/ 52874 h 62"/>
              <a:gd name="T50" fmla="*/ 61539 w 166"/>
              <a:gd name="T51" fmla="*/ 54666 h 62"/>
              <a:gd name="T52" fmla="*/ 57236 w 166"/>
              <a:gd name="T53" fmla="*/ 55562 h 62"/>
              <a:gd name="T54" fmla="*/ 53793 w 166"/>
              <a:gd name="T55" fmla="*/ 54666 h 62"/>
              <a:gd name="T56" fmla="*/ 51211 w 166"/>
              <a:gd name="T57" fmla="*/ 51977 h 62"/>
              <a:gd name="T58" fmla="*/ 48198 w 166"/>
              <a:gd name="T59" fmla="*/ 48393 h 62"/>
              <a:gd name="T60" fmla="*/ 45616 w 166"/>
              <a:gd name="T61" fmla="*/ 44808 h 62"/>
              <a:gd name="T62" fmla="*/ 43034 w 166"/>
              <a:gd name="T63" fmla="*/ 40327 h 62"/>
              <a:gd name="T64" fmla="*/ 40022 w 166"/>
              <a:gd name="T65" fmla="*/ 36743 h 62"/>
              <a:gd name="T66" fmla="*/ 37440 w 166"/>
              <a:gd name="T67" fmla="*/ 34950 h 62"/>
              <a:gd name="T68" fmla="*/ 33997 w 166"/>
              <a:gd name="T69" fmla="*/ 34054 h 62"/>
              <a:gd name="T70" fmla="*/ 24099 w 166"/>
              <a:gd name="T71" fmla="*/ 34054 h 62"/>
              <a:gd name="T72" fmla="*/ 15062 w 166"/>
              <a:gd name="T73" fmla="*/ 34950 h 62"/>
              <a:gd name="T74" fmla="*/ 11189 w 166"/>
              <a:gd name="T75" fmla="*/ 36743 h 62"/>
              <a:gd name="T76" fmla="*/ 8177 w 166"/>
              <a:gd name="T77" fmla="*/ 38535 h 62"/>
              <a:gd name="T78" fmla="*/ 5164 w 166"/>
              <a:gd name="T79" fmla="*/ 41223 h 62"/>
              <a:gd name="T80" fmla="*/ 3012 w 166"/>
              <a:gd name="T81" fmla="*/ 44808 h 62"/>
              <a:gd name="T82" fmla="*/ 861 w 166"/>
              <a:gd name="T83" fmla="*/ 40327 h 62"/>
              <a:gd name="T84" fmla="*/ 430 w 166"/>
              <a:gd name="T85" fmla="*/ 35846 h 62"/>
              <a:gd name="T86" fmla="*/ 0 w 166"/>
              <a:gd name="T87" fmla="*/ 30469 h 62"/>
              <a:gd name="T88" fmla="*/ 430 w 166"/>
              <a:gd name="T89" fmla="*/ 25093 h 62"/>
              <a:gd name="T90" fmla="*/ 1721 w 166"/>
              <a:gd name="T91" fmla="*/ 13442 h 62"/>
              <a:gd name="T92" fmla="*/ 3012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87" name="Freeform 337">
            <a:extLst>
              <a:ext uri="{FF2B5EF4-FFF2-40B4-BE49-F238E27FC236}">
                <a16:creationId xmlns:a16="http://schemas.microsoft.com/office/drawing/2014/main" id="{2A975D62-9141-4D09-BB3B-92D1A10C6A99}"/>
              </a:ext>
            </a:extLst>
          </p:cNvPr>
          <p:cNvSpPr>
            <a:spLocks/>
          </p:cNvSpPr>
          <p:nvPr>
            <p:custDataLst>
              <p:tags r:id="rId240"/>
            </p:custDataLst>
          </p:nvPr>
        </p:nvSpPr>
        <p:spPr bwMode="auto">
          <a:xfrm>
            <a:off x="14599359" y="7585103"/>
            <a:ext cx="181892" cy="134735"/>
          </a:xfrm>
          <a:custGeom>
            <a:avLst/>
            <a:gdLst>
              <a:gd name="T0" fmla="*/ 14658 w 193"/>
              <a:gd name="T1" fmla="*/ 18368 h 121"/>
              <a:gd name="T2" fmla="*/ 21320 w 193"/>
              <a:gd name="T3" fmla="*/ 13120 h 121"/>
              <a:gd name="T4" fmla="*/ 30204 w 193"/>
              <a:gd name="T5" fmla="*/ 6298 h 121"/>
              <a:gd name="T6" fmla="*/ 37310 w 193"/>
              <a:gd name="T7" fmla="*/ 2099 h 121"/>
              <a:gd name="T8" fmla="*/ 41752 w 193"/>
              <a:gd name="T9" fmla="*/ 525 h 121"/>
              <a:gd name="T10" fmla="*/ 46638 w 193"/>
              <a:gd name="T11" fmla="*/ 525 h 121"/>
              <a:gd name="T12" fmla="*/ 51524 w 193"/>
              <a:gd name="T13" fmla="*/ 1574 h 121"/>
              <a:gd name="T14" fmla="*/ 58186 w 193"/>
              <a:gd name="T15" fmla="*/ 5248 h 121"/>
              <a:gd name="T16" fmla="*/ 65737 w 193"/>
              <a:gd name="T17" fmla="*/ 11021 h 121"/>
              <a:gd name="T18" fmla="*/ 71956 w 193"/>
              <a:gd name="T19" fmla="*/ 14694 h 121"/>
              <a:gd name="T20" fmla="*/ 76842 w 193"/>
              <a:gd name="T21" fmla="*/ 15744 h 121"/>
              <a:gd name="T22" fmla="*/ 79507 w 193"/>
              <a:gd name="T23" fmla="*/ 25190 h 121"/>
              <a:gd name="T24" fmla="*/ 79062 w 193"/>
              <a:gd name="T25" fmla="*/ 34636 h 121"/>
              <a:gd name="T26" fmla="*/ 80839 w 193"/>
              <a:gd name="T27" fmla="*/ 39360 h 121"/>
              <a:gd name="T28" fmla="*/ 83060 w 193"/>
              <a:gd name="T29" fmla="*/ 46707 h 121"/>
              <a:gd name="T30" fmla="*/ 83504 w 193"/>
              <a:gd name="T31" fmla="*/ 53529 h 121"/>
              <a:gd name="T32" fmla="*/ 84837 w 193"/>
              <a:gd name="T33" fmla="*/ 57202 h 121"/>
              <a:gd name="T34" fmla="*/ 83504 w 193"/>
              <a:gd name="T35" fmla="*/ 59826 h 121"/>
              <a:gd name="T36" fmla="*/ 78618 w 193"/>
              <a:gd name="T37" fmla="*/ 61926 h 121"/>
              <a:gd name="T38" fmla="*/ 70623 w 193"/>
              <a:gd name="T39" fmla="*/ 63500 h 121"/>
              <a:gd name="T40" fmla="*/ 51524 w 193"/>
              <a:gd name="T41" fmla="*/ 62450 h 121"/>
              <a:gd name="T42" fmla="*/ 31980 w 193"/>
              <a:gd name="T43" fmla="*/ 60876 h 121"/>
              <a:gd name="T44" fmla="*/ 27983 w 193"/>
              <a:gd name="T45" fmla="*/ 57727 h 121"/>
              <a:gd name="T46" fmla="*/ 24874 w 193"/>
              <a:gd name="T47" fmla="*/ 52479 h 121"/>
              <a:gd name="T48" fmla="*/ 23985 w 193"/>
              <a:gd name="T49" fmla="*/ 45657 h 121"/>
              <a:gd name="T50" fmla="*/ 20876 w 193"/>
              <a:gd name="T51" fmla="*/ 41459 h 121"/>
              <a:gd name="T52" fmla="*/ 13769 w 193"/>
              <a:gd name="T53" fmla="*/ 39360 h 121"/>
              <a:gd name="T54" fmla="*/ 5774 w 193"/>
              <a:gd name="T55" fmla="*/ 36211 h 121"/>
              <a:gd name="T56" fmla="*/ 1333 w 193"/>
              <a:gd name="T57" fmla="*/ 32537 h 121"/>
              <a:gd name="T58" fmla="*/ 0 w 193"/>
              <a:gd name="T59" fmla="*/ 30438 h 121"/>
              <a:gd name="T60" fmla="*/ 444 w 193"/>
              <a:gd name="T61" fmla="*/ 26764 h 121"/>
              <a:gd name="T62" fmla="*/ 3109 w 193"/>
              <a:gd name="T63" fmla="*/ 23616 h 121"/>
              <a:gd name="T64" fmla="*/ 8883 w 193"/>
              <a:gd name="T65" fmla="*/ 19942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88" name="Freeform 338">
            <a:extLst>
              <a:ext uri="{FF2B5EF4-FFF2-40B4-BE49-F238E27FC236}">
                <a16:creationId xmlns:a16="http://schemas.microsoft.com/office/drawing/2014/main" id="{C046C2A5-E794-43AF-A88F-6A19BF7D9255}"/>
              </a:ext>
            </a:extLst>
          </p:cNvPr>
          <p:cNvSpPr>
            <a:spLocks/>
          </p:cNvSpPr>
          <p:nvPr>
            <p:custDataLst>
              <p:tags r:id="rId241"/>
            </p:custDataLst>
          </p:nvPr>
        </p:nvSpPr>
        <p:spPr bwMode="auto">
          <a:xfrm>
            <a:off x="13939157" y="7453735"/>
            <a:ext cx="353678" cy="488415"/>
          </a:xfrm>
          <a:custGeom>
            <a:avLst/>
            <a:gdLst>
              <a:gd name="T0" fmla="*/ 16273 w 379"/>
              <a:gd name="T1" fmla="*/ 220707 h 437"/>
              <a:gd name="T2" fmla="*/ 20231 w 379"/>
              <a:gd name="T3" fmla="*/ 214386 h 437"/>
              <a:gd name="T4" fmla="*/ 10555 w 379"/>
              <a:gd name="T5" fmla="*/ 163818 h 437"/>
              <a:gd name="T6" fmla="*/ 880 w 379"/>
              <a:gd name="T7" fmla="*/ 154863 h 437"/>
              <a:gd name="T8" fmla="*/ 6597 w 379"/>
              <a:gd name="T9" fmla="*/ 142221 h 437"/>
              <a:gd name="T10" fmla="*/ 13634 w 379"/>
              <a:gd name="T11" fmla="*/ 116411 h 437"/>
              <a:gd name="T12" fmla="*/ 17152 w 379"/>
              <a:gd name="T13" fmla="*/ 90600 h 437"/>
              <a:gd name="T14" fmla="*/ 25069 w 379"/>
              <a:gd name="T15" fmla="*/ 83753 h 437"/>
              <a:gd name="T16" fmla="*/ 28587 w 379"/>
              <a:gd name="T17" fmla="*/ 68477 h 437"/>
              <a:gd name="T18" fmla="*/ 33425 w 379"/>
              <a:gd name="T19" fmla="*/ 41086 h 437"/>
              <a:gd name="T20" fmla="*/ 39583 w 379"/>
              <a:gd name="T21" fmla="*/ 26864 h 437"/>
              <a:gd name="T22" fmla="*/ 50578 w 379"/>
              <a:gd name="T23" fmla="*/ 16329 h 437"/>
              <a:gd name="T24" fmla="*/ 67291 w 379"/>
              <a:gd name="T25" fmla="*/ 13169 h 437"/>
              <a:gd name="T26" fmla="*/ 95438 w 379"/>
              <a:gd name="T27" fmla="*/ 20016 h 437"/>
              <a:gd name="T28" fmla="*/ 115230 w 379"/>
              <a:gd name="T29" fmla="*/ 25284 h 437"/>
              <a:gd name="T30" fmla="*/ 133262 w 379"/>
              <a:gd name="T31" fmla="*/ 23704 h 437"/>
              <a:gd name="T32" fmla="*/ 144697 w 379"/>
              <a:gd name="T33" fmla="*/ 16329 h 437"/>
              <a:gd name="T34" fmla="*/ 156571 w 379"/>
              <a:gd name="T35" fmla="*/ 3687 h 437"/>
              <a:gd name="T36" fmla="*/ 164488 w 379"/>
              <a:gd name="T37" fmla="*/ 4741 h 437"/>
              <a:gd name="T38" fmla="*/ 163608 w 379"/>
              <a:gd name="T39" fmla="*/ 18436 h 437"/>
              <a:gd name="T40" fmla="*/ 144697 w 379"/>
              <a:gd name="T41" fmla="*/ 42140 h 437"/>
              <a:gd name="T42" fmla="*/ 128424 w 379"/>
              <a:gd name="T43" fmla="*/ 51094 h 437"/>
              <a:gd name="T44" fmla="*/ 119188 w 379"/>
              <a:gd name="T45" fmla="*/ 49514 h 437"/>
              <a:gd name="T46" fmla="*/ 104674 w 379"/>
              <a:gd name="T47" fmla="*/ 36345 h 437"/>
              <a:gd name="T48" fmla="*/ 93239 w 379"/>
              <a:gd name="T49" fmla="*/ 29498 h 437"/>
              <a:gd name="T50" fmla="*/ 77846 w 379"/>
              <a:gd name="T51" fmla="*/ 29498 h 437"/>
              <a:gd name="T52" fmla="*/ 60693 w 379"/>
              <a:gd name="T53" fmla="*/ 32132 h 437"/>
              <a:gd name="T54" fmla="*/ 50138 w 379"/>
              <a:gd name="T55" fmla="*/ 41613 h 437"/>
              <a:gd name="T56" fmla="*/ 34745 w 379"/>
              <a:gd name="T57" fmla="*/ 84806 h 437"/>
              <a:gd name="T58" fmla="*/ 52337 w 379"/>
              <a:gd name="T59" fmla="*/ 89020 h 437"/>
              <a:gd name="T60" fmla="*/ 58494 w 379"/>
              <a:gd name="T61" fmla="*/ 100608 h 437"/>
              <a:gd name="T62" fmla="*/ 68170 w 379"/>
              <a:gd name="T63" fmla="*/ 88493 h 437"/>
              <a:gd name="T64" fmla="*/ 75647 w 379"/>
              <a:gd name="T65" fmla="*/ 80592 h 437"/>
              <a:gd name="T66" fmla="*/ 97197 w 379"/>
              <a:gd name="T67" fmla="*/ 79012 h 437"/>
              <a:gd name="T68" fmla="*/ 109952 w 379"/>
              <a:gd name="T69" fmla="*/ 77432 h 437"/>
              <a:gd name="T70" fmla="*/ 120067 w 379"/>
              <a:gd name="T71" fmla="*/ 91127 h 437"/>
              <a:gd name="T72" fmla="*/ 122706 w 379"/>
              <a:gd name="T73" fmla="*/ 106929 h 437"/>
              <a:gd name="T74" fmla="*/ 108193 w 379"/>
              <a:gd name="T75" fmla="*/ 101135 h 437"/>
              <a:gd name="T76" fmla="*/ 95878 w 379"/>
              <a:gd name="T77" fmla="*/ 97448 h 437"/>
              <a:gd name="T78" fmla="*/ 84443 w 379"/>
              <a:gd name="T79" fmla="*/ 102715 h 437"/>
              <a:gd name="T80" fmla="*/ 81804 w 379"/>
              <a:gd name="T81" fmla="*/ 110090 h 437"/>
              <a:gd name="T82" fmla="*/ 84443 w 379"/>
              <a:gd name="T83" fmla="*/ 122732 h 437"/>
              <a:gd name="T84" fmla="*/ 96758 w 379"/>
              <a:gd name="T85" fmla="*/ 143275 h 437"/>
              <a:gd name="T86" fmla="*/ 98957 w 379"/>
              <a:gd name="T87" fmla="*/ 155917 h 437"/>
              <a:gd name="T88" fmla="*/ 94559 w 379"/>
              <a:gd name="T89" fmla="*/ 169612 h 437"/>
              <a:gd name="T90" fmla="*/ 90161 w 379"/>
              <a:gd name="T91" fmla="*/ 181727 h 437"/>
              <a:gd name="T92" fmla="*/ 92360 w 379"/>
              <a:gd name="T93" fmla="*/ 187522 h 437"/>
              <a:gd name="T94" fmla="*/ 103795 w 379"/>
              <a:gd name="T95" fmla="*/ 193843 h 437"/>
              <a:gd name="T96" fmla="*/ 110831 w 379"/>
              <a:gd name="T97" fmla="*/ 210698 h 437"/>
              <a:gd name="T98" fmla="*/ 105114 w 379"/>
              <a:gd name="T99" fmla="*/ 225974 h 437"/>
              <a:gd name="T100" fmla="*/ 97197 w 379"/>
              <a:gd name="T101" fmla="*/ 221760 h 437"/>
              <a:gd name="T102" fmla="*/ 88841 w 379"/>
              <a:gd name="T103" fmla="*/ 219653 h 437"/>
              <a:gd name="T104" fmla="*/ 77846 w 379"/>
              <a:gd name="T105" fmla="*/ 210698 h 437"/>
              <a:gd name="T106" fmla="*/ 67291 w 379"/>
              <a:gd name="T107" fmla="*/ 187522 h 437"/>
              <a:gd name="T108" fmla="*/ 60254 w 379"/>
              <a:gd name="T109" fmla="*/ 160131 h 437"/>
              <a:gd name="T110" fmla="*/ 50138 w 379"/>
              <a:gd name="T111" fmla="*/ 138534 h 437"/>
              <a:gd name="T112" fmla="*/ 42661 w 379"/>
              <a:gd name="T113" fmla="*/ 136427 h 437"/>
              <a:gd name="T114" fmla="*/ 46180 w 379"/>
              <a:gd name="T115" fmla="*/ 200690 h 437"/>
              <a:gd name="T116" fmla="*/ 40902 w 379"/>
              <a:gd name="T117" fmla="*/ 212805 h 437"/>
              <a:gd name="T118" fmla="*/ 25069 w 379"/>
              <a:gd name="T119" fmla="*/ 224394 h 437"/>
              <a:gd name="T120" fmla="*/ 25949 w 379"/>
              <a:gd name="T121" fmla="*/ 230188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89" name="Freeform 339">
            <a:extLst>
              <a:ext uri="{FF2B5EF4-FFF2-40B4-BE49-F238E27FC236}">
                <a16:creationId xmlns:a16="http://schemas.microsoft.com/office/drawing/2014/main" id="{E7DF9963-EBDF-42BC-A94E-7C7F253E4FD2}"/>
              </a:ext>
            </a:extLst>
          </p:cNvPr>
          <p:cNvSpPr>
            <a:spLocks/>
          </p:cNvSpPr>
          <p:nvPr>
            <p:custDataLst>
              <p:tags r:id="rId242"/>
            </p:custDataLst>
          </p:nvPr>
        </p:nvSpPr>
        <p:spPr bwMode="auto">
          <a:xfrm>
            <a:off x="13228429" y="7965728"/>
            <a:ext cx="532203" cy="202103"/>
          </a:xfrm>
          <a:custGeom>
            <a:avLst/>
            <a:gdLst>
              <a:gd name="T0" fmla="*/ 4773 w 578"/>
              <a:gd name="T1" fmla="*/ 25883 h 184"/>
              <a:gd name="T2" fmla="*/ 10415 w 578"/>
              <a:gd name="T3" fmla="*/ 16565 h 184"/>
              <a:gd name="T4" fmla="*/ 17792 w 578"/>
              <a:gd name="T5" fmla="*/ 3624 h 184"/>
              <a:gd name="T6" fmla="*/ 23433 w 578"/>
              <a:gd name="T7" fmla="*/ 0 h 184"/>
              <a:gd name="T8" fmla="*/ 34282 w 578"/>
              <a:gd name="T9" fmla="*/ 1035 h 184"/>
              <a:gd name="T10" fmla="*/ 41226 w 578"/>
              <a:gd name="T11" fmla="*/ 1035 h 184"/>
              <a:gd name="T12" fmla="*/ 43829 w 578"/>
              <a:gd name="T13" fmla="*/ 2588 h 184"/>
              <a:gd name="T14" fmla="*/ 49905 w 578"/>
              <a:gd name="T15" fmla="*/ 7765 h 184"/>
              <a:gd name="T16" fmla="*/ 63791 w 578"/>
              <a:gd name="T17" fmla="*/ 13977 h 184"/>
              <a:gd name="T18" fmla="*/ 72904 w 578"/>
              <a:gd name="T19" fmla="*/ 19154 h 184"/>
              <a:gd name="T20" fmla="*/ 77244 w 578"/>
              <a:gd name="T21" fmla="*/ 27436 h 184"/>
              <a:gd name="T22" fmla="*/ 83319 w 578"/>
              <a:gd name="T23" fmla="*/ 31577 h 184"/>
              <a:gd name="T24" fmla="*/ 100243 w 578"/>
              <a:gd name="T25" fmla="*/ 31060 h 184"/>
              <a:gd name="T26" fmla="*/ 120205 w 578"/>
              <a:gd name="T27" fmla="*/ 26401 h 184"/>
              <a:gd name="T28" fmla="*/ 129752 w 578"/>
              <a:gd name="T29" fmla="*/ 20189 h 184"/>
              <a:gd name="T30" fmla="*/ 136261 w 578"/>
              <a:gd name="T31" fmla="*/ 17601 h 184"/>
              <a:gd name="T32" fmla="*/ 141903 w 578"/>
              <a:gd name="T33" fmla="*/ 18118 h 184"/>
              <a:gd name="T34" fmla="*/ 147110 w 578"/>
              <a:gd name="T35" fmla="*/ 16048 h 184"/>
              <a:gd name="T36" fmla="*/ 158827 w 578"/>
              <a:gd name="T37" fmla="*/ 17601 h 184"/>
              <a:gd name="T38" fmla="*/ 173147 w 578"/>
              <a:gd name="T39" fmla="*/ 30542 h 184"/>
              <a:gd name="T40" fmla="*/ 185732 w 578"/>
              <a:gd name="T41" fmla="*/ 46072 h 184"/>
              <a:gd name="T42" fmla="*/ 197883 w 578"/>
              <a:gd name="T43" fmla="*/ 54355 h 184"/>
              <a:gd name="T44" fmla="*/ 207864 w 578"/>
              <a:gd name="T45" fmla="*/ 55390 h 184"/>
              <a:gd name="T46" fmla="*/ 213939 w 578"/>
              <a:gd name="T47" fmla="*/ 55908 h 184"/>
              <a:gd name="T48" fmla="*/ 219146 w 578"/>
              <a:gd name="T49" fmla="*/ 64708 h 184"/>
              <a:gd name="T50" fmla="*/ 226524 w 578"/>
              <a:gd name="T51" fmla="*/ 72473 h 184"/>
              <a:gd name="T52" fmla="*/ 231731 w 578"/>
              <a:gd name="T53" fmla="*/ 71955 h 184"/>
              <a:gd name="T54" fmla="*/ 236938 w 578"/>
              <a:gd name="T55" fmla="*/ 66261 h 184"/>
              <a:gd name="T56" fmla="*/ 242146 w 578"/>
              <a:gd name="T57" fmla="*/ 69367 h 184"/>
              <a:gd name="T58" fmla="*/ 247787 w 578"/>
              <a:gd name="T59" fmla="*/ 75061 h 184"/>
              <a:gd name="T60" fmla="*/ 250825 w 578"/>
              <a:gd name="T61" fmla="*/ 82826 h 184"/>
              <a:gd name="T62" fmla="*/ 249523 w 578"/>
              <a:gd name="T63" fmla="*/ 89556 h 184"/>
              <a:gd name="T64" fmla="*/ 246052 w 578"/>
              <a:gd name="T65" fmla="*/ 94215 h 184"/>
              <a:gd name="T66" fmla="*/ 239108 w 578"/>
              <a:gd name="T67" fmla="*/ 92144 h 184"/>
              <a:gd name="T68" fmla="*/ 228259 w 578"/>
              <a:gd name="T69" fmla="*/ 88003 h 184"/>
              <a:gd name="T70" fmla="*/ 213071 w 578"/>
              <a:gd name="T71" fmla="*/ 89038 h 184"/>
              <a:gd name="T72" fmla="*/ 200486 w 578"/>
              <a:gd name="T73" fmla="*/ 88003 h 184"/>
              <a:gd name="T74" fmla="*/ 195713 w 578"/>
              <a:gd name="T75" fmla="*/ 82826 h 184"/>
              <a:gd name="T76" fmla="*/ 190072 w 578"/>
              <a:gd name="T77" fmla="*/ 79720 h 184"/>
              <a:gd name="T78" fmla="*/ 184864 w 578"/>
              <a:gd name="T79" fmla="*/ 82826 h 184"/>
              <a:gd name="T80" fmla="*/ 180525 w 578"/>
              <a:gd name="T81" fmla="*/ 88003 h 184"/>
              <a:gd name="T82" fmla="*/ 172713 w 578"/>
              <a:gd name="T83" fmla="*/ 88520 h 184"/>
              <a:gd name="T84" fmla="*/ 142337 w 578"/>
              <a:gd name="T85" fmla="*/ 79202 h 184"/>
              <a:gd name="T86" fmla="*/ 120205 w 578"/>
              <a:gd name="T87" fmla="*/ 68332 h 184"/>
              <a:gd name="T88" fmla="*/ 115432 w 578"/>
              <a:gd name="T89" fmla="*/ 63673 h 184"/>
              <a:gd name="T90" fmla="*/ 99809 w 578"/>
              <a:gd name="T91" fmla="*/ 61602 h 184"/>
              <a:gd name="T92" fmla="*/ 87225 w 578"/>
              <a:gd name="T93" fmla="*/ 58496 h 184"/>
              <a:gd name="T94" fmla="*/ 72904 w 578"/>
              <a:gd name="T95" fmla="*/ 57461 h 184"/>
              <a:gd name="T96" fmla="*/ 63357 w 578"/>
              <a:gd name="T97" fmla="*/ 57461 h 184"/>
              <a:gd name="T98" fmla="*/ 53810 w 578"/>
              <a:gd name="T99" fmla="*/ 54355 h 184"/>
              <a:gd name="T100" fmla="*/ 52074 w 578"/>
              <a:gd name="T101" fmla="*/ 51249 h 184"/>
              <a:gd name="T102" fmla="*/ 29943 w 578"/>
              <a:gd name="T103" fmla="*/ 50213 h 184"/>
              <a:gd name="T104" fmla="*/ 19962 w 578"/>
              <a:gd name="T105" fmla="*/ 45554 h 184"/>
              <a:gd name="T106" fmla="*/ 0 w 578"/>
              <a:gd name="T107" fmla="*/ 28471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90" name="Freeform 340">
            <a:extLst>
              <a:ext uri="{FF2B5EF4-FFF2-40B4-BE49-F238E27FC236}">
                <a16:creationId xmlns:a16="http://schemas.microsoft.com/office/drawing/2014/main" id="{9D00C020-CDD2-4344-9106-6159A905FBA6}"/>
              </a:ext>
            </a:extLst>
          </p:cNvPr>
          <p:cNvSpPr>
            <a:spLocks/>
          </p:cNvSpPr>
          <p:nvPr>
            <p:custDataLst>
              <p:tags r:id="rId243"/>
            </p:custDataLst>
          </p:nvPr>
        </p:nvSpPr>
        <p:spPr bwMode="auto">
          <a:xfrm>
            <a:off x="14673463" y="7662575"/>
            <a:ext cx="454730" cy="535573"/>
          </a:xfrm>
          <a:custGeom>
            <a:avLst/>
            <a:gdLst>
              <a:gd name="T0" fmla="*/ 210384 w 491"/>
              <a:gd name="T1" fmla="*/ 251363 h 481"/>
              <a:gd name="T2" fmla="*/ 199472 w 491"/>
              <a:gd name="T3" fmla="*/ 244017 h 481"/>
              <a:gd name="T4" fmla="*/ 184195 w 491"/>
              <a:gd name="T5" fmla="*/ 227749 h 481"/>
              <a:gd name="T6" fmla="*/ 179830 w 491"/>
              <a:gd name="T7" fmla="*/ 218828 h 481"/>
              <a:gd name="T8" fmla="*/ 164117 w 491"/>
              <a:gd name="T9" fmla="*/ 215155 h 481"/>
              <a:gd name="T10" fmla="*/ 157133 w 491"/>
              <a:gd name="T11" fmla="*/ 213055 h 481"/>
              <a:gd name="T12" fmla="*/ 152768 w 491"/>
              <a:gd name="T13" fmla="*/ 207808 h 481"/>
              <a:gd name="T14" fmla="*/ 151022 w 491"/>
              <a:gd name="T15" fmla="*/ 196263 h 481"/>
              <a:gd name="T16" fmla="*/ 149276 w 491"/>
              <a:gd name="T17" fmla="*/ 174223 h 481"/>
              <a:gd name="T18" fmla="*/ 142729 w 491"/>
              <a:gd name="T19" fmla="*/ 159004 h 481"/>
              <a:gd name="T20" fmla="*/ 139237 w 491"/>
              <a:gd name="T21" fmla="*/ 145361 h 481"/>
              <a:gd name="T22" fmla="*/ 137055 w 491"/>
              <a:gd name="T23" fmla="*/ 128043 h 481"/>
              <a:gd name="T24" fmla="*/ 127452 w 491"/>
              <a:gd name="T25" fmla="*/ 117023 h 481"/>
              <a:gd name="T26" fmla="*/ 113485 w 491"/>
              <a:gd name="T27" fmla="*/ 107577 h 481"/>
              <a:gd name="T28" fmla="*/ 96462 w 491"/>
              <a:gd name="T29" fmla="*/ 99706 h 481"/>
              <a:gd name="T30" fmla="*/ 77694 w 491"/>
              <a:gd name="T31" fmla="*/ 94983 h 481"/>
              <a:gd name="T32" fmla="*/ 58052 w 491"/>
              <a:gd name="T33" fmla="*/ 93409 h 481"/>
              <a:gd name="T34" fmla="*/ 58052 w 491"/>
              <a:gd name="T35" fmla="*/ 81864 h 481"/>
              <a:gd name="T36" fmla="*/ 48013 w 491"/>
              <a:gd name="T37" fmla="*/ 76091 h 481"/>
              <a:gd name="T38" fmla="*/ 37101 w 491"/>
              <a:gd name="T39" fmla="*/ 68220 h 481"/>
              <a:gd name="T40" fmla="*/ 28808 w 491"/>
              <a:gd name="T41" fmla="*/ 58249 h 481"/>
              <a:gd name="T42" fmla="*/ 31863 w 491"/>
              <a:gd name="T43" fmla="*/ 69794 h 481"/>
              <a:gd name="T44" fmla="*/ 23570 w 491"/>
              <a:gd name="T45" fmla="*/ 77141 h 481"/>
              <a:gd name="T46" fmla="*/ 17459 w 491"/>
              <a:gd name="T47" fmla="*/ 93409 h 481"/>
              <a:gd name="T48" fmla="*/ 10476 w 491"/>
              <a:gd name="T49" fmla="*/ 115449 h 481"/>
              <a:gd name="T50" fmla="*/ 5674 w 491"/>
              <a:gd name="T51" fmla="*/ 139063 h 481"/>
              <a:gd name="T52" fmla="*/ 6111 w 491"/>
              <a:gd name="T53" fmla="*/ 124370 h 481"/>
              <a:gd name="T54" fmla="*/ 10039 w 491"/>
              <a:gd name="T55" fmla="*/ 109676 h 481"/>
              <a:gd name="T56" fmla="*/ 13967 w 491"/>
              <a:gd name="T57" fmla="*/ 94983 h 481"/>
              <a:gd name="T58" fmla="*/ 13094 w 491"/>
              <a:gd name="T59" fmla="*/ 75042 h 481"/>
              <a:gd name="T60" fmla="*/ 7420 w 491"/>
              <a:gd name="T61" fmla="*/ 58249 h 481"/>
              <a:gd name="T62" fmla="*/ 0 w 491"/>
              <a:gd name="T63" fmla="*/ 38308 h 481"/>
              <a:gd name="T64" fmla="*/ 14840 w 491"/>
              <a:gd name="T65" fmla="*/ 30961 h 481"/>
              <a:gd name="T66" fmla="*/ 25752 w 491"/>
              <a:gd name="T67" fmla="*/ 28862 h 481"/>
              <a:gd name="T68" fmla="*/ 36664 w 491"/>
              <a:gd name="T69" fmla="*/ 30436 h 481"/>
              <a:gd name="T70" fmla="*/ 44521 w 491"/>
              <a:gd name="T71" fmla="*/ 34635 h 481"/>
              <a:gd name="T72" fmla="*/ 52814 w 491"/>
              <a:gd name="T73" fmla="*/ 43031 h 481"/>
              <a:gd name="T74" fmla="*/ 61107 w 491"/>
              <a:gd name="T75" fmla="*/ 58249 h 481"/>
              <a:gd name="T76" fmla="*/ 79876 w 491"/>
              <a:gd name="T77" fmla="*/ 54051 h 481"/>
              <a:gd name="T78" fmla="*/ 85550 w 491"/>
              <a:gd name="T79" fmla="*/ 50378 h 481"/>
              <a:gd name="T80" fmla="*/ 87296 w 491"/>
              <a:gd name="T81" fmla="*/ 47229 h 481"/>
              <a:gd name="T82" fmla="*/ 90351 w 491"/>
              <a:gd name="T83" fmla="*/ 38308 h 481"/>
              <a:gd name="T84" fmla="*/ 101264 w 491"/>
              <a:gd name="T85" fmla="*/ 28337 h 481"/>
              <a:gd name="T86" fmla="*/ 110866 w 491"/>
              <a:gd name="T87" fmla="*/ 25714 h 481"/>
              <a:gd name="T88" fmla="*/ 114794 w 491"/>
              <a:gd name="T89" fmla="*/ 15743 h 481"/>
              <a:gd name="T90" fmla="*/ 122215 w 491"/>
              <a:gd name="T91" fmla="*/ 4723 h 481"/>
              <a:gd name="T92" fmla="*/ 130944 w 491"/>
              <a:gd name="T93" fmla="*/ 525 h 481"/>
              <a:gd name="T94" fmla="*/ 140983 w 491"/>
              <a:gd name="T95" fmla="*/ 0 h 481"/>
              <a:gd name="T96" fmla="*/ 153205 w 491"/>
              <a:gd name="T97" fmla="*/ 4198 h 481"/>
              <a:gd name="T98" fmla="*/ 174156 w 491"/>
              <a:gd name="T99" fmla="*/ 19941 h 481"/>
              <a:gd name="T100" fmla="*/ 186814 w 491"/>
              <a:gd name="T101" fmla="*/ 27813 h 481"/>
              <a:gd name="T102" fmla="*/ 200345 w 491"/>
              <a:gd name="T103" fmla="*/ 31486 h 481"/>
              <a:gd name="T104" fmla="*/ 214312 w 491"/>
              <a:gd name="T105" fmla="*/ 35159 h 481"/>
              <a:gd name="T106" fmla="*/ 214312 w 491"/>
              <a:gd name="T107" fmla="*/ 171074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91" name="Freeform 341">
            <a:extLst>
              <a:ext uri="{FF2B5EF4-FFF2-40B4-BE49-F238E27FC236}">
                <a16:creationId xmlns:a16="http://schemas.microsoft.com/office/drawing/2014/main" id="{6018CC98-2470-40F6-8DBF-6F637D2C75AF}"/>
              </a:ext>
            </a:extLst>
          </p:cNvPr>
          <p:cNvSpPr>
            <a:spLocks/>
          </p:cNvSpPr>
          <p:nvPr>
            <p:custDataLst>
              <p:tags r:id="rId244"/>
            </p:custDataLst>
          </p:nvPr>
        </p:nvSpPr>
        <p:spPr bwMode="auto">
          <a:xfrm>
            <a:off x="11557715" y="5183450"/>
            <a:ext cx="114525" cy="127998"/>
          </a:xfrm>
          <a:custGeom>
            <a:avLst/>
            <a:gdLst>
              <a:gd name="T0" fmla="*/ 0 w 133"/>
              <a:gd name="T1" fmla="*/ 9796 h 117"/>
              <a:gd name="T2" fmla="*/ 29220 w 133"/>
              <a:gd name="T3" fmla="*/ 0 h 117"/>
              <a:gd name="T4" fmla="*/ 32872 w 133"/>
              <a:gd name="T5" fmla="*/ 3094 h 117"/>
              <a:gd name="T6" fmla="*/ 36930 w 133"/>
              <a:gd name="T7" fmla="*/ 7218 h 117"/>
              <a:gd name="T8" fmla="*/ 40989 w 133"/>
              <a:gd name="T9" fmla="*/ 12890 h 117"/>
              <a:gd name="T10" fmla="*/ 44235 w 133"/>
              <a:gd name="T11" fmla="*/ 19077 h 117"/>
              <a:gd name="T12" fmla="*/ 47888 w 133"/>
              <a:gd name="T13" fmla="*/ 25264 h 117"/>
              <a:gd name="T14" fmla="*/ 51134 w 133"/>
              <a:gd name="T15" fmla="*/ 31967 h 117"/>
              <a:gd name="T16" fmla="*/ 51946 w 133"/>
              <a:gd name="T17" fmla="*/ 35061 h 117"/>
              <a:gd name="T18" fmla="*/ 52758 w 133"/>
              <a:gd name="T19" fmla="*/ 38154 h 117"/>
              <a:gd name="T20" fmla="*/ 53163 w 133"/>
              <a:gd name="T21" fmla="*/ 41248 h 117"/>
              <a:gd name="T22" fmla="*/ 53975 w 133"/>
              <a:gd name="T23" fmla="*/ 44341 h 117"/>
              <a:gd name="T24" fmla="*/ 53163 w 133"/>
              <a:gd name="T25" fmla="*/ 47435 h 117"/>
              <a:gd name="T26" fmla="*/ 51946 w 133"/>
              <a:gd name="T27" fmla="*/ 50013 h 117"/>
              <a:gd name="T28" fmla="*/ 50323 w 133"/>
              <a:gd name="T29" fmla="*/ 52591 h 117"/>
              <a:gd name="T30" fmla="*/ 47888 w 133"/>
              <a:gd name="T31" fmla="*/ 55169 h 117"/>
              <a:gd name="T32" fmla="*/ 45858 w 133"/>
              <a:gd name="T33" fmla="*/ 57231 h 117"/>
              <a:gd name="T34" fmla="*/ 43423 w 133"/>
              <a:gd name="T35" fmla="*/ 58778 h 117"/>
              <a:gd name="T36" fmla="*/ 41800 w 133"/>
              <a:gd name="T37" fmla="*/ 60325 h 117"/>
              <a:gd name="T38" fmla="*/ 40583 w 133"/>
              <a:gd name="T39" fmla="*/ 60325 h 117"/>
              <a:gd name="T40" fmla="*/ 29220 w 133"/>
              <a:gd name="T41" fmla="*/ 48982 h 117"/>
              <a:gd name="T42" fmla="*/ 18262 w 133"/>
              <a:gd name="T43" fmla="*/ 36092 h 117"/>
              <a:gd name="T44" fmla="*/ 12986 w 133"/>
              <a:gd name="T45" fmla="*/ 29905 h 117"/>
              <a:gd name="T46" fmla="*/ 7305 w 133"/>
              <a:gd name="T47" fmla="*/ 23718 h 117"/>
              <a:gd name="T48" fmla="*/ 3247 w 133"/>
              <a:gd name="T49" fmla="*/ 17015 h 117"/>
              <a:gd name="T50" fmla="*/ 0 w 133"/>
              <a:gd name="T51" fmla="*/ 9796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92" name="Freeform 342">
            <a:extLst>
              <a:ext uri="{FF2B5EF4-FFF2-40B4-BE49-F238E27FC236}">
                <a16:creationId xmlns:a16="http://schemas.microsoft.com/office/drawing/2014/main" id="{27DF961F-50C3-44CD-B936-68951456B59F}"/>
              </a:ext>
            </a:extLst>
          </p:cNvPr>
          <p:cNvSpPr>
            <a:spLocks/>
          </p:cNvSpPr>
          <p:nvPr>
            <p:custDataLst>
              <p:tags r:id="rId245"/>
            </p:custDataLst>
          </p:nvPr>
        </p:nvSpPr>
        <p:spPr bwMode="auto">
          <a:xfrm>
            <a:off x="8283654" y="3920311"/>
            <a:ext cx="468205" cy="377258"/>
          </a:xfrm>
          <a:custGeom>
            <a:avLst/>
            <a:gdLst>
              <a:gd name="T0" fmla="*/ 118852 w 505"/>
              <a:gd name="T1" fmla="*/ 18881 h 339"/>
              <a:gd name="T2" fmla="*/ 211487 w 505"/>
              <a:gd name="T3" fmla="*/ 45106 h 339"/>
              <a:gd name="T4" fmla="*/ 208865 w 505"/>
              <a:gd name="T5" fmla="*/ 57169 h 339"/>
              <a:gd name="T6" fmla="*/ 205806 w 505"/>
              <a:gd name="T7" fmla="*/ 67658 h 339"/>
              <a:gd name="T8" fmla="*/ 201437 w 505"/>
              <a:gd name="T9" fmla="*/ 76050 h 339"/>
              <a:gd name="T10" fmla="*/ 197067 w 505"/>
              <a:gd name="T11" fmla="*/ 80246 h 339"/>
              <a:gd name="T12" fmla="*/ 201437 w 505"/>
              <a:gd name="T13" fmla="*/ 96505 h 339"/>
              <a:gd name="T14" fmla="*/ 208428 w 505"/>
              <a:gd name="T15" fmla="*/ 112764 h 339"/>
              <a:gd name="T16" fmla="*/ 220663 w 505"/>
              <a:gd name="T17" fmla="*/ 135317 h 339"/>
              <a:gd name="T18" fmla="*/ 215420 w 505"/>
              <a:gd name="T19" fmla="*/ 142135 h 339"/>
              <a:gd name="T20" fmla="*/ 209302 w 505"/>
              <a:gd name="T21" fmla="*/ 153149 h 339"/>
              <a:gd name="T22" fmla="*/ 204496 w 505"/>
              <a:gd name="T23" fmla="*/ 164688 h 339"/>
              <a:gd name="T24" fmla="*/ 202748 w 505"/>
              <a:gd name="T25" fmla="*/ 177800 h 339"/>
              <a:gd name="T26" fmla="*/ 193572 w 505"/>
              <a:gd name="T27" fmla="*/ 177276 h 339"/>
              <a:gd name="T28" fmla="*/ 180900 w 505"/>
              <a:gd name="T29" fmla="*/ 175702 h 339"/>
              <a:gd name="T30" fmla="*/ 168228 w 505"/>
              <a:gd name="T31" fmla="*/ 173604 h 339"/>
              <a:gd name="T32" fmla="*/ 156430 w 505"/>
              <a:gd name="T33" fmla="*/ 170982 h 339"/>
              <a:gd name="T34" fmla="*/ 132835 w 505"/>
              <a:gd name="T35" fmla="*/ 170457 h 339"/>
              <a:gd name="T36" fmla="*/ 115356 w 505"/>
              <a:gd name="T37" fmla="*/ 168359 h 339"/>
              <a:gd name="T38" fmla="*/ 108365 w 505"/>
              <a:gd name="T39" fmla="*/ 166261 h 339"/>
              <a:gd name="T40" fmla="*/ 101374 w 505"/>
              <a:gd name="T41" fmla="*/ 162590 h 339"/>
              <a:gd name="T42" fmla="*/ 93072 w 505"/>
              <a:gd name="T43" fmla="*/ 157345 h 339"/>
              <a:gd name="T44" fmla="*/ 78652 w 505"/>
              <a:gd name="T45" fmla="*/ 151576 h 339"/>
              <a:gd name="T46" fmla="*/ 63796 w 505"/>
              <a:gd name="T47" fmla="*/ 143184 h 339"/>
              <a:gd name="T48" fmla="*/ 42822 w 505"/>
              <a:gd name="T49" fmla="*/ 130596 h 339"/>
              <a:gd name="T50" fmla="*/ 27091 w 505"/>
              <a:gd name="T51" fmla="*/ 108044 h 339"/>
              <a:gd name="T52" fmla="*/ 22722 w 505"/>
              <a:gd name="T53" fmla="*/ 88638 h 339"/>
              <a:gd name="T54" fmla="*/ 15730 w 505"/>
              <a:gd name="T55" fmla="*/ 65036 h 339"/>
              <a:gd name="T56" fmla="*/ 6554 w 505"/>
              <a:gd name="T57" fmla="*/ 43532 h 339"/>
              <a:gd name="T58" fmla="*/ 874 w 505"/>
              <a:gd name="T59" fmla="*/ 33567 h 339"/>
              <a:gd name="T60" fmla="*/ 2185 w 505"/>
              <a:gd name="T61" fmla="*/ 31994 h 339"/>
              <a:gd name="T62" fmla="*/ 4807 w 505"/>
              <a:gd name="T63" fmla="*/ 29371 h 339"/>
              <a:gd name="T64" fmla="*/ 4807 w 505"/>
              <a:gd name="T65" fmla="*/ 25175 h 339"/>
              <a:gd name="T66" fmla="*/ 4807 w 505"/>
              <a:gd name="T67" fmla="*/ 22553 h 339"/>
              <a:gd name="T68" fmla="*/ 14857 w 505"/>
              <a:gd name="T69" fmla="*/ 17832 h 339"/>
              <a:gd name="T70" fmla="*/ 31898 w 505"/>
              <a:gd name="T71" fmla="*/ 11539 h 339"/>
              <a:gd name="T72" fmla="*/ 55930 w 505"/>
              <a:gd name="T73" fmla="*/ 4196 h 339"/>
              <a:gd name="T74" fmla="*/ 75593 w 505"/>
              <a:gd name="T75" fmla="*/ 5769 h 339"/>
              <a:gd name="T76" fmla="*/ 82148 w 505"/>
              <a:gd name="T77" fmla="*/ 14686 h 339"/>
              <a:gd name="T78" fmla="*/ 87828 w 505"/>
              <a:gd name="T79" fmla="*/ 18357 h 339"/>
              <a:gd name="T80" fmla="*/ 95693 w 505"/>
              <a:gd name="T81" fmla="*/ 18881 h 339"/>
              <a:gd name="T82" fmla="*/ 104433 w 505"/>
              <a:gd name="T83" fmla="*/ 18881 h 339"/>
              <a:gd name="T84" fmla="*/ 113172 w 505"/>
              <a:gd name="T85" fmla="*/ 12588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93" name="Freeform 343">
            <a:extLst>
              <a:ext uri="{FF2B5EF4-FFF2-40B4-BE49-F238E27FC236}">
                <a16:creationId xmlns:a16="http://schemas.microsoft.com/office/drawing/2014/main" id="{A9097E31-7430-40C2-9B5A-46D8E656EFBD}"/>
              </a:ext>
            </a:extLst>
          </p:cNvPr>
          <p:cNvSpPr>
            <a:spLocks/>
          </p:cNvSpPr>
          <p:nvPr>
            <p:custDataLst>
              <p:tags r:id="rId246"/>
            </p:custDataLst>
          </p:nvPr>
        </p:nvSpPr>
        <p:spPr bwMode="auto">
          <a:xfrm>
            <a:off x="8418389" y="4354830"/>
            <a:ext cx="309891" cy="151578"/>
          </a:xfrm>
          <a:custGeom>
            <a:avLst/>
            <a:gdLst>
              <a:gd name="T0" fmla="*/ 134815 w 338"/>
              <a:gd name="T1" fmla="*/ 0 h 141"/>
              <a:gd name="T2" fmla="*/ 80371 w 338"/>
              <a:gd name="T3" fmla="*/ 0 h 141"/>
              <a:gd name="T4" fmla="*/ 72593 w 338"/>
              <a:gd name="T5" fmla="*/ 4053 h 141"/>
              <a:gd name="T6" fmla="*/ 62222 w 338"/>
              <a:gd name="T7" fmla="*/ 10640 h 141"/>
              <a:gd name="T8" fmla="*/ 57037 w 338"/>
              <a:gd name="T9" fmla="*/ 13680 h 141"/>
              <a:gd name="T10" fmla="*/ 51420 w 338"/>
              <a:gd name="T11" fmla="*/ 16213 h 141"/>
              <a:gd name="T12" fmla="*/ 48395 w 338"/>
              <a:gd name="T13" fmla="*/ 17226 h 141"/>
              <a:gd name="T14" fmla="*/ 45371 w 338"/>
              <a:gd name="T15" fmla="*/ 17733 h 141"/>
              <a:gd name="T16" fmla="*/ 42778 w 338"/>
              <a:gd name="T17" fmla="*/ 18239 h 141"/>
              <a:gd name="T18" fmla="*/ 40185 w 338"/>
              <a:gd name="T19" fmla="*/ 18746 h 141"/>
              <a:gd name="T20" fmla="*/ 38025 w 338"/>
              <a:gd name="T21" fmla="*/ 18239 h 141"/>
              <a:gd name="T22" fmla="*/ 36296 w 338"/>
              <a:gd name="T23" fmla="*/ 17733 h 141"/>
              <a:gd name="T24" fmla="*/ 33704 w 338"/>
              <a:gd name="T25" fmla="*/ 16213 h 141"/>
              <a:gd name="T26" fmla="*/ 31975 w 338"/>
              <a:gd name="T27" fmla="*/ 15200 h 141"/>
              <a:gd name="T28" fmla="*/ 28519 w 338"/>
              <a:gd name="T29" fmla="*/ 12160 h 141"/>
              <a:gd name="T30" fmla="*/ 25494 w 338"/>
              <a:gd name="T31" fmla="*/ 9120 h 141"/>
              <a:gd name="T32" fmla="*/ 21173 w 338"/>
              <a:gd name="T33" fmla="*/ 17226 h 141"/>
              <a:gd name="T34" fmla="*/ 15988 w 338"/>
              <a:gd name="T35" fmla="*/ 25839 h 141"/>
              <a:gd name="T36" fmla="*/ 12963 w 338"/>
              <a:gd name="T37" fmla="*/ 30399 h 141"/>
              <a:gd name="T38" fmla="*/ 9074 w 338"/>
              <a:gd name="T39" fmla="*/ 34452 h 141"/>
              <a:gd name="T40" fmla="*/ 4753 w 338"/>
              <a:gd name="T41" fmla="*/ 37999 h 141"/>
              <a:gd name="T42" fmla="*/ 0 w 338"/>
              <a:gd name="T43" fmla="*/ 40532 h 141"/>
              <a:gd name="T44" fmla="*/ 5185 w 338"/>
              <a:gd name="T45" fmla="*/ 45599 h 141"/>
              <a:gd name="T46" fmla="*/ 9938 w 338"/>
              <a:gd name="T47" fmla="*/ 50665 h 141"/>
              <a:gd name="T48" fmla="*/ 14259 w 338"/>
              <a:gd name="T49" fmla="*/ 54718 h 141"/>
              <a:gd name="T50" fmla="*/ 19012 w 338"/>
              <a:gd name="T51" fmla="*/ 58772 h 141"/>
              <a:gd name="T52" fmla="*/ 23766 w 338"/>
              <a:gd name="T53" fmla="*/ 61812 h 141"/>
              <a:gd name="T54" fmla="*/ 28519 w 338"/>
              <a:gd name="T55" fmla="*/ 65358 h 141"/>
              <a:gd name="T56" fmla="*/ 34136 w 338"/>
              <a:gd name="T57" fmla="*/ 68398 h 141"/>
              <a:gd name="T58" fmla="*/ 40185 w 338"/>
              <a:gd name="T59" fmla="*/ 71438 h 141"/>
              <a:gd name="T60" fmla="*/ 111914 w 338"/>
              <a:gd name="T61" fmla="*/ 71438 h 141"/>
              <a:gd name="T62" fmla="*/ 116235 w 338"/>
              <a:gd name="T63" fmla="*/ 62825 h 141"/>
              <a:gd name="T64" fmla="*/ 121420 w 338"/>
              <a:gd name="T65" fmla="*/ 54212 h 141"/>
              <a:gd name="T66" fmla="*/ 126173 w 338"/>
              <a:gd name="T67" fmla="*/ 46612 h 141"/>
              <a:gd name="T68" fmla="*/ 131359 w 338"/>
              <a:gd name="T69" fmla="*/ 39519 h 141"/>
              <a:gd name="T70" fmla="*/ 136112 w 338"/>
              <a:gd name="T71" fmla="*/ 32426 h 141"/>
              <a:gd name="T72" fmla="*/ 140001 w 338"/>
              <a:gd name="T73" fmla="*/ 24319 h 141"/>
              <a:gd name="T74" fmla="*/ 143889 w 338"/>
              <a:gd name="T75" fmla="*/ 17226 h 141"/>
              <a:gd name="T76" fmla="*/ 146050 w 338"/>
              <a:gd name="T77" fmla="*/ 9120 h 141"/>
              <a:gd name="T78" fmla="*/ 134815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94" name="Freeform 344">
            <a:extLst>
              <a:ext uri="{FF2B5EF4-FFF2-40B4-BE49-F238E27FC236}">
                <a16:creationId xmlns:a16="http://schemas.microsoft.com/office/drawing/2014/main" id="{05D4C26A-FF05-4D03-AE19-C3278106143A}"/>
              </a:ext>
            </a:extLst>
          </p:cNvPr>
          <p:cNvSpPr>
            <a:spLocks/>
          </p:cNvSpPr>
          <p:nvPr>
            <p:custDataLst>
              <p:tags r:id="rId247"/>
            </p:custDataLst>
          </p:nvPr>
        </p:nvSpPr>
        <p:spPr bwMode="auto">
          <a:xfrm>
            <a:off x="8630598" y="3623894"/>
            <a:ext cx="235786" cy="138102"/>
          </a:xfrm>
          <a:custGeom>
            <a:avLst/>
            <a:gdLst>
              <a:gd name="T0" fmla="*/ 111125 w 259"/>
              <a:gd name="T1" fmla="*/ 65087 h 129"/>
              <a:gd name="T2" fmla="*/ 109409 w 259"/>
              <a:gd name="T3" fmla="*/ 51464 h 129"/>
              <a:gd name="T4" fmla="*/ 108122 w 259"/>
              <a:gd name="T5" fmla="*/ 40364 h 129"/>
              <a:gd name="T6" fmla="*/ 108122 w 259"/>
              <a:gd name="T7" fmla="*/ 31787 h 129"/>
              <a:gd name="T8" fmla="*/ 108551 w 259"/>
              <a:gd name="T9" fmla="*/ 25228 h 129"/>
              <a:gd name="T10" fmla="*/ 110267 w 259"/>
              <a:gd name="T11" fmla="*/ 14632 h 129"/>
              <a:gd name="T12" fmla="*/ 111125 w 259"/>
              <a:gd name="T13" fmla="*/ 6055 h 129"/>
              <a:gd name="T14" fmla="*/ 110696 w 259"/>
              <a:gd name="T15" fmla="*/ 7064 h 129"/>
              <a:gd name="T16" fmla="*/ 109838 w 259"/>
              <a:gd name="T17" fmla="*/ 8073 h 129"/>
              <a:gd name="T18" fmla="*/ 108551 w 259"/>
              <a:gd name="T19" fmla="*/ 8577 h 129"/>
              <a:gd name="T20" fmla="*/ 106834 w 259"/>
              <a:gd name="T21" fmla="*/ 9082 h 129"/>
              <a:gd name="T22" fmla="*/ 102544 w 259"/>
              <a:gd name="T23" fmla="*/ 9586 h 129"/>
              <a:gd name="T24" fmla="*/ 97824 w 259"/>
              <a:gd name="T25" fmla="*/ 9586 h 129"/>
              <a:gd name="T26" fmla="*/ 87956 w 259"/>
              <a:gd name="T27" fmla="*/ 9586 h 129"/>
              <a:gd name="T28" fmla="*/ 82378 w 259"/>
              <a:gd name="T29" fmla="*/ 9082 h 129"/>
              <a:gd name="T30" fmla="*/ 77659 w 259"/>
              <a:gd name="T31" fmla="*/ 8577 h 129"/>
              <a:gd name="T32" fmla="*/ 73797 w 259"/>
              <a:gd name="T33" fmla="*/ 7568 h 129"/>
              <a:gd name="T34" fmla="*/ 69936 w 259"/>
              <a:gd name="T35" fmla="*/ 6055 h 129"/>
              <a:gd name="T36" fmla="*/ 66932 w 259"/>
              <a:gd name="T37" fmla="*/ 4541 h 129"/>
              <a:gd name="T38" fmla="*/ 62642 w 259"/>
              <a:gd name="T39" fmla="*/ 3027 h 129"/>
              <a:gd name="T40" fmla="*/ 57493 w 259"/>
              <a:gd name="T41" fmla="*/ 1514 h 129"/>
              <a:gd name="T42" fmla="*/ 50628 w 259"/>
              <a:gd name="T43" fmla="*/ 505 h 129"/>
              <a:gd name="T44" fmla="*/ 42476 w 259"/>
              <a:gd name="T45" fmla="*/ 0 h 129"/>
              <a:gd name="T46" fmla="*/ 35611 w 259"/>
              <a:gd name="T47" fmla="*/ 0 h 129"/>
              <a:gd name="T48" fmla="*/ 28747 w 259"/>
              <a:gd name="T49" fmla="*/ 0 h 129"/>
              <a:gd name="T50" fmla="*/ 21453 w 259"/>
              <a:gd name="T51" fmla="*/ 0 h 129"/>
              <a:gd name="T52" fmla="*/ 14588 w 259"/>
              <a:gd name="T53" fmla="*/ 1009 h 129"/>
              <a:gd name="T54" fmla="*/ 11584 w 259"/>
              <a:gd name="T55" fmla="*/ 2018 h 129"/>
              <a:gd name="T56" fmla="*/ 9010 w 259"/>
              <a:gd name="T57" fmla="*/ 3027 h 129"/>
              <a:gd name="T58" fmla="*/ 6007 w 259"/>
              <a:gd name="T59" fmla="*/ 4541 h 129"/>
              <a:gd name="T60" fmla="*/ 4291 w 259"/>
              <a:gd name="T61" fmla="*/ 6559 h 129"/>
              <a:gd name="T62" fmla="*/ 2145 w 259"/>
              <a:gd name="T63" fmla="*/ 8577 h 129"/>
              <a:gd name="T64" fmla="*/ 858 w 259"/>
              <a:gd name="T65" fmla="*/ 11100 h 129"/>
              <a:gd name="T66" fmla="*/ 0 w 259"/>
              <a:gd name="T67" fmla="*/ 14632 h 129"/>
              <a:gd name="T68" fmla="*/ 0 w 259"/>
              <a:gd name="T69" fmla="*/ 18164 h 129"/>
              <a:gd name="T70" fmla="*/ 0 w 259"/>
              <a:gd name="T71" fmla="*/ 24218 h 129"/>
              <a:gd name="T72" fmla="*/ 1287 w 259"/>
              <a:gd name="T73" fmla="*/ 29264 h 129"/>
              <a:gd name="T74" fmla="*/ 2574 w 259"/>
              <a:gd name="T75" fmla="*/ 32796 h 129"/>
              <a:gd name="T76" fmla="*/ 5149 w 259"/>
              <a:gd name="T77" fmla="*/ 35823 h 129"/>
              <a:gd name="T78" fmla="*/ 7294 w 259"/>
              <a:gd name="T79" fmla="*/ 38346 h 129"/>
              <a:gd name="T80" fmla="*/ 10297 w 259"/>
              <a:gd name="T81" fmla="*/ 40364 h 129"/>
              <a:gd name="T82" fmla="*/ 13301 w 259"/>
              <a:gd name="T83" fmla="*/ 41878 h 129"/>
              <a:gd name="T84" fmla="*/ 15875 w 259"/>
              <a:gd name="T85" fmla="*/ 42887 h 129"/>
              <a:gd name="T86" fmla="*/ 21453 w 259"/>
              <a:gd name="T87" fmla="*/ 44400 h 129"/>
              <a:gd name="T88" fmla="*/ 26172 w 259"/>
              <a:gd name="T89" fmla="*/ 46419 h 129"/>
              <a:gd name="T90" fmla="*/ 27889 w 259"/>
              <a:gd name="T91" fmla="*/ 47932 h 129"/>
              <a:gd name="T92" fmla="*/ 28747 w 259"/>
              <a:gd name="T93" fmla="*/ 49950 h 129"/>
              <a:gd name="T94" fmla="*/ 28747 w 259"/>
              <a:gd name="T95" fmla="*/ 52978 h 129"/>
              <a:gd name="T96" fmla="*/ 28318 w 259"/>
              <a:gd name="T97" fmla="*/ 56005 h 129"/>
              <a:gd name="T98" fmla="*/ 34753 w 259"/>
              <a:gd name="T99" fmla="*/ 55501 h 129"/>
              <a:gd name="T100" fmla="*/ 39044 w 259"/>
              <a:gd name="T101" fmla="*/ 54491 h 129"/>
              <a:gd name="T102" fmla="*/ 42047 w 259"/>
              <a:gd name="T103" fmla="*/ 53482 h 129"/>
              <a:gd name="T104" fmla="*/ 45051 w 259"/>
              <a:gd name="T105" fmla="*/ 52978 h 129"/>
              <a:gd name="T106" fmla="*/ 51486 w 259"/>
              <a:gd name="T107" fmla="*/ 53482 h 129"/>
              <a:gd name="T108" fmla="*/ 60068 w 259"/>
              <a:gd name="T109" fmla="*/ 54491 h 129"/>
              <a:gd name="T110" fmla="*/ 71223 w 259"/>
              <a:gd name="T111" fmla="*/ 56510 h 129"/>
              <a:gd name="T112" fmla="*/ 82378 w 259"/>
              <a:gd name="T113" fmla="*/ 59032 h 129"/>
              <a:gd name="T114" fmla="*/ 102115 w 259"/>
              <a:gd name="T115" fmla="*/ 63069 h 129"/>
              <a:gd name="T116" fmla="*/ 111125 w 259"/>
              <a:gd name="T117" fmla="*/ 6508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95" name="Freeform 345">
            <a:extLst>
              <a:ext uri="{FF2B5EF4-FFF2-40B4-BE49-F238E27FC236}">
                <a16:creationId xmlns:a16="http://schemas.microsoft.com/office/drawing/2014/main" id="{FA8C7576-E8D6-4708-94E0-D8059B90F8DC}"/>
              </a:ext>
            </a:extLst>
          </p:cNvPr>
          <p:cNvSpPr>
            <a:spLocks/>
          </p:cNvSpPr>
          <p:nvPr>
            <p:custDataLst>
              <p:tags r:id="rId248"/>
            </p:custDataLst>
          </p:nvPr>
        </p:nvSpPr>
        <p:spPr bwMode="auto">
          <a:xfrm>
            <a:off x="8657545" y="4361567"/>
            <a:ext cx="380625" cy="303154"/>
          </a:xfrm>
          <a:custGeom>
            <a:avLst/>
            <a:gdLst>
              <a:gd name="T0" fmla="*/ 176432 w 425"/>
              <a:gd name="T1" fmla="*/ 89297 h 272"/>
              <a:gd name="T2" fmla="*/ 167991 w 425"/>
              <a:gd name="T3" fmla="*/ 98752 h 272"/>
              <a:gd name="T4" fmla="*/ 161659 w 425"/>
              <a:gd name="T5" fmla="*/ 108207 h 272"/>
              <a:gd name="T6" fmla="*/ 162081 w 425"/>
              <a:gd name="T7" fmla="*/ 116086 h 272"/>
              <a:gd name="T8" fmla="*/ 164192 w 425"/>
              <a:gd name="T9" fmla="*/ 124490 h 272"/>
              <a:gd name="T10" fmla="*/ 158283 w 425"/>
              <a:gd name="T11" fmla="*/ 128167 h 272"/>
              <a:gd name="T12" fmla="*/ 146464 w 425"/>
              <a:gd name="T13" fmla="*/ 125016 h 272"/>
              <a:gd name="T14" fmla="*/ 136756 w 425"/>
              <a:gd name="T15" fmla="*/ 123440 h 272"/>
              <a:gd name="T16" fmla="*/ 124516 w 425"/>
              <a:gd name="T17" fmla="*/ 123440 h 272"/>
              <a:gd name="T18" fmla="*/ 111009 w 425"/>
              <a:gd name="T19" fmla="*/ 127642 h 272"/>
              <a:gd name="T20" fmla="*/ 97924 w 425"/>
              <a:gd name="T21" fmla="*/ 133420 h 272"/>
              <a:gd name="T22" fmla="*/ 83151 w 425"/>
              <a:gd name="T23" fmla="*/ 140249 h 272"/>
              <a:gd name="T24" fmla="*/ 42209 w 425"/>
              <a:gd name="T25" fmla="*/ 126066 h 272"/>
              <a:gd name="T26" fmla="*/ 35877 w 425"/>
              <a:gd name="T27" fmla="*/ 118712 h 272"/>
              <a:gd name="T28" fmla="*/ 29546 w 425"/>
              <a:gd name="T29" fmla="*/ 112409 h 272"/>
              <a:gd name="T30" fmla="*/ 15617 w 425"/>
              <a:gd name="T31" fmla="*/ 100853 h 272"/>
              <a:gd name="T32" fmla="*/ 9286 w 425"/>
              <a:gd name="T33" fmla="*/ 94550 h 272"/>
              <a:gd name="T34" fmla="*/ 4643 w 425"/>
              <a:gd name="T35" fmla="*/ 87721 h 272"/>
              <a:gd name="T36" fmla="*/ 844 w 425"/>
              <a:gd name="T37" fmla="*/ 78791 h 272"/>
              <a:gd name="T38" fmla="*/ 0 w 425"/>
              <a:gd name="T39" fmla="*/ 67761 h 272"/>
              <a:gd name="T40" fmla="*/ 21104 w 425"/>
              <a:gd name="T41" fmla="*/ 34668 h 272"/>
              <a:gd name="T42" fmla="*/ 29968 w 425"/>
              <a:gd name="T43" fmla="*/ 18910 h 272"/>
              <a:gd name="T44" fmla="*/ 33767 w 425"/>
              <a:gd name="T45" fmla="*/ 11556 h 272"/>
              <a:gd name="T46" fmla="*/ 35877 w 425"/>
              <a:gd name="T47" fmla="*/ 3152 h 272"/>
              <a:gd name="T48" fmla="*/ 51917 w 425"/>
              <a:gd name="T49" fmla="*/ 5253 h 272"/>
              <a:gd name="T50" fmla="*/ 64579 w 425"/>
              <a:gd name="T51" fmla="*/ 9455 h 272"/>
              <a:gd name="T52" fmla="*/ 75976 w 425"/>
              <a:gd name="T53" fmla="*/ 14182 h 272"/>
              <a:gd name="T54" fmla="*/ 86528 w 425"/>
              <a:gd name="T55" fmla="*/ 16284 h 272"/>
              <a:gd name="T56" fmla="*/ 90327 w 425"/>
              <a:gd name="T57" fmla="*/ 15233 h 272"/>
              <a:gd name="T58" fmla="*/ 93281 w 425"/>
              <a:gd name="T59" fmla="*/ 13657 h 272"/>
              <a:gd name="T60" fmla="*/ 97924 w 425"/>
              <a:gd name="T61" fmla="*/ 7879 h 272"/>
              <a:gd name="T62" fmla="*/ 102145 w 425"/>
              <a:gd name="T63" fmla="*/ 2626 h 272"/>
              <a:gd name="T64" fmla="*/ 105522 w 425"/>
              <a:gd name="T65" fmla="*/ 1051 h 272"/>
              <a:gd name="T66" fmla="*/ 109321 w 425"/>
              <a:gd name="T67" fmla="*/ 0 h 272"/>
              <a:gd name="T68" fmla="*/ 116074 w 425"/>
              <a:gd name="T69" fmla="*/ 1051 h 272"/>
              <a:gd name="T70" fmla="*/ 121983 w 425"/>
              <a:gd name="T71" fmla="*/ 3677 h 272"/>
              <a:gd name="T72" fmla="*/ 127470 w 425"/>
              <a:gd name="T73" fmla="*/ 7879 h 272"/>
              <a:gd name="T74" fmla="*/ 130847 w 425"/>
              <a:gd name="T75" fmla="*/ 13657 h 272"/>
              <a:gd name="T76" fmla="*/ 137178 w 425"/>
              <a:gd name="T77" fmla="*/ 27840 h 272"/>
              <a:gd name="T78" fmla="*/ 142243 w 425"/>
              <a:gd name="T79" fmla="*/ 43073 h 272"/>
              <a:gd name="T80" fmla="*/ 147308 w 425"/>
              <a:gd name="T81" fmla="*/ 59356 h 272"/>
              <a:gd name="T82" fmla="*/ 150263 w 425"/>
              <a:gd name="T83" fmla="*/ 66185 h 272"/>
              <a:gd name="T84" fmla="*/ 154062 w 425"/>
              <a:gd name="T85" fmla="*/ 72488 h 272"/>
              <a:gd name="T86" fmla="*/ 158705 w 425"/>
              <a:gd name="T87" fmla="*/ 77216 h 272"/>
              <a:gd name="T88" fmla="*/ 164192 w 425"/>
              <a:gd name="T89" fmla="*/ 81943 h 272"/>
              <a:gd name="T90" fmla="*/ 170945 w 425"/>
              <a:gd name="T91" fmla="*/ 84044 h 272"/>
              <a:gd name="T92" fmla="*/ 179387 w 425"/>
              <a:gd name="T93" fmla="*/ 84569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96" name="Freeform 346">
            <a:extLst>
              <a:ext uri="{FF2B5EF4-FFF2-40B4-BE49-F238E27FC236}">
                <a16:creationId xmlns:a16="http://schemas.microsoft.com/office/drawing/2014/main" id="{F380BBFE-72C0-4BB9-A015-C9DC7A6E3B2D}"/>
              </a:ext>
            </a:extLst>
          </p:cNvPr>
          <p:cNvSpPr>
            <a:spLocks/>
          </p:cNvSpPr>
          <p:nvPr>
            <p:custDataLst>
              <p:tags r:id="rId249"/>
            </p:custDataLst>
          </p:nvPr>
        </p:nvSpPr>
        <p:spPr bwMode="auto">
          <a:xfrm>
            <a:off x="4413392" y="6564484"/>
            <a:ext cx="30314" cy="117894"/>
          </a:xfrm>
          <a:custGeom>
            <a:avLst/>
            <a:gdLst>
              <a:gd name="T0" fmla="*/ 5628 w 33"/>
              <a:gd name="T1" fmla="*/ 10754 h 31"/>
              <a:gd name="T2" fmla="*/ 0 w 33"/>
              <a:gd name="T3" fmla="*/ 34055 h 31"/>
              <a:gd name="T4" fmla="*/ 2165 w 33"/>
              <a:gd name="T5" fmla="*/ 37639 h 31"/>
              <a:gd name="T6" fmla="*/ 6061 w 33"/>
              <a:gd name="T7" fmla="*/ 44809 h 31"/>
              <a:gd name="T8" fmla="*/ 8226 w 33"/>
              <a:gd name="T9" fmla="*/ 48394 h 31"/>
              <a:gd name="T10" fmla="*/ 9958 w 33"/>
              <a:gd name="T11" fmla="*/ 51978 h 31"/>
              <a:gd name="T12" fmla="*/ 11689 w 33"/>
              <a:gd name="T13" fmla="*/ 53771 h 31"/>
              <a:gd name="T14" fmla="*/ 14287 w 33"/>
              <a:gd name="T15" fmla="*/ 55563 h 31"/>
              <a:gd name="T16" fmla="*/ 14287 w 33"/>
              <a:gd name="T17" fmla="*/ 0 h 31"/>
              <a:gd name="T18" fmla="*/ 8659 w 33"/>
              <a:gd name="T19" fmla="*/ 0 h 31"/>
              <a:gd name="T20" fmla="*/ 5628 w 33"/>
              <a:gd name="T21" fmla="*/ 10754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97" name="Freeform 347">
            <a:extLst>
              <a:ext uri="{FF2B5EF4-FFF2-40B4-BE49-F238E27FC236}">
                <a16:creationId xmlns:a16="http://schemas.microsoft.com/office/drawing/2014/main" id="{D4B10085-B66C-4006-AA1C-364CD9D798EA}"/>
              </a:ext>
            </a:extLst>
          </p:cNvPr>
          <p:cNvSpPr>
            <a:spLocks/>
          </p:cNvSpPr>
          <p:nvPr>
            <p:custDataLst>
              <p:tags r:id="rId250"/>
            </p:custDataLst>
          </p:nvPr>
        </p:nvSpPr>
        <p:spPr bwMode="auto">
          <a:xfrm>
            <a:off x="8879858" y="4344726"/>
            <a:ext cx="181892" cy="168419"/>
          </a:xfrm>
          <a:custGeom>
            <a:avLst/>
            <a:gdLst>
              <a:gd name="T0" fmla="*/ 2679 w 192"/>
              <a:gd name="T1" fmla="*/ 9793 h 154"/>
              <a:gd name="T2" fmla="*/ 23217 w 192"/>
              <a:gd name="T3" fmla="*/ 0 h 154"/>
              <a:gd name="T4" fmla="*/ 41077 w 192"/>
              <a:gd name="T5" fmla="*/ 9793 h 154"/>
              <a:gd name="T6" fmla="*/ 53132 w 192"/>
              <a:gd name="T7" fmla="*/ 15978 h 154"/>
              <a:gd name="T8" fmla="*/ 65187 w 192"/>
              <a:gd name="T9" fmla="*/ 32472 h 154"/>
              <a:gd name="T10" fmla="*/ 74116 w 192"/>
              <a:gd name="T11" fmla="*/ 47934 h 154"/>
              <a:gd name="T12" fmla="*/ 85725 w 192"/>
              <a:gd name="T13" fmla="*/ 60820 h 154"/>
              <a:gd name="T14" fmla="*/ 67866 w 192"/>
              <a:gd name="T15" fmla="*/ 63912 h 154"/>
              <a:gd name="T16" fmla="*/ 56257 w 192"/>
              <a:gd name="T17" fmla="*/ 67005 h 154"/>
              <a:gd name="T18" fmla="*/ 56257 w 192"/>
              <a:gd name="T19" fmla="*/ 79375 h 154"/>
              <a:gd name="T20" fmla="*/ 47327 w 192"/>
              <a:gd name="T21" fmla="*/ 79375 h 154"/>
              <a:gd name="T22" fmla="*/ 44202 w 192"/>
              <a:gd name="T23" fmla="*/ 75252 h 154"/>
              <a:gd name="T24" fmla="*/ 41523 w 192"/>
              <a:gd name="T25" fmla="*/ 70613 h 154"/>
              <a:gd name="T26" fmla="*/ 39291 w 192"/>
              <a:gd name="T27" fmla="*/ 64943 h 154"/>
              <a:gd name="T28" fmla="*/ 36612 w 192"/>
              <a:gd name="T29" fmla="*/ 59274 h 154"/>
              <a:gd name="T30" fmla="*/ 33040 w 192"/>
              <a:gd name="T31" fmla="*/ 47934 h 154"/>
              <a:gd name="T32" fmla="*/ 29021 w 192"/>
              <a:gd name="T33" fmla="*/ 36595 h 154"/>
              <a:gd name="T34" fmla="*/ 26789 w 192"/>
              <a:gd name="T35" fmla="*/ 31441 h 154"/>
              <a:gd name="T36" fmla="*/ 24557 w 192"/>
              <a:gd name="T37" fmla="*/ 25771 h 154"/>
              <a:gd name="T38" fmla="*/ 21431 w 192"/>
              <a:gd name="T39" fmla="*/ 21648 h 154"/>
              <a:gd name="T40" fmla="*/ 18306 w 192"/>
              <a:gd name="T41" fmla="*/ 17524 h 154"/>
              <a:gd name="T42" fmla="*/ 14734 w 192"/>
              <a:gd name="T43" fmla="*/ 14432 h 154"/>
              <a:gd name="T44" fmla="*/ 10716 w 192"/>
              <a:gd name="T45" fmla="*/ 11855 h 154"/>
              <a:gd name="T46" fmla="*/ 8037 w 192"/>
              <a:gd name="T47" fmla="*/ 11339 h 154"/>
              <a:gd name="T48" fmla="*/ 5358 w 192"/>
              <a:gd name="T49" fmla="*/ 10308 h 154"/>
              <a:gd name="T50" fmla="*/ 2679 w 192"/>
              <a:gd name="T51" fmla="*/ 10308 h 154"/>
              <a:gd name="T52" fmla="*/ 0 w 192"/>
              <a:gd name="T53" fmla="*/ 9793 h 154"/>
              <a:gd name="T54" fmla="*/ 2679 w 192"/>
              <a:gd name="T55" fmla="*/ 9793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898" name="Freeform 348">
            <a:extLst>
              <a:ext uri="{FF2B5EF4-FFF2-40B4-BE49-F238E27FC236}">
                <a16:creationId xmlns:a16="http://schemas.microsoft.com/office/drawing/2014/main" id="{25437376-6185-4F0F-80E4-9BC514B8D992}"/>
              </a:ext>
            </a:extLst>
          </p:cNvPr>
          <p:cNvSpPr>
            <a:spLocks/>
          </p:cNvSpPr>
          <p:nvPr>
            <p:custDataLst>
              <p:tags r:id="rId251"/>
            </p:custDataLst>
          </p:nvPr>
        </p:nvSpPr>
        <p:spPr bwMode="auto">
          <a:xfrm>
            <a:off x="8704702" y="4095466"/>
            <a:ext cx="808410" cy="525467"/>
          </a:xfrm>
          <a:custGeom>
            <a:avLst/>
            <a:gdLst>
              <a:gd name="T0" fmla="*/ 170299 w 877"/>
              <a:gd name="T1" fmla="*/ 179533 h 469"/>
              <a:gd name="T2" fmla="*/ 138585 w 877"/>
              <a:gd name="T3" fmla="*/ 133594 h 469"/>
              <a:gd name="T4" fmla="*/ 89494 w 877"/>
              <a:gd name="T5" fmla="*/ 127257 h 469"/>
              <a:gd name="T6" fmla="*/ 82977 w 877"/>
              <a:gd name="T7" fmla="*/ 128313 h 469"/>
              <a:gd name="T8" fmla="*/ 77330 w 877"/>
              <a:gd name="T9" fmla="*/ 132538 h 469"/>
              <a:gd name="T10" fmla="*/ 70379 w 877"/>
              <a:gd name="T11" fmla="*/ 140986 h 469"/>
              <a:gd name="T12" fmla="*/ 65600 w 877"/>
              <a:gd name="T13" fmla="*/ 143098 h 469"/>
              <a:gd name="T14" fmla="*/ 52567 w 877"/>
              <a:gd name="T15" fmla="*/ 141514 h 469"/>
              <a:gd name="T16" fmla="*/ 34320 w 877"/>
              <a:gd name="T17" fmla="*/ 134650 h 469"/>
              <a:gd name="T18" fmla="*/ 11295 w 877"/>
              <a:gd name="T19" fmla="*/ 130425 h 469"/>
              <a:gd name="T20" fmla="*/ 3475 w 877"/>
              <a:gd name="T21" fmla="*/ 111944 h 469"/>
              <a:gd name="T22" fmla="*/ 5648 w 877"/>
              <a:gd name="T23" fmla="*/ 98743 h 469"/>
              <a:gd name="T24" fmla="*/ 5648 w 877"/>
              <a:gd name="T25" fmla="*/ 95047 h 469"/>
              <a:gd name="T26" fmla="*/ 9992 w 877"/>
              <a:gd name="T27" fmla="*/ 76038 h 469"/>
              <a:gd name="T28" fmla="*/ 19115 w 877"/>
              <a:gd name="T29" fmla="*/ 59140 h 469"/>
              <a:gd name="T30" fmla="*/ 23460 w 877"/>
              <a:gd name="T31" fmla="*/ 48580 h 469"/>
              <a:gd name="T32" fmla="*/ 11295 w 877"/>
              <a:gd name="T33" fmla="*/ 26402 h 469"/>
              <a:gd name="T34" fmla="*/ 75157 w 877"/>
              <a:gd name="T35" fmla="*/ 13729 h 469"/>
              <a:gd name="T36" fmla="*/ 147274 w 877"/>
              <a:gd name="T37" fmla="*/ 26402 h 469"/>
              <a:gd name="T38" fmla="*/ 170299 w 877"/>
              <a:gd name="T39" fmla="*/ 6864 h 469"/>
              <a:gd name="T40" fmla="*/ 210701 w 877"/>
              <a:gd name="T41" fmla="*/ 0 h 469"/>
              <a:gd name="T42" fmla="*/ 251538 w 877"/>
              <a:gd name="T43" fmla="*/ 20065 h 469"/>
              <a:gd name="T44" fmla="*/ 277170 w 877"/>
              <a:gd name="T45" fmla="*/ 58612 h 469"/>
              <a:gd name="T46" fmla="*/ 314966 w 877"/>
              <a:gd name="T47" fmla="*/ 58612 h 469"/>
              <a:gd name="T48" fmla="*/ 364057 w 877"/>
              <a:gd name="T49" fmla="*/ 81846 h 469"/>
              <a:gd name="T50" fmla="*/ 375352 w 877"/>
              <a:gd name="T51" fmla="*/ 124089 h 469"/>
              <a:gd name="T52" fmla="*/ 349286 w 877"/>
              <a:gd name="T53" fmla="*/ 143626 h 469"/>
              <a:gd name="T54" fmla="*/ 327564 w 877"/>
              <a:gd name="T55" fmla="*/ 165276 h 469"/>
              <a:gd name="T56" fmla="*/ 298892 w 877"/>
              <a:gd name="T57" fmla="*/ 174253 h 469"/>
              <a:gd name="T58" fmla="*/ 288031 w 877"/>
              <a:gd name="T59" fmla="*/ 181117 h 469"/>
              <a:gd name="T60" fmla="*/ 281514 w 877"/>
              <a:gd name="T61" fmla="*/ 189038 h 469"/>
              <a:gd name="T62" fmla="*/ 280645 w 877"/>
              <a:gd name="T63" fmla="*/ 198014 h 469"/>
              <a:gd name="T64" fmla="*/ 283686 w 877"/>
              <a:gd name="T65" fmla="*/ 205935 h 469"/>
              <a:gd name="T66" fmla="*/ 289334 w 877"/>
              <a:gd name="T67" fmla="*/ 211743 h 469"/>
              <a:gd name="T68" fmla="*/ 308884 w 877"/>
              <a:gd name="T69" fmla="*/ 209103 h 469"/>
              <a:gd name="T70" fmla="*/ 321917 w 877"/>
              <a:gd name="T71" fmla="*/ 208047 h 469"/>
              <a:gd name="T72" fmla="*/ 318876 w 877"/>
              <a:gd name="T73" fmla="*/ 212799 h 469"/>
              <a:gd name="T74" fmla="*/ 311056 w 877"/>
              <a:gd name="T75" fmla="*/ 222304 h 469"/>
              <a:gd name="T76" fmla="*/ 303236 w 877"/>
              <a:gd name="T77" fmla="*/ 231281 h 469"/>
              <a:gd name="T78" fmla="*/ 299326 w 877"/>
              <a:gd name="T79" fmla="*/ 221248 h 469"/>
              <a:gd name="T80" fmla="*/ 291506 w 877"/>
              <a:gd name="T81" fmla="*/ 215440 h 469"/>
              <a:gd name="T82" fmla="*/ 289334 w 877"/>
              <a:gd name="T83" fmla="*/ 223360 h 469"/>
              <a:gd name="T84" fmla="*/ 279342 w 877"/>
              <a:gd name="T85" fmla="*/ 233393 h 469"/>
              <a:gd name="T86" fmla="*/ 268916 w 877"/>
              <a:gd name="T87" fmla="*/ 242898 h 469"/>
              <a:gd name="T88" fmla="*/ 265440 w 877"/>
              <a:gd name="T89" fmla="*/ 247650 h 469"/>
              <a:gd name="T90" fmla="*/ 258489 w 877"/>
              <a:gd name="T91" fmla="*/ 245010 h 469"/>
              <a:gd name="T92" fmla="*/ 253710 w 877"/>
              <a:gd name="T93" fmla="*/ 240257 h 469"/>
              <a:gd name="T94" fmla="*/ 249800 w 877"/>
              <a:gd name="T95" fmla="*/ 231809 h 469"/>
              <a:gd name="T96" fmla="*/ 248497 w 877"/>
              <a:gd name="T97" fmla="*/ 215440 h 469"/>
              <a:gd name="T98" fmla="*/ 238071 w 877"/>
              <a:gd name="T99" fmla="*/ 213328 h 469"/>
              <a:gd name="T100" fmla="*/ 225038 w 877"/>
              <a:gd name="T101" fmla="*/ 205407 h 469"/>
              <a:gd name="T102" fmla="*/ 242849 w 877"/>
              <a:gd name="T103" fmla="*/ 200127 h 469"/>
              <a:gd name="T104" fmla="*/ 271522 w 877"/>
              <a:gd name="T105" fmla="*/ 195374 h 469"/>
              <a:gd name="T106" fmla="*/ 214177 w 877"/>
              <a:gd name="T107" fmla="*/ 186926 h 469"/>
              <a:gd name="T108" fmla="*/ 193324 w 877"/>
              <a:gd name="T109" fmla="*/ 175837 h 469"/>
              <a:gd name="T110" fmla="*/ 172905 w 877"/>
              <a:gd name="T111" fmla="*/ 194846 h 469"/>
              <a:gd name="T112" fmla="*/ 165086 w 877"/>
              <a:gd name="T113" fmla="*/ 208575 h 469"/>
              <a:gd name="T114" fmla="*/ 153356 w 877"/>
              <a:gd name="T115" fmla="*/ 211215 h 469"/>
              <a:gd name="T116" fmla="*/ 142495 w 877"/>
              <a:gd name="T117" fmla="*/ 206991 h 469"/>
              <a:gd name="T118" fmla="*/ 132937 w 877"/>
              <a:gd name="T119" fmla="*/ 198542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899" name="Freeform 349">
            <a:extLst>
              <a:ext uri="{FF2B5EF4-FFF2-40B4-BE49-F238E27FC236}">
                <a16:creationId xmlns:a16="http://schemas.microsoft.com/office/drawing/2014/main" id="{C3C1FE4E-22B7-4074-BDE0-6243643999ED}"/>
              </a:ext>
            </a:extLst>
          </p:cNvPr>
          <p:cNvSpPr>
            <a:spLocks/>
          </p:cNvSpPr>
          <p:nvPr>
            <p:custDataLst>
              <p:tags r:id="rId252"/>
            </p:custDataLst>
          </p:nvPr>
        </p:nvSpPr>
        <p:spPr bwMode="auto">
          <a:xfrm>
            <a:off x="9789319" y="4823035"/>
            <a:ext cx="101051" cy="134735"/>
          </a:xfrm>
          <a:custGeom>
            <a:avLst/>
            <a:gdLst>
              <a:gd name="T0" fmla="*/ 21364 w 107"/>
              <a:gd name="T1" fmla="*/ 0 h 123"/>
              <a:gd name="T2" fmla="*/ 36053 w 107"/>
              <a:gd name="T3" fmla="*/ 16004 h 123"/>
              <a:gd name="T4" fmla="*/ 41839 w 107"/>
              <a:gd name="T5" fmla="*/ 34589 h 123"/>
              <a:gd name="T6" fmla="*/ 47625 w 107"/>
              <a:gd name="T7" fmla="*/ 44398 h 123"/>
              <a:gd name="T8" fmla="*/ 47625 w 107"/>
              <a:gd name="T9" fmla="*/ 60402 h 123"/>
              <a:gd name="T10" fmla="*/ 47625 w 107"/>
              <a:gd name="T11" fmla="*/ 63500 h 123"/>
              <a:gd name="T12" fmla="*/ 39168 w 107"/>
              <a:gd name="T13" fmla="*/ 58854 h 123"/>
              <a:gd name="T14" fmla="*/ 32492 w 107"/>
              <a:gd name="T15" fmla="*/ 54207 h 123"/>
              <a:gd name="T16" fmla="*/ 27151 w 107"/>
              <a:gd name="T17" fmla="*/ 50593 h 123"/>
              <a:gd name="T18" fmla="*/ 24035 w 107"/>
              <a:gd name="T19" fmla="*/ 47496 h 123"/>
              <a:gd name="T20" fmla="*/ 22700 w 107"/>
              <a:gd name="T21" fmla="*/ 42850 h 123"/>
              <a:gd name="T22" fmla="*/ 21364 w 107"/>
              <a:gd name="T23" fmla="*/ 37687 h 123"/>
              <a:gd name="T24" fmla="*/ 17359 w 107"/>
              <a:gd name="T25" fmla="*/ 38203 h 123"/>
              <a:gd name="T26" fmla="*/ 14243 w 107"/>
              <a:gd name="T27" fmla="*/ 37687 h 123"/>
              <a:gd name="T28" fmla="*/ 11572 w 107"/>
              <a:gd name="T29" fmla="*/ 37171 h 123"/>
              <a:gd name="T30" fmla="*/ 9347 w 107"/>
              <a:gd name="T31" fmla="*/ 36138 h 123"/>
              <a:gd name="T32" fmla="*/ 7567 w 107"/>
              <a:gd name="T33" fmla="*/ 34589 h 123"/>
              <a:gd name="T34" fmla="*/ 6231 w 107"/>
              <a:gd name="T35" fmla="*/ 32524 h 123"/>
              <a:gd name="T36" fmla="*/ 4896 w 107"/>
              <a:gd name="T37" fmla="*/ 30459 h 123"/>
              <a:gd name="T38" fmla="*/ 4006 w 107"/>
              <a:gd name="T39" fmla="*/ 27878 h 123"/>
              <a:gd name="T40" fmla="*/ 1780 w 107"/>
              <a:gd name="T41" fmla="*/ 16004 h 123"/>
              <a:gd name="T42" fmla="*/ 0 w 107"/>
              <a:gd name="T43" fmla="*/ 3098 h 123"/>
              <a:gd name="T44" fmla="*/ 15133 w 107"/>
              <a:gd name="T45" fmla="*/ 0 h 123"/>
              <a:gd name="T46" fmla="*/ 21364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900" name="Freeform 350">
            <a:extLst>
              <a:ext uri="{FF2B5EF4-FFF2-40B4-BE49-F238E27FC236}">
                <a16:creationId xmlns:a16="http://schemas.microsoft.com/office/drawing/2014/main" id="{5ED4F8A3-7C31-4A9A-B351-2A6C7B601B18}"/>
              </a:ext>
            </a:extLst>
          </p:cNvPr>
          <p:cNvSpPr>
            <a:spLocks/>
          </p:cNvSpPr>
          <p:nvPr>
            <p:custDataLst>
              <p:tags r:id="rId253"/>
            </p:custDataLst>
          </p:nvPr>
        </p:nvSpPr>
        <p:spPr bwMode="auto">
          <a:xfrm>
            <a:off x="10941303" y="4853350"/>
            <a:ext cx="441256" cy="259366"/>
          </a:xfrm>
          <a:custGeom>
            <a:avLst/>
            <a:gdLst>
              <a:gd name="T0" fmla="*/ 46802 w 471"/>
              <a:gd name="T1" fmla="*/ 35000 h 234"/>
              <a:gd name="T2" fmla="*/ 73294 w 471"/>
              <a:gd name="T3" fmla="*/ 44925 h 234"/>
              <a:gd name="T4" fmla="*/ 120097 w 471"/>
              <a:gd name="T5" fmla="*/ 54850 h 234"/>
              <a:gd name="T6" fmla="*/ 164250 w 471"/>
              <a:gd name="T7" fmla="*/ 44925 h 234"/>
              <a:gd name="T8" fmla="*/ 169107 w 471"/>
              <a:gd name="T9" fmla="*/ 49627 h 234"/>
              <a:gd name="T10" fmla="*/ 172639 w 471"/>
              <a:gd name="T11" fmla="*/ 59552 h 234"/>
              <a:gd name="T12" fmla="*/ 179262 w 471"/>
              <a:gd name="T13" fmla="*/ 64776 h 234"/>
              <a:gd name="T14" fmla="*/ 187210 w 471"/>
              <a:gd name="T15" fmla="*/ 67388 h 234"/>
              <a:gd name="T16" fmla="*/ 191184 w 471"/>
              <a:gd name="T17" fmla="*/ 70000 h 234"/>
              <a:gd name="T18" fmla="*/ 194716 w 471"/>
              <a:gd name="T19" fmla="*/ 73656 h 234"/>
              <a:gd name="T20" fmla="*/ 197807 w 471"/>
              <a:gd name="T21" fmla="*/ 78880 h 234"/>
              <a:gd name="T22" fmla="*/ 200897 w 471"/>
              <a:gd name="T23" fmla="*/ 88805 h 234"/>
              <a:gd name="T24" fmla="*/ 207962 w 471"/>
              <a:gd name="T25" fmla="*/ 99253 h 234"/>
              <a:gd name="T26" fmla="*/ 154537 w 471"/>
              <a:gd name="T27" fmla="*/ 105522 h 234"/>
              <a:gd name="T28" fmla="*/ 145706 w 471"/>
              <a:gd name="T29" fmla="*/ 117014 h 234"/>
              <a:gd name="T30" fmla="*/ 139966 w 471"/>
              <a:gd name="T31" fmla="*/ 121716 h 234"/>
              <a:gd name="T32" fmla="*/ 135109 w 471"/>
              <a:gd name="T33" fmla="*/ 121716 h 234"/>
              <a:gd name="T34" fmla="*/ 131577 w 471"/>
              <a:gd name="T35" fmla="*/ 120148 h 234"/>
              <a:gd name="T36" fmla="*/ 128928 w 471"/>
              <a:gd name="T37" fmla="*/ 117014 h 234"/>
              <a:gd name="T38" fmla="*/ 127603 w 471"/>
              <a:gd name="T39" fmla="*/ 112835 h 234"/>
              <a:gd name="T40" fmla="*/ 125395 w 471"/>
              <a:gd name="T41" fmla="*/ 103955 h 234"/>
              <a:gd name="T42" fmla="*/ 122746 w 471"/>
              <a:gd name="T43" fmla="*/ 90895 h 234"/>
              <a:gd name="T44" fmla="*/ 118772 w 471"/>
              <a:gd name="T45" fmla="*/ 80970 h 234"/>
              <a:gd name="T46" fmla="*/ 113915 w 471"/>
              <a:gd name="T47" fmla="*/ 77313 h 234"/>
              <a:gd name="T48" fmla="*/ 108617 w 471"/>
              <a:gd name="T49" fmla="*/ 73656 h 234"/>
              <a:gd name="T50" fmla="*/ 104202 w 471"/>
              <a:gd name="T51" fmla="*/ 69477 h 234"/>
              <a:gd name="T52" fmla="*/ 98903 w 471"/>
              <a:gd name="T53" fmla="*/ 73134 h 234"/>
              <a:gd name="T54" fmla="*/ 91397 w 471"/>
              <a:gd name="T55" fmla="*/ 84626 h 234"/>
              <a:gd name="T56" fmla="*/ 88307 w 471"/>
              <a:gd name="T57" fmla="*/ 92462 h 234"/>
              <a:gd name="T58" fmla="*/ 83008 w 471"/>
              <a:gd name="T59" fmla="*/ 99253 h 234"/>
              <a:gd name="T60" fmla="*/ 73736 w 471"/>
              <a:gd name="T61" fmla="*/ 104999 h 234"/>
              <a:gd name="T62" fmla="*/ 64905 w 471"/>
              <a:gd name="T63" fmla="*/ 111268 h 234"/>
              <a:gd name="T64" fmla="*/ 57399 w 471"/>
              <a:gd name="T65" fmla="*/ 114402 h 234"/>
              <a:gd name="T66" fmla="*/ 50335 w 471"/>
              <a:gd name="T67" fmla="*/ 115969 h 234"/>
              <a:gd name="T68" fmla="*/ 42829 w 471"/>
              <a:gd name="T69" fmla="*/ 115447 h 234"/>
              <a:gd name="T70" fmla="*/ 36206 w 471"/>
              <a:gd name="T71" fmla="*/ 113357 h 234"/>
              <a:gd name="T72" fmla="*/ 27817 w 471"/>
              <a:gd name="T73" fmla="*/ 107089 h 234"/>
              <a:gd name="T74" fmla="*/ 26050 w 471"/>
              <a:gd name="T75" fmla="*/ 102910 h 234"/>
              <a:gd name="T76" fmla="*/ 26050 w 471"/>
              <a:gd name="T77" fmla="*/ 70522 h 234"/>
              <a:gd name="T78" fmla="*/ 0 w 471"/>
              <a:gd name="T79" fmla="*/ 51194 h 234"/>
              <a:gd name="T80" fmla="*/ 23401 w 471"/>
              <a:gd name="T81" fmla="*/ 41791 h 234"/>
              <a:gd name="T82" fmla="*/ 37972 w 471"/>
              <a:gd name="T83" fmla="*/ 15672 h 234"/>
              <a:gd name="T84" fmla="*/ 58724 w 471"/>
              <a:gd name="T85" fmla="*/ 0 h 234"/>
              <a:gd name="T86" fmla="*/ 73294 w 471"/>
              <a:gd name="T87" fmla="*/ 2194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901" name="Freeform 351">
            <a:extLst>
              <a:ext uri="{FF2B5EF4-FFF2-40B4-BE49-F238E27FC236}">
                <a16:creationId xmlns:a16="http://schemas.microsoft.com/office/drawing/2014/main" id="{3B1FB938-32F6-470A-A40F-67E08B108256}"/>
              </a:ext>
            </a:extLst>
          </p:cNvPr>
          <p:cNvSpPr>
            <a:spLocks/>
          </p:cNvSpPr>
          <p:nvPr>
            <p:custDataLst>
              <p:tags r:id="rId254"/>
            </p:custDataLst>
          </p:nvPr>
        </p:nvSpPr>
        <p:spPr bwMode="auto">
          <a:xfrm>
            <a:off x="11045722" y="4701774"/>
            <a:ext cx="478309" cy="266101"/>
          </a:xfrm>
          <a:custGeom>
            <a:avLst/>
            <a:gdLst>
              <a:gd name="T0" fmla="*/ 45514 w 525"/>
              <a:gd name="T1" fmla="*/ 96271 h 241"/>
              <a:gd name="T2" fmla="*/ 74283 w 525"/>
              <a:gd name="T3" fmla="*/ 77016 h 241"/>
              <a:gd name="T4" fmla="*/ 39932 w 525"/>
              <a:gd name="T5" fmla="*/ 54640 h 241"/>
              <a:gd name="T6" fmla="*/ 20181 w 525"/>
              <a:gd name="T7" fmla="*/ 60885 h 241"/>
              <a:gd name="T8" fmla="*/ 28339 w 525"/>
              <a:gd name="T9" fmla="*/ 31743 h 241"/>
              <a:gd name="T10" fmla="*/ 17175 w 525"/>
              <a:gd name="T11" fmla="*/ 22376 h 241"/>
              <a:gd name="T12" fmla="*/ 48091 w 525"/>
              <a:gd name="T13" fmla="*/ 13010 h 241"/>
              <a:gd name="T14" fmla="*/ 79865 w 525"/>
              <a:gd name="T15" fmla="*/ 0 h 241"/>
              <a:gd name="T16" fmla="*/ 133967 w 525"/>
              <a:gd name="T17" fmla="*/ 9887 h 241"/>
              <a:gd name="T18" fmla="*/ 188498 w 525"/>
              <a:gd name="T19" fmla="*/ 13010 h 241"/>
              <a:gd name="T20" fmla="*/ 225425 w 525"/>
              <a:gd name="T21" fmla="*/ 28621 h 241"/>
              <a:gd name="T22" fmla="*/ 222849 w 525"/>
              <a:gd name="T23" fmla="*/ 35906 h 241"/>
              <a:gd name="T24" fmla="*/ 218984 w 525"/>
              <a:gd name="T25" fmla="*/ 42671 h 241"/>
              <a:gd name="T26" fmla="*/ 214261 w 525"/>
              <a:gd name="T27" fmla="*/ 47875 h 241"/>
              <a:gd name="T28" fmla="*/ 208250 w 525"/>
              <a:gd name="T29" fmla="*/ 51518 h 241"/>
              <a:gd name="T30" fmla="*/ 189786 w 525"/>
              <a:gd name="T31" fmla="*/ 53599 h 241"/>
              <a:gd name="T32" fmla="*/ 179481 w 525"/>
              <a:gd name="T33" fmla="*/ 55681 h 241"/>
              <a:gd name="T34" fmla="*/ 174758 w 525"/>
              <a:gd name="T35" fmla="*/ 57762 h 241"/>
              <a:gd name="T36" fmla="*/ 171323 w 525"/>
              <a:gd name="T37" fmla="*/ 60885 h 241"/>
              <a:gd name="T38" fmla="*/ 166170 w 525"/>
              <a:gd name="T39" fmla="*/ 70772 h 241"/>
              <a:gd name="T40" fmla="*/ 162306 w 525"/>
              <a:gd name="T41" fmla="*/ 76496 h 241"/>
              <a:gd name="T42" fmla="*/ 156724 w 525"/>
              <a:gd name="T43" fmla="*/ 80139 h 241"/>
              <a:gd name="T44" fmla="*/ 130961 w 525"/>
              <a:gd name="T45" fmla="*/ 86383 h 241"/>
              <a:gd name="T46" fmla="*/ 117221 w 525"/>
              <a:gd name="T47" fmla="*/ 90026 h 241"/>
              <a:gd name="T48" fmla="*/ 111639 w 525"/>
              <a:gd name="T49" fmla="*/ 92628 h 241"/>
              <a:gd name="T50" fmla="*/ 112068 w 525"/>
              <a:gd name="T51" fmla="*/ 99913 h 241"/>
              <a:gd name="T52" fmla="*/ 112927 w 525"/>
              <a:gd name="T53" fmla="*/ 105637 h 241"/>
              <a:gd name="T54" fmla="*/ 117221 w 525"/>
              <a:gd name="T55" fmla="*/ 115525 h 241"/>
              <a:gd name="T56" fmla="*/ 94034 w 525"/>
              <a:gd name="T57" fmla="*/ 118647 h 241"/>
              <a:gd name="T58" fmla="*/ 48091 w 525"/>
              <a:gd name="T59" fmla="*/ 121769 h 241"/>
              <a:gd name="T60" fmla="*/ 8588 w 525"/>
              <a:gd name="T61" fmla="*/ 115525 h 241"/>
              <a:gd name="T62" fmla="*/ 22757 w 525"/>
              <a:gd name="T63" fmla="*/ 86383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902" name="Freeform 352">
            <a:extLst>
              <a:ext uri="{FF2B5EF4-FFF2-40B4-BE49-F238E27FC236}">
                <a16:creationId xmlns:a16="http://schemas.microsoft.com/office/drawing/2014/main" id="{91C8C447-D4FC-4917-A98C-52FC8E2FF24B}"/>
              </a:ext>
            </a:extLst>
          </p:cNvPr>
          <p:cNvSpPr>
            <a:spLocks/>
          </p:cNvSpPr>
          <p:nvPr>
            <p:custDataLst>
              <p:tags r:id="rId255"/>
            </p:custDataLst>
          </p:nvPr>
        </p:nvSpPr>
        <p:spPr bwMode="auto">
          <a:xfrm>
            <a:off x="10210365" y="4735458"/>
            <a:ext cx="727569" cy="481677"/>
          </a:xfrm>
          <a:custGeom>
            <a:avLst/>
            <a:gdLst>
              <a:gd name="T0" fmla="*/ 335902 w 784"/>
              <a:gd name="T1" fmla="*/ 154157 h 430"/>
              <a:gd name="T2" fmla="*/ 328467 w 784"/>
              <a:gd name="T3" fmla="*/ 154685 h 430"/>
              <a:gd name="T4" fmla="*/ 319719 w 784"/>
              <a:gd name="T5" fmla="*/ 159436 h 430"/>
              <a:gd name="T6" fmla="*/ 316220 w 784"/>
              <a:gd name="T7" fmla="*/ 162604 h 430"/>
              <a:gd name="T8" fmla="*/ 313596 w 784"/>
              <a:gd name="T9" fmla="*/ 175274 h 430"/>
              <a:gd name="T10" fmla="*/ 311847 w 784"/>
              <a:gd name="T11" fmla="*/ 190057 h 430"/>
              <a:gd name="T12" fmla="*/ 307910 w 784"/>
              <a:gd name="T13" fmla="*/ 198504 h 430"/>
              <a:gd name="T14" fmla="*/ 293477 w 784"/>
              <a:gd name="T15" fmla="*/ 212230 h 430"/>
              <a:gd name="T16" fmla="*/ 276857 w 784"/>
              <a:gd name="T17" fmla="*/ 221733 h 430"/>
              <a:gd name="T18" fmla="*/ 267672 w 784"/>
              <a:gd name="T19" fmla="*/ 223844 h 430"/>
              <a:gd name="T20" fmla="*/ 256738 w 784"/>
              <a:gd name="T21" fmla="*/ 226484 h 430"/>
              <a:gd name="T22" fmla="*/ 247990 w 784"/>
              <a:gd name="T23" fmla="*/ 225956 h 430"/>
              <a:gd name="T24" fmla="*/ 238368 w 784"/>
              <a:gd name="T25" fmla="*/ 204839 h 430"/>
              <a:gd name="T26" fmla="*/ 225247 w 784"/>
              <a:gd name="T27" fmla="*/ 181610 h 430"/>
              <a:gd name="T28" fmla="*/ 209064 w 784"/>
              <a:gd name="T29" fmla="*/ 176330 h 430"/>
              <a:gd name="T30" fmla="*/ 195943 w 784"/>
              <a:gd name="T31" fmla="*/ 166299 h 430"/>
              <a:gd name="T32" fmla="*/ 182384 w 784"/>
              <a:gd name="T33" fmla="*/ 155213 h 430"/>
              <a:gd name="T34" fmla="*/ 163140 w 784"/>
              <a:gd name="T35" fmla="*/ 144654 h 430"/>
              <a:gd name="T36" fmla="*/ 133836 w 784"/>
              <a:gd name="T37" fmla="*/ 136207 h 430"/>
              <a:gd name="T38" fmla="*/ 79602 w 784"/>
              <a:gd name="T39" fmla="*/ 149406 h 430"/>
              <a:gd name="T40" fmla="*/ 66043 w 784"/>
              <a:gd name="T41" fmla="*/ 161548 h 430"/>
              <a:gd name="T42" fmla="*/ 55546 w 784"/>
              <a:gd name="T43" fmla="*/ 162604 h 430"/>
              <a:gd name="T44" fmla="*/ 28867 w 784"/>
              <a:gd name="T45" fmla="*/ 133040 h 430"/>
              <a:gd name="T46" fmla="*/ 28867 w 784"/>
              <a:gd name="T47" fmla="*/ 107699 h 430"/>
              <a:gd name="T48" fmla="*/ 17495 w 784"/>
              <a:gd name="T49" fmla="*/ 94500 h 430"/>
              <a:gd name="T50" fmla="*/ 18370 w 784"/>
              <a:gd name="T51" fmla="*/ 105059 h 430"/>
              <a:gd name="T52" fmla="*/ 15745 w 784"/>
              <a:gd name="T53" fmla="*/ 115090 h 430"/>
              <a:gd name="T54" fmla="*/ 13121 w 784"/>
              <a:gd name="T55" fmla="*/ 116674 h 430"/>
              <a:gd name="T56" fmla="*/ 13559 w 784"/>
              <a:gd name="T57" fmla="*/ 107171 h 430"/>
              <a:gd name="T58" fmla="*/ 11809 w 784"/>
              <a:gd name="T59" fmla="*/ 91861 h 430"/>
              <a:gd name="T60" fmla="*/ 14433 w 784"/>
              <a:gd name="T61" fmla="*/ 86053 h 430"/>
              <a:gd name="T62" fmla="*/ 17495 w 784"/>
              <a:gd name="T63" fmla="*/ 80246 h 430"/>
              <a:gd name="T64" fmla="*/ 11809 w 784"/>
              <a:gd name="T65" fmla="*/ 68104 h 430"/>
              <a:gd name="T66" fmla="*/ 3062 w 784"/>
              <a:gd name="T67" fmla="*/ 66520 h 430"/>
              <a:gd name="T68" fmla="*/ 0 w 784"/>
              <a:gd name="T69" fmla="*/ 61768 h 430"/>
              <a:gd name="T70" fmla="*/ 1312 w 784"/>
              <a:gd name="T71" fmla="*/ 54905 h 430"/>
              <a:gd name="T72" fmla="*/ 4811 w 784"/>
              <a:gd name="T73" fmla="*/ 49626 h 430"/>
              <a:gd name="T74" fmla="*/ 11809 w 784"/>
              <a:gd name="T75" fmla="*/ 48570 h 430"/>
              <a:gd name="T76" fmla="*/ 17932 w 784"/>
              <a:gd name="T77" fmla="*/ 52266 h 430"/>
              <a:gd name="T78" fmla="*/ 24930 w 784"/>
              <a:gd name="T79" fmla="*/ 54905 h 430"/>
              <a:gd name="T80" fmla="*/ 31053 w 784"/>
              <a:gd name="T81" fmla="*/ 48570 h 430"/>
              <a:gd name="T82" fmla="*/ 36302 w 784"/>
              <a:gd name="T83" fmla="*/ 40651 h 430"/>
              <a:gd name="T84" fmla="*/ 38051 w 784"/>
              <a:gd name="T85" fmla="*/ 33788 h 430"/>
              <a:gd name="T86" fmla="*/ 34115 w 784"/>
              <a:gd name="T87" fmla="*/ 29036 h 430"/>
              <a:gd name="T88" fmla="*/ 24055 w 784"/>
              <a:gd name="T89" fmla="*/ 25869 h 430"/>
              <a:gd name="T90" fmla="*/ 20557 w 784"/>
              <a:gd name="T91" fmla="*/ 21117 h 430"/>
              <a:gd name="T92" fmla="*/ 17932 w 784"/>
              <a:gd name="T93" fmla="*/ 14782 h 430"/>
              <a:gd name="T94" fmla="*/ 46799 w 784"/>
              <a:gd name="T95" fmla="*/ 22701 h 430"/>
              <a:gd name="T96" fmla="*/ 95785 w 784"/>
              <a:gd name="T97" fmla="*/ 39067 h 430"/>
              <a:gd name="T98" fmla="*/ 119403 w 784"/>
              <a:gd name="T99" fmla="*/ 0 h 430"/>
              <a:gd name="T100" fmla="*/ 163140 w 784"/>
              <a:gd name="T101" fmla="*/ 22701 h 430"/>
              <a:gd name="T102" fmla="*/ 203378 w 784"/>
              <a:gd name="T103" fmla="*/ 48570 h 430"/>
              <a:gd name="T104" fmla="*/ 258487 w 784"/>
              <a:gd name="T105" fmla="*/ 110866 h 430"/>
              <a:gd name="T106" fmla="*/ 316658 w 784"/>
              <a:gd name="T107" fmla="*/ 139903 h 430"/>
              <a:gd name="T108" fmla="*/ 340276 w 784"/>
              <a:gd name="T109" fmla="*/ 155741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903" name="Freeform 353">
            <a:extLst>
              <a:ext uri="{FF2B5EF4-FFF2-40B4-BE49-F238E27FC236}">
                <a16:creationId xmlns:a16="http://schemas.microsoft.com/office/drawing/2014/main" id="{911508AF-FF75-42DF-8AA2-198DDA70C32A}"/>
              </a:ext>
            </a:extLst>
          </p:cNvPr>
          <p:cNvSpPr>
            <a:spLocks/>
          </p:cNvSpPr>
          <p:nvPr>
            <p:custDataLst>
              <p:tags r:id="rId256"/>
            </p:custDataLst>
          </p:nvPr>
        </p:nvSpPr>
        <p:spPr bwMode="auto">
          <a:xfrm>
            <a:off x="8532914" y="4496302"/>
            <a:ext cx="229050" cy="316627"/>
          </a:xfrm>
          <a:custGeom>
            <a:avLst/>
            <a:gdLst>
              <a:gd name="T0" fmla="*/ 13165 w 246"/>
              <a:gd name="T1" fmla="*/ 14187 h 284"/>
              <a:gd name="T2" fmla="*/ 12287 w 246"/>
              <a:gd name="T3" fmla="*/ 12611 h 284"/>
              <a:gd name="T4" fmla="*/ 10532 w 246"/>
              <a:gd name="T5" fmla="*/ 8932 h 284"/>
              <a:gd name="T6" fmla="*/ 15359 w 246"/>
              <a:gd name="T7" fmla="*/ 2627 h 284"/>
              <a:gd name="T8" fmla="*/ 29401 w 246"/>
              <a:gd name="T9" fmla="*/ 525 h 284"/>
              <a:gd name="T10" fmla="*/ 55291 w 246"/>
              <a:gd name="T11" fmla="*/ 6305 h 284"/>
              <a:gd name="T12" fmla="*/ 57486 w 246"/>
              <a:gd name="T13" fmla="*/ 15763 h 284"/>
              <a:gd name="T14" fmla="*/ 60996 w 246"/>
              <a:gd name="T15" fmla="*/ 24170 h 284"/>
              <a:gd name="T16" fmla="*/ 66262 w 246"/>
              <a:gd name="T17" fmla="*/ 29950 h 284"/>
              <a:gd name="T18" fmla="*/ 72405 w 246"/>
              <a:gd name="T19" fmla="*/ 35204 h 284"/>
              <a:gd name="T20" fmla="*/ 83815 w 246"/>
              <a:gd name="T21" fmla="*/ 45713 h 284"/>
              <a:gd name="T22" fmla="*/ 89081 w 246"/>
              <a:gd name="T23" fmla="*/ 53069 h 284"/>
              <a:gd name="T24" fmla="*/ 93030 w 246"/>
              <a:gd name="T25" fmla="*/ 61476 h 284"/>
              <a:gd name="T26" fmla="*/ 99174 w 246"/>
              <a:gd name="T27" fmla="*/ 61476 h 284"/>
              <a:gd name="T28" fmla="*/ 96979 w 246"/>
              <a:gd name="T29" fmla="*/ 65155 h 284"/>
              <a:gd name="T30" fmla="*/ 96979 w 246"/>
              <a:gd name="T31" fmla="*/ 67782 h 284"/>
              <a:gd name="T32" fmla="*/ 100051 w 246"/>
              <a:gd name="T33" fmla="*/ 73562 h 284"/>
              <a:gd name="T34" fmla="*/ 104878 w 246"/>
              <a:gd name="T35" fmla="*/ 80918 h 284"/>
              <a:gd name="T36" fmla="*/ 107072 w 246"/>
              <a:gd name="T37" fmla="*/ 85121 h 284"/>
              <a:gd name="T38" fmla="*/ 107950 w 246"/>
              <a:gd name="T39" fmla="*/ 90901 h 284"/>
              <a:gd name="T40" fmla="*/ 105756 w 246"/>
              <a:gd name="T41" fmla="*/ 96681 h 284"/>
              <a:gd name="T42" fmla="*/ 102245 w 246"/>
              <a:gd name="T43" fmla="*/ 100885 h 284"/>
              <a:gd name="T44" fmla="*/ 97857 w 246"/>
              <a:gd name="T45" fmla="*/ 104037 h 284"/>
              <a:gd name="T46" fmla="*/ 96541 w 246"/>
              <a:gd name="T47" fmla="*/ 107190 h 284"/>
              <a:gd name="T48" fmla="*/ 82937 w 246"/>
              <a:gd name="T49" fmla="*/ 112970 h 284"/>
              <a:gd name="T50" fmla="*/ 71967 w 246"/>
              <a:gd name="T51" fmla="*/ 120851 h 284"/>
              <a:gd name="T52" fmla="*/ 49587 w 246"/>
              <a:gd name="T53" fmla="*/ 139242 h 284"/>
              <a:gd name="T54" fmla="*/ 38616 w 246"/>
              <a:gd name="T55" fmla="*/ 121377 h 284"/>
              <a:gd name="T56" fmla="*/ 34667 w 246"/>
              <a:gd name="T57" fmla="*/ 115597 h 284"/>
              <a:gd name="T58" fmla="*/ 31595 w 246"/>
              <a:gd name="T59" fmla="*/ 113495 h 284"/>
              <a:gd name="T60" fmla="*/ 26329 w 246"/>
              <a:gd name="T61" fmla="*/ 114021 h 284"/>
              <a:gd name="T62" fmla="*/ 23696 w 246"/>
              <a:gd name="T63" fmla="*/ 116122 h 284"/>
              <a:gd name="T64" fmla="*/ 21502 w 246"/>
              <a:gd name="T65" fmla="*/ 119800 h 284"/>
              <a:gd name="T66" fmla="*/ 21063 w 246"/>
              <a:gd name="T67" fmla="*/ 124004 h 284"/>
              <a:gd name="T68" fmla="*/ 19747 w 246"/>
              <a:gd name="T69" fmla="*/ 135038 h 284"/>
              <a:gd name="T70" fmla="*/ 17992 w 246"/>
              <a:gd name="T71" fmla="*/ 141869 h 284"/>
              <a:gd name="T72" fmla="*/ 14481 w 246"/>
              <a:gd name="T73" fmla="*/ 149225 h 284"/>
              <a:gd name="T74" fmla="*/ 11409 w 246"/>
              <a:gd name="T75" fmla="*/ 127682 h 284"/>
              <a:gd name="T76" fmla="*/ 7460 w 246"/>
              <a:gd name="T77" fmla="*/ 119275 h 284"/>
              <a:gd name="T78" fmla="*/ 4827 w 246"/>
              <a:gd name="T79" fmla="*/ 116122 h 284"/>
              <a:gd name="T80" fmla="*/ 0 w 246"/>
              <a:gd name="T81" fmla="*/ 113495 h 284"/>
              <a:gd name="T82" fmla="*/ 439 w 246"/>
              <a:gd name="T83" fmla="*/ 107190 h 284"/>
              <a:gd name="T84" fmla="*/ 1755 w 246"/>
              <a:gd name="T85" fmla="*/ 101410 h 284"/>
              <a:gd name="T86" fmla="*/ 6582 w 246"/>
              <a:gd name="T87" fmla="*/ 92477 h 284"/>
              <a:gd name="T88" fmla="*/ 13603 w 246"/>
              <a:gd name="T89" fmla="*/ 84596 h 284"/>
              <a:gd name="T90" fmla="*/ 20186 w 246"/>
              <a:gd name="T91" fmla="*/ 74087 h 284"/>
              <a:gd name="T92" fmla="*/ 14481 w 246"/>
              <a:gd name="T93" fmla="*/ 23119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904" name="Freeform 354">
            <a:extLst>
              <a:ext uri="{FF2B5EF4-FFF2-40B4-BE49-F238E27FC236}">
                <a16:creationId xmlns:a16="http://schemas.microsoft.com/office/drawing/2014/main" id="{C8DBE6ED-E5F8-495A-80D4-FE3C681F2351}"/>
              </a:ext>
            </a:extLst>
          </p:cNvPr>
          <p:cNvSpPr>
            <a:spLocks/>
          </p:cNvSpPr>
          <p:nvPr>
            <p:custDataLst>
              <p:tags r:id="rId257"/>
            </p:custDataLst>
          </p:nvPr>
        </p:nvSpPr>
        <p:spPr bwMode="auto">
          <a:xfrm>
            <a:off x="8633965" y="4725351"/>
            <a:ext cx="144841" cy="127998"/>
          </a:xfrm>
          <a:custGeom>
            <a:avLst/>
            <a:gdLst>
              <a:gd name="T0" fmla="*/ 48637 w 160"/>
              <a:gd name="T1" fmla="*/ 0 h 117"/>
              <a:gd name="T2" fmla="*/ 48637 w 160"/>
              <a:gd name="T3" fmla="*/ 4640 h 117"/>
              <a:gd name="T4" fmla="*/ 48637 w 160"/>
              <a:gd name="T5" fmla="*/ 9281 h 117"/>
              <a:gd name="T6" fmla="*/ 49064 w 160"/>
              <a:gd name="T7" fmla="*/ 12890 h 117"/>
              <a:gd name="T8" fmla="*/ 49917 w 160"/>
              <a:gd name="T9" fmla="*/ 16499 h 117"/>
              <a:gd name="T10" fmla="*/ 50771 w 160"/>
              <a:gd name="T11" fmla="*/ 17530 h 117"/>
              <a:gd name="T12" fmla="*/ 51624 w 160"/>
              <a:gd name="T13" fmla="*/ 19077 h 117"/>
              <a:gd name="T14" fmla="*/ 52477 w 160"/>
              <a:gd name="T15" fmla="*/ 19593 h 117"/>
              <a:gd name="T16" fmla="*/ 54184 w 160"/>
              <a:gd name="T17" fmla="*/ 20108 h 117"/>
              <a:gd name="T18" fmla="*/ 55890 w 160"/>
              <a:gd name="T19" fmla="*/ 20624 h 117"/>
              <a:gd name="T20" fmla="*/ 57597 w 160"/>
              <a:gd name="T21" fmla="*/ 20108 h 117"/>
              <a:gd name="T22" fmla="*/ 59730 w 160"/>
              <a:gd name="T23" fmla="*/ 19593 h 117"/>
              <a:gd name="T24" fmla="*/ 62290 w 160"/>
              <a:gd name="T25" fmla="*/ 18562 h 117"/>
              <a:gd name="T26" fmla="*/ 63570 w 160"/>
              <a:gd name="T27" fmla="*/ 22171 h 117"/>
              <a:gd name="T28" fmla="*/ 65276 w 160"/>
              <a:gd name="T29" fmla="*/ 26811 h 117"/>
              <a:gd name="T30" fmla="*/ 66983 w 160"/>
              <a:gd name="T31" fmla="*/ 32998 h 117"/>
              <a:gd name="T32" fmla="*/ 68263 w 160"/>
              <a:gd name="T33" fmla="*/ 38154 h 117"/>
              <a:gd name="T34" fmla="*/ 56744 w 160"/>
              <a:gd name="T35" fmla="*/ 45373 h 117"/>
              <a:gd name="T36" fmla="*/ 45224 w 160"/>
              <a:gd name="T37" fmla="*/ 52591 h 117"/>
              <a:gd name="T38" fmla="*/ 39251 w 160"/>
              <a:gd name="T39" fmla="*/ 55169 h 117"/>
              <a:gd name="T40" fmla="*/ 32425 w 160"/>
              <a:gd name="T41" fmla="*/ 58263 h 117"/>
              <a:gd name="T42" fmla="*/ 26452 w 160"/>
              <a:gd name="T43" fmla="*/ 59809 h 117"/>
              <a:gd name="T44" fmla="*/ 20052 w 160"/>
              <a:gd name="T45" fmla="*/ 60325 h 117"/>
              <a:gd name="T46" fmla="*/ 13653 w 160"/>
              <a:gd name="T47" fmla="*/ 51044 h 117"/>
              <a:gd name="T48" fmla="*/ 8960 w 160"/>
              <a:gd name="T49" fmla="*/ 42795 h 117"/>
              <a:gd name="T50" fmla="*/ 4266 w 160"/>
              <a:gd name="T51" fmla="*/ 35576 h 117"/>
              <a:gd name="T52" fmla="*/ 0 w 160"/>
              <a:gd name="T53" fmla="*/ 28358 h 117"/>
              <a:gd name="T54" fmla="*/ 5546 w 160"/>
              <a:gd name="T55" fmla="*/ 24749 h 117"/>
              <a:gd name="T56" fmla="*/ 17492 w 160"/>
              <a:gd name="T57" fmla="*/ 16499 h 117"/>
              <a:gd name="T58" fmla="*/ 25599 w 160"/>
              <a:gd name="T59" fmla="*/ 11859 h 117"/>
              <a:gd name="T60" fmla="*/ 33278 w 160"/>
              <a:gd name="T61" fmla="*/ 7218 h 117"/>
              <a:gd name="T62" fmla="*/ 41384 w 160"/>
              <a:gd name="T63" fmla="*/ 3094 h 117"/>
              <a:gd name="T64" fmla="*/ 4863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905" name="Freeform 355">
            <a:extLst>
              <a:ext uri="{FF2B5EF4-FFF2-40B4-BE49-F238E27FC236}">
                <a16:creationId xmlns:a16="http://schemas.microsoft.com/office/drawing/2014/main" id="{1E027FC9-AA0D-49A3-89AC-1CF8BCCB8B81}"/>
              </a:ext>
            </a:extLst>
          </p:cNvPr>
          <p:cNvSpPr>
            <a:spLocks/>
          </p:cNvSpPr>
          <p:nvPr>
            <p:custDataLst>
              <p:tags r:id="rId258"/>
            </p:custDataLst>
          </p:nvPr>
        </p:nvSpPr>
        <p:spPr bwMode="auto">
          <a:xfrm>
            <a:off x="8812490" y="6049124"/>
            <a:ext cx="872408" cy="1296823"/>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906" name="Freeform 356">
            <a:extLst>
              <a:ext uri="{FF2B5EF4-FFF2-40B4-BE49-F238E27FC236}">
                <a16:creationId xmlns:a16="http://schemas.microsoft.com/office/drawing/2014/main" id="{879E4479-3C73-4668-9792-3F2D34E2760E}"/>
              </a:ext>
            </a:extLst>
          </p:cNvPr>
          <p:cNvSpPr>
            <a:spLocks/>
          </p:cNvSpPr>
          <p:nvPr>
            <p:custDataLst>
              <p:tags r:id="rId259"/>
            </p:custDataLst>
          </p:nvPr>
        </p:nvSpPr>
        <p:spPr bwMode="auto">
          <a:xfrm>
            <a:off x="9839844" y="6769956"/>
            <a:ext cx="518730" cy="916198"/>
          </a:xfrm>
          <a:custGeom>
            <a:avLst/>
            <a:gdLst>
              <a:gd name="T0" fmla="*/ 43091 w 556"/>
              <a:gd name="T1" fmla="*/ 32688 h 819"/>
              <a:gd name="T2" fmla="*/ 49247 w 556"/>
              <a:gd name="T3" fmla="*/ 29525 h 819"/>
              <a:gd name="T4" fmla="*/ 56722 w 556"/>
              <a:gd name="T5" fmla="*/ 36379 h 819"/>
              <a:gd name="T6" fmla="*/ 65516 w 556"/>
              <a:gd name="T7" fmla="*/ 44814 h 819"/>
              <a:gd name="T8" fmla="*/ 75189 w 556"/>
              <a:gd name="T9" fmla="*/ 48505 h 819"/>
              <a:gd name="T10" fmla="*/ 94536 w 556"/>
              <a:gd name="T11" fmla="*/ 46396 h 819"/>
              <a:gd name="T12" fmla="*/ 113004 w 556"/>
              <a:gd name="T13" fmla="*/ 43233 h 819"/>
              <a:gd name="T14" fmla="*/ 127954 w 556"/>
              <a:gd name="T15" fmla="*/ 41651 h 819"/>
              <a:gd name="T16" fmla="*/ 132351 w 556"/>
              <a:gd name="T17" fmla="*/ 39015 h 819"/>
              <a:gd name="T18" fmla="*/ 132351 w 556"/>
              <a:gd name="T19" fmla="*/ 35852 h 819"/>
              <a:gd name="T20" fmla="*/ 156095 w 556"/>
              <a:gd name="T21" fmla="*/ 33215 h 819"/>
              <a:gd name="T22" fmla="*/ 190831 w 556"/>
              <a:gd name="T23" fmla="*/ 23725 h 819"/>
              <a:gd name="T24" fmla="*/ 210618 w 556"/>
              <a:gd name="T25" fmla="*/ 14762 h 819"/>
              <a:gd name="T26" fmla="*/ 226007 w 556"/>
              <a:gd name="T27" fmla="*/ 4218 h 819"/>
              <a:gd name="T28" fmla="*/ 240518 w 556"/>
              <a:gd name="T29" fmla="*/ 16344 h 819"/>
              <a:gd name="T30" fmla="*/ 244035 w 556"/>
              <a:gd name="T31" fmla="*/ 30052 h 819"/>
              <a:gd name="T32" fmla="*/ 242716 w 556"/>
              <a:gd name="T33" fmla="*/ 59577 h 819"/>
              <a:gd name="T34" fmla="*/ 233922 w 556"/>
              <a:gd name="T35" fmla="*/ 91738 h 819"/>
              <a:gd name="T36" fmla="*/ 220731 w 556"/>
              <a:gd name="T37" fmla="*/ 121790 h 819"/>
              <a:gd name="T38" fmla="*/ 196547 w 556"/>
              <a:gd name="T39" fmla="*/ 169240 h 819"/>
              <a:gd name="T40" fmla="*/ 185994 w 556"/>
              <a:gd name="T41" fmla="*/ 197711 h 819"/>
              <a:gd name="T42" fmla="*/ 180278 w 556"/>
              <a:gd name="T43" fmla="*/ 218800 h 819"/>
              <a:gd name="T44" fmla="*/ 166648 w 556"/>
              <a:gd name="T45" fmla="*/ 249379 h 819"/>
              <a:gd name="T46" fmla="*/ 145102 w 556"/>
              <a:gd name="T47" fmla="*/ 279958 h 819"/>
              <a:gd name="T48" fmla="*/ 126635 w 556"/>
              <a:gd name="T49" fmla="*/ 298411 h 819"/>
              <a:gd name="T50" fmla="*/ 105089 w 556"/>
              <a:gd name="T51" fmla="*/ 316337 h 819"/>
              <a:gd name="T52" fmla="*/ 73870 w 556"/>
              <a:gd name="T53" fmla="*/ 343226 h 819"/>
              <a:gd name="T54" fmla="*/ 62878 w 556"/>
              <a:gd name="T55" fmla="*/ 358515 h 819"/>
              <a:gd name="T56" fmla="*/ 57601 w 556"/>
              <a:gd name="T57" fmla="*/ 369060 h 819"/>
              <a:gd name="T58" fmla="*/ 51006 w 556"/>
              <a:gd name="T59" fmla="*/ 378023 h 819"/>
              <a:gd name="T60" fmla="*/ 31219 w 556"/>
              <a:gd name="T61" fmla="*/ 392785 h 819"/>
              <a:gd name="T62" fmla="*/ 8354 w 556"/>
              <a:gd name="T63" fmla="*/ 422310 h 819"/>
              <a:gd name="T64" fmla="*/ 879 w 556"/>
              <a:gd name="T65" fmla="*/ 297357 h 819"/>
              <a:gd name="T66" fmla="*/ 1319 w 556"/>
              <a:gd name="T67" fmla="*/ 292084 h 819"/>
              <a:gd name="T68" fmla="*/ 11872 w 556"/>
              <a:gd name="T69" fmla="*/ 281013 h 819"/>
              <a:gd name="T70" fmla="*/ 18468 w 556"/>
              <a:gd name="T71" fmla="*/ 272050 h 819"/>
              <a:gd name="T72" fmla="*/ 26382 w 556"/>
              <a:gd name="T73" fmla="*/ 262032 h 819"/>
              <a:gd name="T74" fmla="*/ 48807 w 556"/>
              <a:gd name="T75" fmla="*/ 253070 h 819"/>
              <a:gd name="T76" fmla="*/ 52325 w 556"/>
              <a:gd name="T77" fmla="*/ 247797 h 819"/>
              <a:gd name="T78" fmla="*/ 56722 w 556"/>
              <a:gd name="T79" fmla="*/ 238307 h 819"/>
              <a:gd name="T80" fmla="*/ 66835 w 556"/>
              <a:gd name="T81" fmla="*/ 231980 h 819"/>
              <a:gd name="T82" fmla="*/ 76508 w 556"/>
              <a:gd name="T83" fmla="*/ 231453 h 819"/>
              <a:gd name="T84" fmla="*/ 86182 w 556"/>
              <a:gd name="T85" fmla="*/ 231453 h 819"/>
              <a:gd name="T86" fmla="*/ 100252 w 556"/>
              <a:gd name="T87" fmla="*/ 226181 h 819"/>
              <a:gd name="T88" fmla="*/ 110366 w 556"/>
              <a:gd name="T89" fmla="*/ 213527 h 819"/>
              <a:gd name="T90" fmla="*/ 116521 w 556"/>
              <a:gd name="T91" fmla="*/ 199820 h 819"/>
              <a:gd name="T92" fmla="*/ 130152 w 556"/>
              <a:gd name="T93" fmla="*/ 182948 h 819"/>
              <a:gd name="T94" fmla="*/ 155655 w 556"/>
              <a:gd name="T95" fmla="*/ 154478 h 819"/>
              <a:gd name="T96" fmla="*/ 165768 w 556"/>
              <a:gd name="T97" fmla="*/ 140243 h 819"/>
              <a:gd name="T98" fmla="*/ 142464 w 556"/>
              <a:gd name="T99" fmla="*/ 129698 h 819"/>
              <a:gd name="T100" fmla="*/ 113004 w 556"/>
              <a:gd name="T101" fmla="*/ 120208 h 819"/>
              <a:gd name="T102" fmla="*/ 80905 w 556"/>
              <a:gd name="T103" fmla="*/ 110191 h 819"/>
              <a:gd name="T104" fmla="*/ 65516 w 556"/>
              <a:gd name="T105" fmla="*/ 98592 h 819"/>
              <a:gd name="T106" fmla="*/ 49247 w 556"/>
              <a:gd name="T107" fmla="*/ 81193 h 819"/>
              <a:gd name="T108" fmla="*/ 39134 w 556"/>
              <a:gd name="T109" fmla="*/ 63795 h 819"/>
              <a:gd name="T110" fmla="*/ 33857 w 556"/>
              <a:gd name="T111" fmla="*/ 42178 h 819"/>
              <a:gd name="T112" fmla="*/ 28581 w 556"/>
              <a:gd name="T113" fmla="*/ 45869 h 819"/>
              <a:gd name="T114" fmla="*/ 36935 w 556"/>
              <a:gd name="T115" fmla="*/ 35852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907" name="Freeform 357">
            <a:extLst>
              <a:ext uri="{FF2B5EF4-FFF2-40B4-BE49-F238E27FC236}">
                <a16:creationId xmlns:a16="http://schemas.microsoft.com/office/drawing/2014/main" id="{6C28FDBD-DD7B-44E5-9319-6A38D2A7FDFE}"/>
              </a:ext>
            </a:extLst>
          </p:cNvPr>
          <p:cNvSpPr>
            <a:spLocks/>
          </p:cNvSpPr>
          <p:nvPr>
            <p:custDataLst>
              <p:tags r:id="rId260"/>
            </p:custDataLst>
          </p:nvPr>
        </p:nvSpPr>
        <p:spPr bwMode="auto">
          <a:xfrm>
            <a:off x="9856686" y="6743009"/>
            <a:ext cx="80841" cy="124629"/>
          </a:xfrm>
          <a:custGeom>
            <a:avLst/>
            <a:gdLst>
              <a:gd name="T0" fmla="*/ 26138 w 86"/>
              <a:gd name="T1" fmla="*/ 0 h 97"/>
              <a:gd name="T2" fmla="*/ 24809 w 86"/>
              <a:gd name="T3" fmla="*/ 1211 h 97"/>
              <a:gd name="T4" fmla="*/ 23037 w 86"/>
              <a:gd name="T5" fmla="*/ 1817 h 97"/>
              <a:gd name="T6" fmla="*/ 20379 w 86"/>
              <a:gd name="T7" fmla="*/ 1817 h 97"/>
              <a:gd name="T8" fmla="*/ 17721 w 86"/>
              <a:gd name="T9" fmla="*/ 1817 h 97"/>
              <a:gd name="T10" fmla="*/ 14620 w 86"/>
              <a:gd name="T11" fmla="*/ 1817 h 97"/>
              <a:gd name="T12" fmla="*/ 11962 w 86"/>
              <a:gd name="T13" fmla="*/ 1817 h 97"/>
              <a:gd name="T14" fmla="*/ 10190 w 86"/>
              <a:gd name="T15" fmla="*/ 2422 h 97"/>
              <a:gd name="T16" fmla="*/ 8860 w 86"/>
              <a:gd name="T17" fmla="*/ 3633 h 97"/>
              <a:gd name="T18" fmla="*/ 7088 w 86"/>
              <a:gd name="T19" fmla="*/ 5450 h 97"/>
              <a:gd name="T20" fmla="*/ 5759 w 86"/>
              <a:gd name="T21" fmla="*/ 7266 h 97"/>
              <a:gd name="T22" fmla="*/ 4873 w 86"/>
              <a:gd name="T23" fmla="*/ 9083 h 97"/>
              <a:gd name="T24" fmla="*/ 3544 w 86"/>
              <a:gd name="T25" fmla="*/ 12111 h 97"/>
              <a:gd name="T26" fmla="*/ 1772 w 86"/>
              <a:gd name="T27" fmla="*/ 17561 h 97"/>
              <a:gd name="T28" fmla="*/ 886 w 86"/>
              <a:gd name="T29" fmla="*/ 23010 h 97"/>
              <a:gd name="T30" fmla="*/ 0 w 86"/>
              <a:gd name="T31" fmla="*/ 34516 h 97"/>
              <a:gd name="T32" fmla="*/ 0 w 86"/>
              <a:gd name="T33" fmla="*/ 45415 h 97"/>
              <a:gd name="T34" fmla="*/ 0 w 86"/>
              <a:gd name="T35" fmla="*/ 49048 h 97"/>
              <a:gd name="T36" fmla="*/ 443 w 86"/>
              <a:gd name="T37" fmla="*/ 52076 h 97"/>
              <a:gd name="T38" fmla="*/ 1329 w 86"/>
              <a:gd name="T39" fmla="*/ 54498 h 97"/>
              <a:gd name="T40" fmla="*/ 3101 w 86"/>
              <a:gd name="T41" fmla="*/ 56315 h 97"/>
              <a:gd name="T42" fmla="*/ 4430 w 86"/>
              <a:gd name="T43" fmla="*/ 57526 h 97"/>
              <a:gd name="T44" fmla="*/ 5759 w 86"/>
              <a:gd name="T45" fmla="*/ 58131 h 97"/>
              <a:gd name="T46" fmla="*/ 7974 w 86"/>
              <a:gd name="T47" fmla="*/ 58737 h 97"/>
              <a:gd name="T48" fmla="*/ 9303 w 86"/>
              <a:gd name="T49" fmla="*/ 58737 h 97"/>
              <a:gd name="T50" fmla="*/ 17721 w 86"/>
              <a:gd name="T51" fmla="*/ 57526 h 97"/>
              <a:gd name="T52" fmla="*/ 23480 w 86"/>
              <a:gd name="T53" fmla="*/ 56315 h 97"/>
              <a:gd name="T54" fmla="*/ 38100 w 86"/>
              <a:gd name="T55" fmla="*/ 41176 h 97"/>
              <a:gd name="T56" fmla="*/ 26138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908" name="Freeform 358">
            <a:extLst>
              <a:ext uri="{FF2B5EF4-FFF2-40B4-BE49-F238E27FC236}">
                <a16:creationId xmlns:a16="http://schemas.microsoft.com/office/drawing/2014/main" id="{60FDCC63-5BE3-4C36-8B4A-F3619E0D87A7}"/>
              </a:ext>
            </a:extLst>
          </p:cNvPr>
          <p:cNvSpPr>
            <a:spLocks/>
          </p:cNvSpPr>
          <p:nvPr>
            <p:custDataLst>
              <p:tags r:id="rId261"/>
            </p:custDataLst>
          </p:nvPr>
        </p:nvSpPr>
        <p:spPr bwMode="auto">
          <a:xfrm>
            <a:off x="9428902" y="6554380"/>
            <a:ext cx="771359" cy="798304"/>
          </a:xfrm>
          <a:custGeom>
            <a:avLst/>
            <a:gdLst>
              <a:gd name="T0" fmla="*/ 78300 w 845"/>
              <a:gd name="T1" fmla="*/ 18812 h 720"/>
              <a:gd name="T2" fmla="*/ 88196 w 845"/>
              <a:gd name="T3" fmla="*/ 14631 h 720"/>
              <a:gd name="T4" fmla="*/ 106265 w 845"/>
              <a:gd name="T5" fmla="*/ 0 h 720"/>
              <a:gd name="T6" fmla="*/ 117451 w 845"/>
              <a:gd name="T7" fmla="*/ 6271 h 720"/>
              <a:gd name="T8" fmla="*/ 140683 w 845"/>
              <a:gd name="T9" fmla="*/ 19334 h 720"/>
              <a:gd name="T10" fmla="*/ 163485 w 845"/>
              <a:gd name="T11" fmla="*/ 35011 h 720"/>
              <a:gd name="T12" fmla="*/ 183275 w 845"/>
              <a:gd name="T13" fmla="*/ 51210 h 720"/>
              <a:gd name="T14" fmla="*/ 190158 w 845"/>
              <a:gd name="T15" fmla="*/ 65319 h 720"/>
              <a:gd name="T16" fmla="*/ 190589 w 845"/>
              <a:gd name="T17" fmla="*/ 73157 h 720"/>
              <a:gd name="T18" fmla="*/ 197042 w 845"/>
              <a:gd name="T19" fmla="*/ 76815 h 720"/>
              <a:gd name="T20" fmla="*/ 214681 w 845"/>
              <a:gd name="T21" fmla="*/ 93014 h 720"/>
              <a:gd name="T22" fmla="*/ 217693 w 845"/>
              <a:gd name="T23" fmla="*/ 89879 h 720"/>
              <a:gd name="T24" fmla="*/ 209949 w 845"/>
              <a:gd name="T25" fmla="*/ 96149 h 720"/>
              <a:gd name="T26" fmla="*/ 206937 w 845"/>
              <a:gd name="T27" fmla="*/ 105555 h 720"/>
              <a:gd name="T28" fmla="*/ 206937 w 845"/>
              <a:gd name="T29" fmla="*/ 131683 h 720"/>
              <a:gd name="T30" fmla="*/ 212100 w 845"/>
              <a:gd name="T31" fmla="*/ 137954 h 720"/>
              <a:gd name="T32" fmla="*/ 226297 w 845"/>
              <a:gd name="T33" fmla="*/ 138476 h 720"/>
              <a:gd name="T34" fmla="*/ 234471 w 845"/>
              <a:gd name="T35" fmla="*/ 166694 h 720"/>
              <a:gd name="T36" fmla="*/ 250820 w 845"/>
              <a:gd name="T37" fmla="*/ 188641 h 720"/>
              <a:gd name="T38" fmla="*/ 277494 w 845"/>
              <a:gd name="T39" fmla="*/ 209021 h 720"/>
              <a:gd name="T40" fmla="*/ 317504 w 845"/>
              <a:gd name="T41" fmla="*/ 224697 h 720"/>
              <a:gd name="T42" fmla="*/ 363538 w 845"/>
              <a:gd name="T43" fmla="*/ 234626 h 720"/>
              <a:gd name="T44" fmla="*/ 348910 w 845"/>
              <a:gd name="T45" fmla="*/ 251870 h 720"/>
              <a:gd name="T46" fmla="*/ 314493 w 845"/>
              <a:gd name="T47" fmla="*/ 285836 h 720"/>
              <a:gd name="T48" fmla="*/ 306318 w 845"/>
              <a:gd name="T49" fmla="*/ 302557 h 720"/>
              <a:gd name="T50" fmla="*/ 299865 w 845"/>
              <a:gd name="T51" fmla="*/ 322414 h 720"/>
              <a:gd name="T52" fmla="*/ 289970 w 845"/>
              <a:gd name="T53" fmla="*/ 328685 h 720"/>
              <a:gd name="T54" fmla="*/ 249529 w 845"/>
              <a:gd name="T55" fmla="*/ 342271 h 720"/>
              <a:gd name="T56" fmla="*/ 240494 w 845"/>
              <a:gd name="T57" fmla="*/ 350632 h 720"/>
              <a:gd name="T58" fmla="*/ 225867 w 845"/>
              <a:gd name="T59" fmla="*/ 355857 h 720"/>
              <a:gd name="T60" fmla="*/ 207367 w 845"/>
              <a:gd name="T61" fmla="*/ 362128 h 720"/>
              <a:gd name="T62" fmla="*/ 198333 w 845"/>
              <a:gd name="T63" fmla="*/ 355335 h 720"/>
              <a:gd name="T64" fmla="*/ 183705 w 845"/>
              <a:gd name="T65" fmla="*/ 354812 h 720"/>
              <a:gd name="T66" fmla="*/ 174240 w 845"/>
              <a:gd name="T67" fmla="*/ 365263 h 720"/>
              <a:gd name="T68" fmla="*/ 167787 w 845"/>
              <a:gd name="T69" fmla="*/ 373102 h 720"/>
              <a:gd name="T70" fmla="*/ 154880 w 845"/>
              <a:gd name="T71" fmla="*/ 376237 h 720"/>
              <a:gd name="T72" fmla="*/ 136811 w 845"/>
              <a:gd name="T73" fmla="*/ 373102 h 720"/>
              <a:gd name="T74" fmla="*/ 124334 w 845"/>
              <a:gd name="T75" fmla="*/ 364741 h 720"/>
              <a:gd name="T76" fmla="*/ 105835 w 845"/>
              <a:gd name="T77" fmla="*/ 350632 h 720"/>
              <a:gd name="T78" fmla="*/ 77870 w 845"/>
              <a:gd name="T79" fmla="*/ 345406 h 720"/>
              <a:gd name="T80" fmla="*/ 60231 w 845"/>
              <a:gd name="T81" fmla="*/ 341226 h 720"/>
              <a:gd name="T82" fmla="*/ 64964 w 845"/>
              <a:gd name="T83" fmla="*/ 320847 h 720"/>
              <a:gd name="T84" fmla="*/ 54638 w 845"/>
              <a:gd name="T85" fmla="*/ 311441 h 720"/>
              <a:gd name="T86" fmla="*/ 46464 w 845"/>
              <a:gd name="T87" fmla="*/ 304647 h 720"/>
              <a:gd name="T88" fmla="*/ 40011 w 845"/>
              <a:gd name="T89" fmla="*/ 287926 h 720"/>
              <a:gd name="T90" fmla="*/ 33127 w 845"/>
              <a:gd name="T91" fmla="*/ 267024 h 720"/>
              <a:gd name="T92" fmla="*/ 21081 w 845"/>
              <a:gd name="T93" fmla="*/ 255528 h 720"/>
              <a:gd name="T94" fmla="*/ 6884 w 845"/>
              <a:gd name="T95" fmla="*/ 249257 h 720"/>
              <a:gd name="T96" fmla="*/ 2151 w 845"/>
              <a:gd name="T97" fmla="*/ 246644 h 720"/>
              <a:gd name="T98" fmla="*/ 860 w 845"/>
              <a:gd name="T99" fmla="*/ 234103 h 720"/>
              <a:gd name="T100" fmla="*/ 9035 w 845"/>
              <a:gd name="T101" fmla="*/ 220517 h 720"/>
              <a:gd name="T102" fmla="*/ 23662 w 845"/>
              <a:gd name="T103" fmla="*/ 215814 h 720"/>
              <a:gd name="T104" fmla="*/ 28825 w 845"/>
              <a:gd name="T105" fmla="*/ 167739 h 720"/>
              <a:gd name="T106" fmla="*/ 35278 w 845"/>
              <a:gd name="T107" fmla="*/ 143702 h 720"/>
              <a:gd name="T108" fmla="*/ 40871 w 845"/>
              <a:gd name="T109" fmla="*/ 135863 h 720"/>
              <a:gd name="T110" fmla="*/ 44313 w 845"/>
              <a:gd name="T111" fmla="*/ 123322 h 720"/>
              <a:gd name="T112" fmla="*/ 49906 w 845"/>
              <a:gd name="T113" fmla="*/ 107646 h 720"/>
              <a:gd name="T114" fmla="*/ 63673 w 845"/>
              <a:gd name="T115" fmla="*/ 93014 h 720"/>
              <a:gd name="T116" fmla="*/ 71847 w 845"/>
              <a:gd name="T117" fmla="*/ 83608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909" name="Line 359">
            <a:extLst>
              <a:ext uri="{FF2B5EF4-FFF2-40B4-BE49-F238E27FC236}">
                <a16:creationId xmlns:a16="http://schemas.microsoft.com/office/drawing/2014/main" id="{B4A866E4-1CAC-4EDC-8246-0AFE9A2EE364}"/>
              </a:ext>
            </a:extLst>
          </p:cNvPr>
          <p:cNvSpPr>
            <a:spLocks noChangeShapeType="1"/>
          </p:cNvSpPr>
          <p:nvPr>
            <p:custDataLst>
              <p:tags r:id="rId262"/>
            </p:custDataLst>
          </p:nvPr>
        </p:nvSpPr>
        <p:spPr bwMode="auto">
          <a:xfrm flipH="1">
            <a:off x="2766255" y="7655838"/>
            <a:ext cx="10106" cy="16843"/>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s-ES" dirty="0"/>
          </a:p>
        </p:txBody>
      </p:sp>
      <p:sp>
        <p:nvSpPr>
          <p:cNvPr id="910" name="Freeform 360">
            <a:extLst>
              <a:ext uri="{FF2B5EF4-FFF2-40B4-BE49-F238E27FC236}">
                <a16:creationId xmlns:a16="http://schemas.microsoft.com/office/drawing/2014/main" id="{438A95A3-8C11-4FDB-87FE-53CD1E4A40A3}"/>
              </a:ext>
            </a:extLst>
          </p:cNvPr>
          <p:cNvSpPr>
            <a:spLocks/>
          </p:cNvSpPr>
          <p:nvPr>
            <p:custDataLst>
              <p:tags r:id="rId263"/>
            </p:custDataLst>
          </p:nvPr>
        </p:nvSpPr>
        <p:spPr bwMode="auto">
          <a:xfrm>
            <a:off x="2766255" y="7672681"/>
            <a:ext cx="26947" cy="124629"/>
          </a:xfrm>
          <a:custGeom>
            <a:avLst/>
            <a:gdLst>
              <a:gd name="T0" fmla="*/ 0 w 33"/>
              <a:gd name="T1" fmla="*/ 0 h 6"/>
              <a:gd name="T2" fmla="*/ 2694 w 33"/>
              <a:gd name="T3" fmla="*/ 9790 h 6"/>
              <a:gd name="T4" fmla="*/ 5773 w 33"/>
              <a:gd name="T5" fmla="*/ 29369 h 6"/>
              <a:gd name="T6" fmla="*/ 8852 w 33"/>
              <a:gd name="T7" fmla="*/ 48948 h 6"/>
              <a:gd name="T8" fmla="*/ 12700 w 33"/>
              <a:gd name="T9" fmla="*/ 5873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911" name="Freeform 361">
            <a:extLst>
              <a:ext uri="{FF2B5EF4-FFF2-40B4-BE49-F238E27FC236}">
                <a16:creationId xmlns:a16="http://schemas.microsoft.com/office/drawing/2014/main" id="{AD57E405-378B-4FC7-B1F0-9940B0C67D13}"/>
              </a:ext>
            </a:extLst>
          </p:cNvPr>
          <p:cNvSpPr>
            <a:spLocks/>
          </p:cNvSpPr>
          <p:nvPr>
            <p:custDataLst>
              <p:tags r:id="rId264"/>
            </p:custDataLst>
          </p:nvPr>
        </p:nvSpPr>
        <p:spPr bwMode="auto">
          <a:xfrm>
            <a:off x="2783098" y="7645734"/>
            <a:ext cx="10104" cy="121262"/>
          </a:xfrm>
          <a:custGeom>
            <a:avLst/>
            <a:gdLst>
              <a:gd name="T0" fmla="*/ 4762 w 13"/>
              <a:gd name="T1" fmla="*/ 57150 h 30"/>
              <a:gd name="T2" fmla="*/ 4762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grpSp>
        <p:nvGrpSpPr>
          <p:cNvPr id="912" name="Group 362">
            <a:extLst>
              <a:ext uri="{FF2B5EF4-FFF2-40B4-BE49-F238E27FC236}">
                <a16:creationId xmlns:a16="http://schemas.microsoft.com/office/drawing/2014/main" id="{49C878AD-0AD7-4E15-916F-56BAE4093BD9}"/>
              </a:ext>
            </a:extLst>
          </p:cNvPr>
          <p:cNvGrpSpPr>
            <a:grpSpLocks/>
          </p:cNvGrpSpPr>
          <p:nvPr>
            <p:custDataLst>
              <p:tags r:id="rId265"/>
            </p:custDataLst>
          </p:nvPr>
        </p:nvGrpSpPr>
        <p:grpSpPr bwMode="auto">
          <a:xfrm>
            <a:off x="2766255" y="7507629"/>
            <a:ext cx="885884" cy="427785"/>
            <a:chOff x="912" y="2626"/>
            <a:chExt cx="311" cy="127"/>
          </a:xfrm>
          <a:solidFill>
            <a:schemeClr val="bg2">
              <a:lumMod val="50000"/>
              <a:alpha val="18000"/>
            </a:schemeClr>
          </a:solidFill>
        </p:grpSpPr>
        <p:sp>
          <p:nvSpPr>
            <p:cNvPr id="913" name="Freeform 363">
              <a:extLst>
                <a:ext uri="{FF2B5EF4-FFF2-40B4-BE49-F238E27FC236}">
                  <a16:creationId xmlns:a16="http://schemas.microsoft.com/office/drawing/2014/main" id="{CF07BA87-B724-42F1-8857-5C4E5CCBD5FC}"/>
                </a:ext>
              </a:extLst>
            </p:cNvPr>
            <p:cNvSpPr>
              <a:spLocks/>
            </p:cNvSpPr>
            <p:nvPr/>
          </p:nvSpPr>
          <p:spPr bwMode="auto">
            <a:xfrm>
              <a:off x="1110" y="2626"/>
              <a:ext cx="113" cy="127"/>
            </a:xfrm>
            <a:custGeom>
              <a:avLst/>
              <a:gdLst>
                <a:gd name="T0" fmla="*/ 100 w 352"/>
                <a:gd name="T1" fmla="*/ 26 h 387"/>
                <a:gd name="T2" fmla="*/ 92 w 352"/>
                <a:gd name="T3" fmla="*/ 26 h 387"/>
                <a:gd name="T4" fmla="*/ 85 w 352"/>
                <a:gd name="T5" fmla="*/ 26 h 387"/>
                <a:gd name="T6" fmla="*/ 80 w 352"/>
                <a:gd name="T7" fmla="*/ 24 h 387"/>
                <a:gd name="T8" fmla="*/ 71 w 352"/>
                <a:gd name="T9" fmla="*/ 19 h 387"/>
                <a:gd name="T10" fmla="*/ 54 w 352"/>
                <a:gd name="T11" fmla="*/ 7 h 387"/>
                <a:gd name="T12" fmla="*/ 44 w 352"/>
                <a:gd name="T13" fmla="*/ 2 h 387"/>
                <a:gd name="T14" fmla="*/ 41 w 352"/>
                <a:gd name="T15" fmla="*/ 6 h 387"/>
                <a:gd name="T16" fmla="*/ 38 w 352"/>
                <a:gd name="T17" fmla="*/ 10 h 387"/>
                <a:gd name="T18" fmla="*/ 34 w 352"/>
                <a:gd name="T19" fmla="*/ 11 h 387"/>
                <a:gd name="T20" fmla="*/ 28 w 352"/>
                <a:gd name="T21" fmla="*/ 18 h 387"/>
                <a:gd name="T22" fmla="*/ 17 w 352"/>
                <a:gd name="T23" fmla="*/ 32 h 387"/>
                <a:gd name="T24" fmla="*/ 10 w 352"/>
                <a:gd name="T25" fmla="*/ 43 h 387"/>
                <a:gd name="T26" fmla="*/ 5 w 352"/>
                <a:gd name="T27" fmla="*/ 51 h 387"/>
                <a:gd name="T28" fmla="*/ 2 w 352"/>
                <a:gd name="T29" fmla="*/ 58 h 387"/>
                <a:gd name="T30" fmla="*/ 0 w 352"/>
                <a:gd name="T31" fmla="*/ 65 h 387"/>
                <a:gd name="T32" fmla="*/ 0 w 352"/>
                <a:gd name="T33" fmla="*/ 70 h 387"/>
                <a:gd name="T34" fmla="*/ 1 w 352"/>
                <a:gd name="T35" fmla="*/ 73 h 387"/>
                <a:gd name="T36" fmla="*/ 3 w 352"/>
                <a:gd name="T37" fmla="*/ 76 h 387"/>
                <a:gd name="T38" fmla="*/ 8 w 352"/>
                <a:gd name="T39" fmla="*/ 79 h 387"/>
                <a:gd name="T40" fmla="*/ 13 w 352"/>
                <a:gd name="T41" fmla="*/ 80 h 387"/>
                <a:gd name="T42" fmla="*/ 17 w 352"/>
                <a:gd name="T43" fmla="*/ 80 h 387"/>
                <a:gd name="T44" fmla="*/ 20 w 352"/>
                <a:gd name="T45" fmla="*/ 79 h 387"/>
                <a:gd name="T46" fmla="*/ 23 w 352"/>
                <a:gd name="T47" fmla="*/ 77 h 387"/>
                <a:gd name="T48" fmla="*/ 25 w 352"/>
                <a:gd name="T49" fmla="*/ 77 h 387"/>
                <a:gd name="T50" fmla="*/ 26 w 352"/>
                <a:gd name="T51" fmla="*/ 78 h 387"/>
                <a:gd name="T52" fmla="*/ 26 w 352"/>
                <a:gd name="T53" fmla="*/ 84 h 387"/>
                <a:gd name="T54" fmla="*/ 24 w 352"/>
                <a:gd name="T55" fmla="*/ 92 h 387"/>
                <a:gd name="T56" fmla="*/ 23 w 352"/>
                <a:gd name="T57" fmla="*/ 95 h 387"/>
                <a:gd name="T58" fmla="*/ 23 w 352"/>
                <a:gd name="T59" fmla="*/ 101 h 387"/>
                <a:gd name="T60" fmla="*/ 26 w 352"/>
                <a:gd name="T61" fmla="*/ 109 h 387"/>
                <a:gd name="T62" fmla="*/ 29 w 352"/>
                <a:gd name="T63" fmla="*/ 115 h 387"/>
                <a:gd name="T64" fmla="*/ 39 w 352"/>
                <a:gd name="T65" fmla="*/ 122 h 387"/>
                <a:gd name="T66" fmla="*/ 46 w 352"/>
                <a:gd name="T67" fmla="*/ 126 h 387"/>
                <a:gd name="T68" fmla="*/ 49 w 352"/>
                <a:gd name="T69" fmla="*/ 127 h 387"/>
                <a:gd name="T70" fmla="*/ 52 w 352"/>
                <a:gd name="T71" fmla="*/ 124 h 387"/>
                <a:gd name="T72" fmla="*/ 56 w 352"/>
                <a:gd name="T73" fmla="*/ 119 h 387"/>
                <a:gd name="T74" fmla="*/ 57 w 352"/>
                <a:gd name="T75" fmla="*/ 115 h 387"/>
                <a:gd name="T76" fmla="*/ 58 w 352"/>
                <a:gd name="T77" fmla="*/ 111 h 387"/>
                <a:gd name="T78" fmla="*/ 59 w 352"/>
                <a:gd name="T79" fmla="*/ 106 h 387"/>
                <a:gd name="T80" fmla="*/ 63 w 352"/>
                <a:gd name="T81" fmla="*/ 100 h 387"/>
                <a:gd name="T82" fmla="*/ 69 w 352"/>
                <a:gd name="T83" fmla="*/ 92 h 387"/>
                <a:gd name="T84" fmla="*/ 76 w 352"/>
                <a:gd name="T85" fmla="*/ 86 h 387"/>
                <a:gd name="T86" fmla="*/ 85 w 352"/>
                <a:gd name="T87" fmla="*/ 82 h 387"/>
                <a:gd name="T88" fmla="*/ 96 w 352"/>
                <a:gd name="T89" fmla="*/ 75 h 387"/>
                <a:gd name="T90" fmla="*/ 104 w 352"/>
                <a:gd name="T91" fmla="*/ 70 h 387"/>
                <a:gd name="T92" fmla="*/ 109 w 352"/>
                <a:gd name="T93" fmla="*/ 65 h 387"/>
                <a:gd name="T94" fmla="*/ 111 w 352"/>
                <a:gd name="T95" fmla="*/ 61 h 387"/>
                <a:gd name="T96" fmla="*/ 113 w 352"/>
                <a:gd name="T97" fmla="*/ 55 h 387"/>
                <a:gd name="T98" fmla="*/ 113 w 352"/>
                <a:gd name="T99" fmla="*/ 49 h 387"/>
                <a:gd name="T100" fmla="*/ 110 w 352"/>
                <a:gd name="T101" fmla="*/ 41 h 387"/>
                <a:gd name="T102" fmla="*/ 106 w 352"/>
                <a:gd name="T103" fmla="*/ 3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14" name="Freeform 364">
              <a:extLst>
                <a:ext uri="{FF2B5EF4-FFF2-40B4-BE49-F238E27FC236}">
                  <a16:creationId xmlns:a16="http://schemas.microsoft.com/office/drawing/2014/main" id="{3F254973-235A-4C0E-B845-254BAE7D8071}"/>
                </a:ext>
              </a:extLst>
            </p:cNvPr>
            <p:cNvSpPr>
              <a:spLocks/>
            </p:cNvSpPr>
            <p:nvPr/>
          </p:nvSpPr>
          <p:spPr bwMode="auto">
            <a:xfrm>
              <a:off x="923" y="2662"/>
              <a:ext cx="17" cy="26"/>
            </a:xfrm>
            <a:custGeom>
              <a:avLst/>
              <a:gdLst>
                <a:gd name="T0" fmla="*/ 5 w 52"/>
                <a:gd name="T1" fmla="*/ 0 h 78"/>
                <a:gd name="T2" fmla="*/ 7 w 52"/>
                <a:gd name="T3" fmla="*/ 0 h 78"/>
                <a:gd name="T4" fmla="*/ 8 w 52"/>
                <a:gd name="T5" fmla="*/ 1 h 78"/>
                <a:gd name="T6" fmla="*/ 10 w 52"/>
                <a:gd name="T7" fmla="*/ 2 h 78"/>
                <a:gd name="T8" fmla="*/ 12 w 52"/>
                <a:gd name="T9" fmla="*/ 3 h 78"/>
                <a:gd name="T10" fmla="*/ 13 w 52"/>
                <a:gd name="T11" fmla="*/ 4 h 78"/>
                <a:gd name="T12" fmla="*/ 15 w 52"/>
                <a:gd name="T13" fmla="*/ 6 h 78"/>
                <a:gd name="T14" fmla="*/ 15 w 52"/>
                <a:gd name="T15" fmla="*/ 7 h 78"/>
                <a:gd name="T16" fmla="*/ 16 w 52"/>
                <a:gd name="T17" fmla="*/ 8 h 78"/>
                <a:gd name="T18" fmla="*/ 17 w 52"/>
                <a:gd name="T19" fmla="*/ 11 h 78"/>
                <a:gd name="T20" fmla="*/ 17 w 52"/>
                <a:gd name="T21" fmla="*/ 14 h 78"/>
                <a:gd name="T22" fmla="*/ 17 w 52"/>
                <a:gd name="T23" fmla="*/ 15 h 78"/>
                <a:gd name="T24" fmla="*/ 16 w 52"/>
                <a:gd name="T25" fmla="*/ 17 h 78"/>
                <a:gd name="T26" fmla="*/ 15 w 52"/>
                <a:gd name="T27" fmla="*/ 18 h 78"/>
                <a:gd name="T28" fmla="*/ 14 w 52"/>
                <a:gd name="T29" fmla="*/ 20 h 78"/>
                <a:gd name="T30" fmla="*/ 13 w 52"/>
                <a:gd name="T31" fmla="*/ 22 h 78"/>
                <a:gd name="T32" fmla="*/ 13 w 52"/>
                <a:gd name="T33" fmla="*/ 24 h 78"/>
                <a:gd name="T34" fmla="*/ 9 w 52"/>
                <a:gd name="T35" fmla="*/ 25 h 78"/>
                <a:gd name="T36" fmla="*/ 5 w 52"/>
                <a:gd name="T37" fmla="*/ 26 h 78"/>
                <a:gd name="T38" fmla="*/ 4 w 52"/>
                <a:gd name="T39" fmla="*/ 26 h 78"/>
                <a:gd name="T40" fmla="*/ 2 w 52"/>
                <a:gd name="T41" fmla="*/ 26 h 78"/>
                <a:gd name="T42" fmla="*/ 1 w 52"/>
                <a:gd name="T43" fmla="*/ 26 h 78"/>
                <a:gd name="T44" fmla="*/ 1 w 52"/>
                <a:gd name="T45" fmla="*/ 26 h 78"/>
                <a:gd name="T46" fmla="*/ 1 w 52"/>
                <a:gd name="T47" fmla="*/ 25 h 78"/>
                <a:gd name="T48" fmla="*/ 0 w 52"/>
                <a:gd name="T49" fmla="*/ 24 h 78"/>
                <a:gd name="T50" fmla="*/ 0 w 52"/>
                <a:gd name="T51" fmla="*/ 23 h 78"/>
                <a:gd name="T52" fmla="*/ 0 w 52"/>
                <a:gd name="T53" fmla="*/ 21 h 78"/>
                <a:gd name="T54" fmla="*/ 1 w 52"/>
                <a:gd name="T55" fmla="*/ 20 h 78"/>
                <a:gd name="T56" fmla="*/ 2 w 52"/>
                <a:gd name="T57" fmla="*/ 19 h 78"/>
                <a:gd name="T58" fmla="*/ 6 w 52"/>
                <a:gd name="T59" fmla="*/ 16 h 78"/>
                <a:gd name="T60" fmla="*/ 9 w 52"/>
                <a:gd name="T61" fmla="*/ 14 h 78"/>
                <a:gd name="T62" fmla="*/ 8 w 52"/>
                <a:gd name="T63" fmla="*/ 11 h 78"/>
                <a:gd name="T64" fmla="*/ 7 w 52"/>
                <a:gd name="T65" fmla="*/ 7 h 78"/>
                <a:gd name="T66" fmla="*/ 6 w 52"/>
                <a:gd name="T67" fmla="*/ 3 h 78"/>
                <a:gd name="T68" fmla="*/ 5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15" name="Freeform 365">
              <a:extLst>
                <a:ext uri="{FF2B5EF4-FFF2-40B4-BE49-F238E27FC236}">
                  <a16:creationId xmlns:a16="http://schemas.microsoft.com/office/drawing/2014/main" id="{B84ACFFA-7F04-488E-BD4D-6ED593F34FB9}"/>
                </a:ext>
              </a:extLst>
            </p:cNvPr>
            <p:cNvSpPr>
              <a:spLocks/>
            </p:cNvSpPr>
            <p:nvPr/>
          </p:nvSpPr>
          <p:spPr bwMode="auto">
            <a:xfrm>
              <a:off x="912" y="2666"/>
              <a:ext cx="9" cy="10"/>
            </a:xfrm>
            <a:custGeom>
              <a:avLst/>
              <a:gdLst>
                <a:gd name="T0" fmla="*/ 4 w 33"/>
                <a:gd name="T1" fmla="*/ 2 h 30"/>
                <a:gd name="T2" fmla="*/ 0 w 33"/>
                <a:gd name="T3" fmla="*/ 8 h 30"/>
                <a:gd name="T4" fmla="*/ 2 w 33"/>
                <a:gd name="T5" fmla="*/ 8 h 30"/>
                <a:gd name="T6" fmla="*/ 4 w 33"/>
                <a:gd name="T7" fmla="*/ 9 h 30"/>
                <a:gd name="T8" fmla="*/ 6 w 33"/>
                <a:gd name="T9" fmla="*/ 10 h 30"/>
                <a:gd name="T10" fmla="*/ 9 w 33"/>
                <a:gd name="T11" fmla="*/ 10 h 30"/>
                <a:gd name="T12" fmla="*/ 9 w 33"/>
                <a:gd name="T13" fmla="*/ 0 h 30"/>
                <a:gd name="T14" fmla="*/ 5 w 33"/>
                <a:gd name="T15" fmla="*/ 0 h 30"/>
                <a:gd name="T16" fmla="*/ 4 w 33"/>
                <a:gd name="T17" fmla="*/ 2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grpSp>
      <p:sp>
        <p:nvSpPr>
          <p:cNvPr id="916" name="Freeform 366">
            <a:extLst>
              <a:ext uri="{FF2B5EF4-FFF2-40B4-BE49-F238E27FC236}">
                <a16:creationId xmlns:a16="http://schemas.microsoft.com/office/drawing/2014/main" id="{31BE46D9-9DBA-4B1F-B3D6-07701F214C6A}"/>
              </a:ext>
            </a:extLst>
          </p:cNvPr>
          <p:cNvSpPr>
            <a:spLocks/>
          </p:cNvSpPr>
          <p:nvPr>
            <p:custDataLst>
              <p:tags r:id="rId266"/>
            </p:custDataLst>
          </p:nvPr>
        </p:nvSpPr>
        <p:spPr bwMode="auto">
          <a:xfrm>
            <a:off x="10506782" y="9030135"/>
            <a:ext cx="40421" cy="124631"/>
          </a:xfrm>
          <a:custGeom>
            <a:avLst/>
            <a:gdLst>
              <a:gd name="T0" fmla="*/ 5269 w 47"/>
              <a:gd name="T1" fmla="*/ 0 h 28"/>
              <a:gd name="T2" fmla="*/ 10133 w 47"/>
              <a:gd name="T3" fmla="*/ 0 h 28"/>
              <a:gd name="T4" fmla="*/ 12565 w 47"/>
              <a:gd name="T5" fmla="*/ 4196 h 28"/>
              <a:gd name="T6" fmla="*/ 13376 w 47"/>
              <a:gd name="T7" fmla="*/ 8391 h 28"/>
              <a:gd name="T8" fmla="*/ 13376 w 47"/>
              <a:gd name="T9" fmla="*/ 12587 h 28"/>
              <a:gd name="T10" fmla="*/ 12970 w 47"/>
              <a:gd name="T11" fmla="*/ 16782 h 28"/>
              <a:gd name="T12" fmla="*/ 13376 w 47"/>
              <a:gd name="T13" fmla="*/ 20978 h 28"/>
              <a:gd name="T14" fmla="*/ 14997 w 47"/>
              <a:gd name="T15" fmla="*/ 25173 h 28"/>
              <a:gd name="T16" fmla="*/ 19050 w 47"/>
              <a:gd name="T17" fmla="*/ 25173 h 28"/>
              <a:gd name="T18" fmla="*/ 17023 w 47"/>
              <a:gd name="T19" fmla="*/ 39858 h 28"/>
              <a:gd name="T20" fmla="*/ 14997 w 47"/>
              <a:gd name="T21" fmla="*/ 52445 h 28"/>
              <a:gd name="T22" fmla="*/ 13376 w 47"/>
              <a:gd name="T23" fmla="*/ 56640 h 28"/>
              <a:gd name="T24" fmla="*/ 11349 w 47"/>
              <a:gd name="T25" fmla="*/ 58738 h 28"/>
              <a:gd name="T26" fmla="*/ 6485 w 47"/>
              <a:gd name="T27" fmla="*/ 56640 h 28"/>
              <a:gd name="T28" fmla="*/ 0 w 47"/>
              <a:gd name="T29" fmla="*/ 52445 h 28"/>
              <a:gd name="T30" fmla="*/ 405 w 47"/>
              <a:gd name="T31" fmla="*/ 39858 h 28"/>
              <a:gd name="T32" fmla="*/ 811 w 47"/>
              <a:gd name="T33" fmla="*/ 31467 h 28"/>
              <a:gd name="T34" fmla="*/ 1621 w 47"/>
              <a:gd name="T35" fmla="*/ 27271 h 28"/>
              <a:gd name="T36" fmla="*/ 2432 w 47"/>
              <a:gd name="T37" fmla="*/ 25173 h 28"/>
              <a:gd name="T38" fmla="*/ 3648 w 47"/>
              <a:gd name="T39" fmla="*/ 23076 h 28"/>
              <a:gd name="T40" fmla="*/ 4459 w 47"/>
              <a:gd name="T41" fmla="*/ 18880 h 28"/>
              <a:gd name="T42" fmla="*/ 5269 w 47"/>
              <a:gd name="T43" fmla="*/ 10489 h 28"/>
              <a:gd name="T44" fmla="*/ 5269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917" name="Freeform 367">
            <a:extLst>
              <a:ext uri="{FF2B5EF4-FFF2-40B4-BE49-F238E27FC236}">
                <a16:creationId xmlns:a16="http://schemas.microsoft.com/office/drawing/2014/main" id="{4F7303C4-97A9-4346-9F33-799C07241C8C}"/>
              </a:ext>
            </a:extLst>
          </p:cNvPr>
          <p:cNvSpPr>
            <a:spLocks/>
          </p:cNvSpPr>
          <p:nvPr>
            <p:custDataLst>
              <p:tags r:id="rId267"/>
            </p:custDataLst>
          </p:nvPr>
        </p:nvSpPr>
        <p:spPr bwMode="auto">
          <a:xfrm>
            <a:off x="10446151" y="9087398"/>
            <a:ext cx="50527" cy="121262"/>
          </a:xfrm>
          <a:custGeom>
            <a:avLst/>
            <a:gdLst>
              <a:gd name="T0" fmla="*/ 5841 w 53"/>
              <a:gd name="T1" fmla="*/ 0 h 33"/>
              <a:gd name="T2" fmla="*/ 11682 w 53"/>
              <a:gd name="T3" fmla="*/ 1732 h 33"/>
              <a:gd name="T4" fmla="*/ 15276 w 53"/>
              <a:gd name="T5" fmla="*/ 1732 h 33"/>
              <a:gd name="T6" fmla="*/ 16624 w 53"/>
              <a:gd name="T7" fmla="*/ 5195 h 33"/>
              <a:gd name="T8" fmla="*/ 16624 w 53"/>
              <a:gd name="T9" fmla="*/ 6927 h 33"/>
              <a:gd name="T10" fmla="*/ 16624 w 53"/>
              <a:gd name="T11" fmla="*/ 10391 h 33"/>
              <a:gd name="T12" fmla="*/ 17523 w 53"/>
              <a:gd name="T13" fmla="*/ 13855 h 33"/>
              <a:gd name="T14" fmla="*/ 19769 w 53"/>
              <a:gd name="T15" fmla="*/ 17318 h 33"/>
              <a:gd name="T16" fmla="*/ 23813 w 53"/>
              <a:gd name="T17" fmla="*/ 20782 h 33"/>
              <a:gd name="T18" fmla="*/ 21566 w 53"/>
              <a:gd name="T19" fmla="*/ 38100 h 33"/>
              <a:gd name="T20" fmla="*/ 19769 w 53"/>
              <a:gd name="T21" fmla="*/ 48491 h 33"/>
              <a:gd name="T22" fmla="*/ 18871 w 53"/>
              <a:gd name="T23" fmla="*/ 53686 h 33"/>
              <a:gd name="T24" fmla="*/ 17073 w 53"/>
              <a:gd name="T25" fmla="*/ 55418 h 33"/>
              <a:gd name="T26" fmla="*/ 16175 w 53"/>
              <a:gd name="T27" fmla="*/ 57150 h 33"/>
              <a:gd name="T28" fmla="*/ 15276 w 53"/>
              <a:gd name="T29" fmla="*/ 57150 h 33"/>
              <a:gd name="T30" fmla="*/ 8986 w 53"/>
              <a:gd name="T31" fmla="*/ 51955 h 33"/>
              <a:gd name="T32" fmla="*/ 0 w 53"/>
              <a:gd name="T33" fmla="*/ 41564 h 33"/>
              <a:gd name="T34" fmla="*/ 0 w 53"/>
              <a:gd name="T35" fmla="*/ 32905 h 33"/>
              <a:gd name="T36" fmla="*/ 899 w 53"/>
              <a:gd name="T37" fmla="*/ 27709 h 33"/>
              <a:gd name="T38" fmla="*/ 1797 w 53"/>
              <a:gd name="T39" fmla="*/ 24245 h 33"/>
              <a:gd name="T40" fmla="*/ 3145 w 53"/>
              <a:gd name="T41" fmla="*/ 20782 h 33"/>
              <a:gd name="T42" fmla="*/ 4044 w 53"/>
              <a:gd name="T43" fmla="*/ 19050 h 33"/>
              <a:gd name="T44" fmla="*/ 4942 w 53"/>
              <a:gd name="T45" fmla="*/ 15586 h 33"/>
              <a:gd name="T46" fmla="*/ 5392 w 53"/>
              <a:gd name="T47" fmla="*/ 10391 h 33"/>
              <a:gd name="T48" fmla="*/ 5841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grpSp>
        <p:nvGrpSpPr>
          <p:cNvPr id="918" name="Group 368">
            <a:extLst>
              <a:ext uri="{FF2B5EF4-FFF2-40B4-BE49-F238E27FC236}">
                <a16:creationId xmlns:a16="http://schemas.microsoft.com/office/drawing/2014/main" id="{A78D3BDA-DA15-40C2-AF8A-88EE5174861A}"/>
              </a:ext>
            </a:extLst>
          </p:cNvPr>
          <p:cNvGrpSpPr>
            <a:grpSpLocks/>
          </p:cNvGrpSpPr>
          <p:nvPr>
            <p:custDataLst>
              <p:tags r:id="rId268"/>
            </p:custDataLst>
          </p:nvPr>
        </p:nvGrpSpPr>
        <p:grpSpPr bwMode="auto">
          <a:xfrm>
            <a:off x="10109314" y="8009518"/>
            <a:ext cx="357048" cy="218943"/>
            <a:chOff x="3481" y="2773"/>
            <a:chExt cx="125" cy="65"/>
          </a:xfrm>
          <a:solidFill>
            <a:schemeClr val="bg2">
              <a:lumMod val="50000"/>
              <a:alpha val="18000"/>
            </a:schemeClr>
          </a:solidFill>
        </p:grpSpPr>
        <p:sp>
          <p:nvSpPr>
            <p:cNvPr id="919" name="Freeform 369">
              <a:extLst>
                <a:ext uri="{FF2B5EF4-FFF2-40B4-BE49-F238E27FC236}">
                  <a16:creationId xmlns:a16="http://schemas.microsoft.com/office/drawing/2014/main" id="{AA6BF0C2-6575-4C42-9ABF-B8D402FABE43}"/>
                </a:ext>
              </a:extLst>
            </p:cNvPr>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8">
                  <a:moveTo>
                    <a:pt x="13" y="0"/>
                  </a:moveTo>
                  <a:lnTo>
                    <a:pt x="10" y="9"/>
                  </a:lnTo>
                  <a:lnTo>
                    <a:pt x="6" y="18"/>
                  </a:lnTo>
                  <a:lnTo>
                    <a:pt x="5" y="17"/>
                  </a:lnTo>
                  <a:lnTo>
                    <a:pt x="3" y="14"/>
                  </a:lnTo>
                  <a:lnTo>
                    <a:pt x="1" y="10"/>
                  </a:lnTo>
                  <a:lnTo>
                    <a:pt x="0" y="6"/>
                  </a:lnTo>
                </a:path>
              </a:pathLst>
            </a:custGeom>
            <a:grpFill/>
            <a:ln w="9525" cmpd="sng">
              <a:solidFill>
                <a:srgbClr val="FFFFFF"/>
              </a:solidFill>
              <a:prstDash val="solid"/>
              <a:round/>
              <a:headEnd/>
              <a:tailEnd/>
            </a:ln>
          </p:spPr>
          <p:txBody>
            <a:bodyPr/>
            <a:lstStyle/>
            <a:p>
              <a:endParaRPr lang="es-ES" dirty="0"/>
            </a:p>
          </p:txBody>
        </p:sp>
        <p:sp>
          <p:nvSpPr>
            <p:cNvPr id="920" name="Line 370">
              <a:extLst>
                <a:ext uri="{FF2B5EF4-FFF2-40B4-BE49-F238E27FC236}">
                  <a16:creationId xmlns:a16="http://schemas.microsoft.com/office/drawing/2014/main" id="{C30EB323-45A9-4381-A5AB-EDE1A2F08278}"/>
                </a:ext>
              </a:extLst>
            </p:cNvPr>
            <p:cNvSpPr>
              <a:spLocks noChangeShapeType="1"/>
            </p:cNvSpPr>
            <p:nvPr/>
          </p:nvSpPr>
          <p:spPr bwMode="auto">
            <a:xfrm>
              <a:off x="3583" y="2800"/>
              <a:ext cx="2" cy="1"/>
            </a:xfrm>
            <a:prstGeom prst="line">
              <a:avLst/>
            </a:prstGeom>
            <a:grpFill/>
            <a:ln w="9525">
              <a:solidFill>
                <a:srgbClr val="FFFFFF"/>
              </a:solidFill>
              <a:round/>
              <a:headEnd/>
              <a:tailEnd/>
            </a:ln>
          </p:spPr>
          <p:txBody>
            <a:bodyPr/>
            <a:lstStyle/>
            <a:p>
              <a:endParaRPr lang="es-ES" dirty="0"/>
            </a:p>
          </p:txBody>
        </p:sp>
        <p:sp>
          <p:nvSpPr>
            <p:cNvPr id="921" name="Freeform 371">
              <a:extLst>
                <a:ext uri="{FF2B5EF4-FFF2-40B4-BE49-F238E27FC236}">
                  <a16:creationId xmlns:a16="http://schemas.microsoft.com/office/drawing/2014/main" id="{1EA768C3-BCB0-4C65-9122-EABF7D05FE31}"/>
                </a:ext>
              </a:extLst>
            </p:cNvPr>
            <p:cNvSpPr>
              <a:spLocks/>
            </p:cNvSpPr>
            <p:nvPr/>
          </p:nvSpPr>
          <p:spPr bwMode="auto">
            <a:xfrm>
              <a:off x="3554" y="2819"/>
              <a:ext cx="5" cy="6"/>
            </a:xfrm>
            <a:custGeom>
              <a:avLst/>
              <a:gdLst>
                <a:gd name="T0" fmla="*/ 5 w 14"/>
                <a:gd name="T1" fmla="*/ 6 h 19"/>
                <a:gd name="T2" fmla="*/ 0 w 14"/>
                <a:gd name="T3" fmla="*/ 0 h 19"/>
                <a:gd name="T4" fmla="*/ 5 w 14"/>
                <a:gd name="T5" fmla="*/ 6 h 19"/>
                <a:gd name="T6" fmla="*/ 0 60000 65536"/>
                <a:gd name="T7" fmla="*/ 0 60000 65536"/>
                <a:gd name="T8" fmla="*/ 0 60000 65536"/>
              </a:gdLst>
              <a:ahLst/>
              <a:cxnLst>
                <a:cxn ang="T6">
                  <a:pos x="T0" y="T1"/>
                </a:cxn>
                <a:cxn ang="T7">
                  <a:pos x="T2" y="T3"/>
                </a:cxn>
                <a:cxn ang="T8">
                  <a:pos x="T4" y="T5"/>
                </a:cxn>
              </a:cxnLst>
              <a:rect l="0" t="0" r="r" b="b"/>
              <a:pathLst>
                <a:path w="14" h="19">
                  <a:moveTo>
                    <a:pt x="14" y="19"/>
                  </a:moveTo>
                  <a:lnTo>
                    <a:pt x="0" y="0"/>
                  </a:lnTo>
                  <a:lnTo>
                    <a:pt x="14" y="19"/>
                  </a:lnTo>
                </a:path>
              </a:pathLst>
            </a:custGeom>
            <a:grpFill/>
            <a:ln w="9525" cmpd="sng">
              <a:solidFill>
                <a:srgbClr val="FFFFFF"/>
              </a:solidFill>
              <a:prstDash val="solid"/>
              <a:round/>
              <a:headEnd/>
              <a:tailEnd/>
            </a:ln>
          </p:spPr>
          <p:txBody>
            <a:bodyPr/>
            <a:lstStyle/>
            <a:p>
              <a:endParaRPr lang="es-ES" dirty="0"/>
            </a:p>
          </p:txBody>
        </p:sp>
        <p:sp>
          <p:nvSpPr>
            <p:cNvPr id="922" name="Freeform 372">
              <a:extLst>
                <a:ext uri="{FF2B5EF4-FFF2-40B4-BE49-F238E27FC236}">
                  <a16:creationId xmlns:a16="http://schemas.microsoft.com/office/drawing/2014/main" id="{4BA8C51F-5BE9-4121-9603-D2A7DD62D7DB}"/>
                </a:ext>
              </a:extLst>
            </p:cNvPr>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8">
                  <a:moveTo>
                    <a:pt x="0" y="6"/>
                  </a:moveTo>
                  <a:lnTo>
                    <a:pt x="7" y="18"/>
                  </a:lnTo>
                  <a:lnTo>
                    <a:pt x="0" y="18"/>
                  </a:lnTo>
                  <a:lnTo>
                    <a:pt x="0" y="0"/>
                  </a:lnTo>
                  <a:lnTo>
                    <a:pt x="7" y="0"/>
                  </a:lnTo>
                </a:path>
              </a:pathLst>
            </a:custGeom>
            <a:grpFill/>
            <a:ln w="9525" cmpd="sng">
              <a:solidFill>
                <a:srgbClr val="FFFFFF"/>
              </a:solidFill>
              <a:prstDash val="solid"/>
              <a:round/>
              <a:headEnd/>
              <a:tailEnd/>
            </a:ln>
          </p:spPr>
          <p:txBody>
            <a:bodyPr/>
            <a:lstStyle/>
            <a:p>
              <a:endParaRPr lang="es-ES" dirty="0"/>
            </a:p>
          </p:txBody>
        </p:sp>
        <p:sp>
          <p:nvSpPr>
            <p:cNvPr id="923" name="Freeform 373">
              <a:extLst>
                <a:ext uri="{FF2B5EF4-FFF2-40B4-BE49-F238E27FC236}">
                  <a16:creationId xmlns:a16="http://schemas.microsoft.com/office/drawing/2014/main" id="{DC4A6E1A-FE25-4D22-9C7C-E1E14BDC645B}"/>
                </a:ext>
              </a:extLst>
            </p:cNvPr>
            <p:cNvSpPr>
              <a:spLocks/>
            </p:cNvSpPr>
            <p:nvPr/>
          </p:nvSpPr>
          <p:spPr bwMode="auto">
            <a:xfrm>
              <a:off x="3599" y="2773"/>
              <a:ext cx="7" cy="4"/>
            </a:xfrm>
            <a:custGeom>
              <a:avLst/>
              <a:gdLst>
                <a:gd name="T0" fmla="*/ 7 w 20"/>
                <a:gd name="T1" fmla="*/ 4 h 12"/>
                <a:gd name="T2" fmla="*/ 4 w 20"/>
                <a:gd name="T3" fmla="*/ 3 h 12"/>
                <a:gd name="T4" fmla="*/ 0 w 20"/>
                <a:gd name="T5" fmla="*/ 2 h 12"/>
                <a:gd name="T6" fmla="*/ 0 w 20"/>
                <a:gd name="T7" fmla="*/ 2 h 12"/>
                <a:gd name="T8" fmla="*/ 1 w 20"/>
                <a:gd name="T9" fmla="*/ 1 h 12"/>
                <a:gd name="T10" fmla="*/ 3 w 20"/>
                <a:gd name="T11" fmla="*/ 0 h 12"/>
                <a:gd name="T12" fmla="*/ 5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10" y="9"/>
                  </a:lnTo>
                  <a:lnTo>
                    <a:pt x="0" y="6"/>
                  </a:lnTo>
                  <a:lnTo>
                    <a:pt x="1" y="5"/>
                  </a:lnTo>
                  <a:lnTo>
                    <a:pt x="3" y="3"/>
                  </a:lnTo>
                  <a:lnTo>
                    <a:pt x="8" y="1"/>
                  </a:lnTo>
                  <a:lnTo>
                    <a:pt x="13" y="0"/>
                  </a:lnTo>
                </a:path>
              </a:pathLst>
            </a:custGeom>
            <a:grpFill/>
            <a:ln w="9525" cmpd="sng">
              <a:solidFill>
                <a:srgbClr val="FFFFFF"/>
              </a:solidFill>
              <a:prstDash val="solid"/>
              <a:round/>
              <a:headEnd/>
              <a:tailEnd/>
            </a:ln>
          </p:spPr>
          <p:txBody>
            <a:bodyPr/>
            <a:lstStyle/>
            <a:p>
              <a:endParaRPr lang="es-ES" dirty="0"/>
            </a:p>
          </p:txBody>
        </p:sp>
        <p:sp>
          <p:nvSpPr>
            <p:cNvPr id="924" name="Line 374">
              <a:extLst>
                <a:ext uri="{FF2B5EF4-FFF2-40B4-BE49-F238E27FC236}">
                  <a16:creationId xmlns:a16="http://schemas.microsoft.com/office/drawing/2014/main" id="{9EE581F0-3059-4E75-B1D4-C1689668B943}"/>
                </a:ext>
              </a:extLst>
            </p:cNvPr>
            <p:cNvSpPr>
              <a:spLocks noChangeShapeType="1"/>
            </p:cNvSpPr>
            <p:nvPr/>
          </p:nvSpPr>
          <p:spPr bwMode="auto">
            <a:xfrm>
              <a:off x="3603" y="2773"/>
              <a:ext cx="1" cy="2"/>
            </a:xfrm>
            <a:prstGeom prst="line">
              <a:avLst/>
            </a:prstGeom>
            <a:grpFill/>
            <a:ln w="9525">
              <a:solidFill>
                <a:srgbClr val="FFFFFF"/>
              </a:solidFill>
              <a:round/>
              <a:headEnd/>
              <a:tailEnd/>
            </a:ln>
          </p:spPr>
          <p:txBody>
            <a:bodyPr/>
            <a:lstStyle/>
            <a:p>
              <a:endParaRPr lang="es-ES" dirty="0"/>
            </a:p>
          </p:txBody>
        </p:sp>
        <p:sp>
          <p:nvSpPr>
            <p:cNvPr id="925" name="Freeform 375">
              <a:extLst>
                <a:ext uri="{FF2B5EF4-FFF2-40B4-BE49-F238E27FC236}">
                  <a16:creationId xmlns:a16="http://schemas.microsoft.com/office/drawing/2014/main" id="{8AAE499B-90A8-4543-8185-B9E648179DEC}"/>
                </a:ext>
              </a:extLst>
            </p:cNvPr>
            <p:cNvSpPr>
              <a:spLocks/>
            </p:cNvSpPr>
            <p:nvPr/>
          </p:nvSpPr>
          <p:spPr bwMode="auto">
            <a:xfrm>
              <a:off x="3481" y="2828"/>
              <a:ext cx="7" cy="6"/>
            </a:xfrm>
            <a:custGeom>
              <a:avLst/>
              <a:gdLst>
                <a:gd name="T0" fmla="*/ 0 w 20"/>
                <a:gd name="T1" fmla="*/ 0 h 18"/>
                <a:gd name="T2" fmla="*/ 0 w 20"/>
                <a:gd name="T3" fmla="*/ 6 h 18"/>
                <a:gd name="T4" fmla="*/ 7 w 20"/>
                <a:gd name="T5" fmla="*/ 6 h 18"/>
                <a:gd name="T6" fmla="*/ 0 60000 65536"/>
                <a:gd name="T7" fmla="*/ 0 60000 65536"/>
                <a:gd name="T8" fmla="*/ 0 60000 65536"/>
              </a:gdLst>
              <a:ahLst/>
              <a:cxnLst>
                <a:cxn ang="T6">
                  <a:pos x="T0" y="T1"/>
                </a:cxn>
                <a:cxn ang="T7">
                  <a:pos x="T2" y="T3"/>
                </a:cxn>
                <a:cxn ang="T8">
                  <a:pos x="T4" y="T5"/>
                </a:cxn>
              </a:cxnLst>
              <a:rect l="0" t="0" r="r" b="b"/>
              <a:pathLst>
                <a:path w="20" h="18">
                  <a:moveTo>
                    <a:pt x="0" y="0"/>
                  </a:moveTo>
                  <a:lnTo>
                    <a:pt x="0" y="18"/>
                  </a:lnTo>
                  <a:lnTo>
                    <a:pt x="20" y="18"/>
                  </a:lnTo>
                </a:path>
              </a:pathLst>
            </a:custGeom>
            <a:grpFill/>
            <a:ln w="9525" cmpd="sng">
              <a:solidFill>
                <a:srgbClr val="FFFFFF"/>
              </a:solidFill>
              <a:prstDash val="solid"/>
              <a:round/>
              <a:headEnd/>
              <a:tailEnd/>
            </a:ln>
          </p:spPr>
          <p:txBody>
            <a:bodyPr/>
            <a:lstStyle/>
            <a:p>
              <a:endParaRPr lang="es-ES" dirty="0"/>
            </a:p>
          </p:txBody>
        </p:sp>
        <p:sp>
          <p:nvSpPr>
            <p:cNvPr id="926" name="Freeform 376">
              <a:extLst>
                <a:ext uri="{FF2B5EF4-FFF2-40B4-BE49-F238E27FC236}">
                  <a16:creationId xmlns:a16="http://schemas.microsoft.com/office/drawing/2014/main" id="{A92977FE-9E31-45BA-905E-97F68DDA73CF}"/>
                </a:ext>
              </a:extLst>
            </p:cNvPr>
            <p:cNvSpPr>
              <a:spLocks/>
            </p:cNvSpPr>
            <p:nvPr/>
          </p:nvSpPr>
          <p:spPr bwMode="auto">
            <a:xfrm>
              <a:off x="3485" y="2830"/>
              <a:ext cx="3" cy="4"/>
            </a:xfrm>
            <a:custGeom>
              <a:avLst/>
              <a:gdLst>
                <a:gd name="T0" fmla="*/ 3 w 7"/>
                <a:gd name="T1" fmla="*/ 4 h 12"/>
                <a:gd name="T2" fmla="*/ 2 w 7"/>
                <a:gd name="T3" fmla="*/ 2 h 12"/>
                <a:gd name="T4" fmla="*/ 0 w 7"/>
                <a:gd name="T5" fmla="*/ 0 h 12"/>
                <a:gd name="T6" fmla="*/ 0 60000 65536"/>
                <a:gd name="T7" fmla="*/ 0 60000 65536"/>
                <a:gd name="T8" fmla="*/ 0 60000 65536"/>
              </a:gdLst>
              <a:ahLst/>
              <a:cxnLst>
                <a:cxn ang="T6">
                  <a:pos x="T0" y="T1"/>
                </a:cxn>
                <a:cxn ang="T7">
                  <a:pos x="T2" y="T3"/>
                </a:cxn>
                <a:cxn ang="T8">
                  <a:pos x="T4" y="T5"/>
                </a:cxn>
              </a:cxnLst>
              <a:rect l="0" t="0" r="r" b="b"/>
              <a:pathLst>
                <a:path w="7" h="12">
                  <a:moveTo>
                    <a:pt x="7" y="12"/>
                  </a:moveTo>
                  <a:lnTo>
                    <a:pt x="4" y="6"/>
                  </a:lnTo>
                  <a:lnTo>
                    <a:pt x="0" y="0"/>
                  </a:lnTo>
                </a:path>
              </a:pathLst>
            </a:custGeom>
            <a:grpFill/>
            <a:ln w="9525" cmpd="sng">
              <a:solidFill>
                <a:srgbClr val="FFFFFF"/>
              </a:solidFill>
              <a:prstDash val="solid"/>
              <a:round/>
              <a:headEnd/>
              <a:tailEnd/>
            </a:ln>
          </p:spPr>
          <p:txBody>
            <a:bodyPr/>
            <a:lstStyle/>
            <a:p>
              <a:endParaRPr lang="es-ES" dirty="0"/>
            </a:p>
          </p:txBody>
        </p:sp>
        <p:sp>
          <p:nvSpPr>
            <p:cNvPr id="927" name="Freeform 377">
              <a:extLst>
                <a:ext uri="{FF2B5EF4-FFF2-40B4-BE49-F238E27FC236}">
                  <a16:creationId xmlns:a16="http://schemas.microsoft.com/office/drawing/2014/main" id="{647DD576-71A9-43A4-A10F-3D2A3941E234}"/>
                </a:ext>
              </a:extLst>
            </p:cNvPr>
            <p:cNvSpPr>
              <a:spLocks/>
            </p:cNvSpPr>
            <p:nvPr/>
          </p:nvSpPr>
          <p:spPr bwMode="auto">
            <a:xfrm>
              <a:off x="3481" y="2828"/>
              <a:ext cx="7" cy="6"/>
            </a:xfrm>
            <a:custGeom>
              <a:avLst/>
              <a:gdLst>
                <a:gd name="T0" fmla="*/ 0 w 20"/>
                <a:gd name="T1" fmla="*/ 0 h 18"/>
                <a:gd name="T2" fmla="*/ 0 w 20"/>
                <a:gd name="T3" fmla="*/ 6 h 18"/>
                <a:gd name="T4" fmla="*/ 7 w 20"/>
                <a:gd name="T5" fmla="*/ 6 h 18"/>
                <a:gd name="T6" fmla="*/ 6 w 20"/>
                <a:gd name="T7" fmla="*/ 4 h 18"/>
                <a:gd name="T8" fmla="*/ 5 w 20"/>
                <a:gd name="T9" fmla="*/ 2 h 18"/>
                <a:gd name="T10" fmla="*/ 0 w 2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8">
                  <a:moveTo>
                    <a:pt x="0" y="0"/>
                  </a:moveTo>
                  <a:lnTo>
                    <a:pt x="0" y="18"/>
                  </a:lnTo>
                  <a:lnTo>
                    <a:pt x="20" y="18"/>
                  </a:lnTo>
                  <a:lnTo>
                    <a:pt x="17" y="12"/>
                  </a:lnTo>
                  <a:lnTo>
                    <a:pt x="13" y="6"/>
                  </a:lnTo>
                  <a:lnTo>
                    <a:pt x="0" y="0"/>
                  </a:lnTo>
                </a:path>
              </a:pathLst>
            </a:custGeom>
            <a:grpFill/>
            <a:ln w="9525" cmpd="sng">
              <a:solidFill>
                <a:srgbClr val="FFFFFF"/>
              </a:solidFill>
              <a:prstDash val="solid"/>
              <a:round/>
              <a:headEnd/>
              <a:tailEnd/>
            </a:ln>
          </p:spPr>
          <p:txBody>
            <a:bodyPr/>
            <a:lstStyle/>
            <a:p>
              <a:endParaRPr lang="es-ES" dirty="0"/>
            </a:p>
          </p:txBody>
        </p:sp>
        <p:sp>
          <p:nvSpPr>
            <p:cNvPr id="928" name="Freeform 378">
              <a:extLst>
                <a:ext uri="{FF2B5EF4-FFF2-40B4-BE49-F238E27FC236}">
                  <a16:creationId xmlns:a16="http://schemas.microsoft.com/office/drawing/2014/main" id="{2EFDC2E8-FE1B-4EFC-BF8D-5F55DEB8E612}"/>
                </a:ext>
              </a:extLst>
            </p:cNvPr>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w 7"/>
                <a:gd name="T11" fmla="*/ 2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6"/>
                  </a:moveTo>
                  <a:lnTo>
                    <a:pt x="7" y="18"/>
                  </a:lnTo>
                  <a:lnTo>
                    <a:pt x="0" y="18"/>
                  </a:lnTo>
                  <a:lnTo>
                    <a:pt x="0" y="0"/>
                  </a:lnTo>
                  <a:lnTo>
                    <a:pt x="7" y="0"/>
                  </a:lnTo>
                  <a:lnTo>
                    <a:pt x="0" y="6"/>
                  </a:lnTo>
                </a:path>
              </a:pathLst>
            </a:custGeom>
            <a:grpFill/>
            <a:ln w="9525" cmpd="sng">
              <a:solidFill>
                <a:srgbClr val="FFFFFF"/>
              </a:solidFill>
              <a:prstDash val="solid"/>
              <a:round/>
              <a:headEnd/>
              <a:tailEnd/>
            </a:ln>
          </p:spPr>
          <p:txBody>
            <a:bodyPr/>
            <a:lstStyle/>
            <a:p>
              <a:endParaRPr lang="es-ES" dirty="0"/>
            </a:p>
          </p:txBody>
        </p:sp>
        <p:sp>
          <p:nvSpPr>
            <p:cNvPr id="929" name="Freeform 379">
              <a:extLst>
                <a:ext uri="{FF2B5EF4-FFF2-40B4-BE49-F238E27FC236}">
                  <a16:creationId xmlns:a16="http://schemas.microsoft.com/office/drawing/2014/main" id="{57D669BC-B297-4A87-BA88-F27D410E6D00}"/>
                </a:ext>
              </a:extLst>
            </p:cNvPr>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2 w 13"/>
                <a:gd name="T15" fmla="*/ 2 h 18"/>
                <a:gd name="T16" fmla="*/ 5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grpFill/>
            <a:ln w="9525" cmpd="sng">
              <a:solidFill>
                <a:srgbClr val="FFFFFF"/>
              </a:solidFill>
              <a:prstDash val="solid"/>
              <a:round/>
              <a:headEnd/>
              <a:tailEnd/>
            </a:ln>
          </p:spPr>
          <p:txBody>
            <a:bodyPr/>
            <a:lstStyle/>
            <a:p>
              <a:endParaRPr lang="es-ES" dirty="0"/>
            </a:p>
          </p:txBody>
        </p:sp>
      </p:grpSp>
      <p:sp>
        <p:nvSpPr>
          <p:cNvPr id="930" name="Freeform 380">
            <a:extLst>
              <a:ext uri="{FF2B5EF4-FFF2-40B4-BE49-F238E27FC236}">
                <a16:creationId xmlns:a16="http://schemas.microsoft.com/office/drawing/2014/main" id="{7D65E866-2E9F-4D6F-878B-7723F6EF7DE4}"/>
              </a:ext>
            </a:extLst>
          </p:cNvPr>
          <p:cNvSpPr>
            <a:spLocks/>
          </p:cNvSpPr>
          <p:nvPr>
            <p:custDataLst>
              <p:tags r:id="rId269"/>
            </p:custDataLst>
          </p:nvPr>
        </p:nvSpPr>
        <p:spPr bwMode="auto">
          <a:xfrm>
            <a:off x="8260077" y="7992675"/>
            <a:ext cx="677042" cy="805043"/>
          </a:xfrm>
          <a:custGeom>
            <a:avLst/>
            <a:gdLst>
              <a:gd name="T0" fmla="*/ 26013 w 736"/>
              <a:gd name="T1" fmla="*/ 360469 h 721"/>
              <a:gd name="T2" fmla="*/ 39452 w 736"/>
              <a:gd name="T3" fmla="*/ 351523 h 721"/>
              <a:gd name="T4" fmla="*/ 54626 w 736"/>
              <a:gd name="T5" fmla="*/ 351523 h 721"/>
              <a:gd name="T6" fmla="*/ 84974 w 736"/>
              <a:gd name="T7" fmla="*/ 364152 h 721"/>
              <a:gd name="T8" fmla="*/ 106218 w 736"/>
              <a:gd name="T9" fmla="*/ 370993 h 721"/>
              <a:gd name="T10" fmla="*/ 126594 w 736"/>
              <a:gd name="T11" fmla="*/ 369941 h 721"/>
              <a:gd name="T12" fmla="*/ 264894 w 736"/>
              <a:gd name="T13" fmla="*/ 377308 h 721"/>
              <a:gd name="T14" fmla="*/ 282236 w 736"/>
              <a:gd name="T15" fmla="*/ 372046 h 721"/>
              <a:gd name="T16" fmla="*/ 271831 w 736"/>
              <a:gd name="T17" fmla="*/ 345734 h 721"/>
              <a:gd name="T18" fmla="*/ 287872 w 736"/>
              <a:gd name="T19" fmla="*/ 227858 h 721"/>
              <a:gd name="T20" fmla="*/ 307381 w 736"/>
              <a:gd name="T21" fmla="*/ 225753 h 721"/>
              <a:gd name="T22" fmla="*/ 313451 w 736"/>
              <a:gd name="T23" fmla="*/ 218912 h 721"/>
              <a:gd name="T24" fmla="*/ 318220 w 736"/>
              <a:gd name="T25" fmla="*/ 189443 h 721"/>
              <a:gd name="T26" fmla="*/ 313017 w 736"/>
              <a:gd name="T27" fmla="*/ 158922 h 721"/>
              <a:gd name="T28" fmla="*/ 306948 w 736"/>
              <a:gd name="T29" fmla="*/ 159974 h 721"/>
              <a:gd name="T30" fmla="*/ 293074 w 736"/>
              <a:gd name="T31" fmla="*/ 157869 h 721"/>
              <a:gd name="T32" fmla="*/ 274866 w 736"/>
              <a:gd name="T33" fmla="*/ 157343 h 721"/>
              <a:gd name="T34" fmla="*/ 270097 w 736"/>
              <a:gd name="T35" fmla="*/ 152607 h 721"/>
              <a:gd name="T36" fmla="*/ 267495 w 736"/>
              <a:gd name="T37" fmla="*/ 133137 h 721"/>
              <a:gd name="T38" fmla="*/ 263160 w 736"/>
              <a:gd name="T39" fmla="*/ 115245 h 721"/>
              <a:gd name="T40" fmla="*/ 258825 w 736"/>
              <a:gd name="T41" fmla="*/ 97879 h 721"/>
              <a:gd name="T42" fmla="*/ 263160 w 736"/>
              <a:gd name="T43" fmla="*/ 87881 h 721"/>
              <a:gd name="T44" fmla="*/ 267495 w 736"/>
              <a:gd name="T45" fmla="*/ 77882 h 721"/>
              <a:gd name="T46" fmla="*/ 264894 w 736"/>
              <a:gd name="T47" fmla="*/ 52623 h 721"/>
              <a:gd name="T48" fmla="*/ 235847 w 736"/>
              <a:gd name="T49" fmla="*/ 36836 h 721"/>
              <a:gd name="T50" fmla="*/ 206800 w 736"/>
              <a:gd name="T51" fmla="*/ 34731 h 721"/>
              <a:gd name="T52" fmla="*/ 204198 w 736"/>
              <a:gd name="T53" fmla="*/ 42625 h 721"/>
              <a:gd name="T54" fmla="*/ 200730 w 736"/>
              <a:gd name="T55" fmla="*/ 53149 h 721"/>
              <a:gd name="T56" fmla="*/ 190759 w 736"/>
              <a:gd name="T57" fmla="*/ 64200 h 721"/>
              <a:gd name="T58" fmla="*/ 169949 w 736"/>
              <a:gd name="T59" fmla="*/ 68410 h 721"/>
              <a:gd name="T60" fmla="*/ 157809 w 736"/>
              <a:gd name="T61" fmla="*/ 60517 h 721"/>
              <a:gd name="T62" fmla="*/ 146971 w 736"/>
              <a:gd name="T63" fmla="*/ 43151 h 721"/>
              <a:gd name="T64" fmla="*/ 138300 w 736"/>
              <a:gd name="T65" fmla="*/ 20523 h 721"/>
              <a:gd name="T66" fmla="*/ 135265 w 736"/>
              <a:gd name="T67" fmla="*/ 0 h 721"/>
              <a:gd name="T68" fmla="*/ 13006 w 736"/>
              <a:gd name="T69" fmla="*/ 7893 h 721"/>
              <a:gd name="T70" fmla="*/ 20376 w 736"/>
              <a:gd name="T71" fmla="*/ 15261 h 721"/>
              <a:gd name="T72" fmla="*/ 32516 w 736"/>
              <a:gd name="T73" fmla="*/ 39467 h 721"/>
              <a:gd name="T74" fmla="*/ 44221 w 736"/>
              <a:gd name="T75" fmla="*/ 68410 h 721"/>
              <a:gd name="T76" fmla="*/ 44655 w 736"/>
              <a:gd name="T77" fmla="*/ 89986 h 721"/>
              <a:gd name="T78" fmla="*/ 40319 w 736"/>
              <a:gd name="T79" fmla="*/ 106825 h 721"/>
              <a:gd name="T80" fmla="*/ 41620 w 736"/>
              <a:gd name="T81" fmla="*/ 120507 h 721"/>
              <a:gd name="T82" fmla="*/ 51592 w 736"/>
              <a:gd name="T83" fmla="*/ 143135 h 721"/>
              <a:gd name="T84" fmla="*/ 56794 w 736"/>
              <a:gd name="T85" fmla="*/ 161553 h 721"/>
              <a:gd name="T86" fmla="*/ 55060 w 736"/>
              <a:gd name="T87" fmla="*/ 185234 h 721"/>
              <a:gd name="T88" fmla="*/ 45955 w 736"/>
              <a:gd name="T89" fmla="*/ 212071 h 721"/>
              <a:gd name="T90" fmla="*/ 33383 w 736"/>
              <a:gd name="T91" fmla="*/ 234699 h 721"/>
              <a:gd name="T92" fmla="*/ 17775 w 736"/>
              <a:gd name="T93" fmla="*/ 251012 h 721"/>
              <a:gd name="T94" fmla="*/ 10839 w 736"/>
              <a:gd name="T95" fmla="*/ 311003 h 721"/>
              <a:gd name="T96" fmla="*/ 4769 w 736"/>
              <a:gd name="T97" fmla="*/ 3299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931" name="Freeform 381">
            <a:extLst>
              <a:ext uri="{FF2B5EF4-FFF2-40B4-BE49-F238E27FC236}">
                <a16:creationId xmlns:a16="http://schemas.microsoft.com/office/drawing/2014/main" id="{422BA18D-FF15-4EF9-AF40-83122C8A90B4}"/>
              </a:ext>
            </a:extLst>
          </p:cNvPr>
          <p:cNvSpPr>
            <a:spLocks/>
          </p:cNvSpPr>
          <p:nvPr>
            <p:custDataLst>
              <p:tags r:id="rId270"/>
            </p:custDataLst>
          </p:nvPr>
        </p:nvSpPr>
        <p:spPr bwMode="auto">
          <a:xfrm>
            <a:off x="8283654" y="7935414"/>
            <a:ext cx="33684" cy="127998"/>
          </a:xfrm>
          <a:custGeom>
            <a:avLst/>
            <a:gdLst>
              <a:gd name="T0" fmla="*/ 0 w 39"/>
              <a:gd name="T1" fmla="*/ 60325 h 31"/>
              <a:gd name="T2" fmla="*/ 4885 w 39"/>
              <a:gd name="T3" fmla="*/ 54487 h 31"/>
              <a:gd name="T4" fmla="*/ 8955 w 39"/>
              <a:gd name="T5" fmla="*/ 54487 h 31"/>
              <a:gd name="T6" fmla="*/ 10583 w 39"/>
              <a:gd name="T7" fmla="*/ 54487 h 31"/>
              <a:gd name="T8" fmla="*/ 12212 w 39"/>
              <a:gd name="T9" fmla="*/ 54487 h 31"/>
              <a:gd name="T10" fmla="*/ 14247 w 39"/>
              <a:gd name="T11" fmla="*/ 52541 h 31"/>
              <a:gd name="T12" fmla="*/ 15875 w 39"/>
              <a:gd name="T13" fmla="*/ 48649 h 31"/>
              <a:gd name="T14" fmla="*/ 15875 w 39"/>
              <a:gd name="T15" fmla="*/ 0 h 31"/>
              <a:gd name="T16" fmla="*/ 10583 w 39"/>
              <a:gd name="T17" fmla="*/ 0 h 31"/>
              <a:gd name="T18" fmla="*/ 6920 w 39"/>
              <a:gd name="T19" fmla="*/ 0 h 31"/>
              <a:gd name="T20" fmla="*/ 3256 w 39"/>
              <a:gd name="T21" fmla="*/ 0 h 31"/>
              <a:gd name="T22" fmla="*/ 0 w 39"/>
              <a:gd name="T23" fmla="*/ 0 h 31"/>
              <a:gd name="T24" fmla="*/ 0 w 39"/>
              <a:gd name="T25" fmla="*/ 60325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932" name="Freeform 382">
            <a:extLst>
              <a:ext uri="{FF2B5EF4-FFF2-40B4-BE49-F238E27FC236}">
                <a16:creationId xmlns:a16="http://schemas.microsoft.com/office/drawing/2014/main" id="{5FFF0E43-D32C-4501-840C-891CCB4231DF}"/>
              </a:ext>
            </a:extLst>
          </p:cNvPr>
          <p:cNvSpPr>
            <a:spLocks/>
          </p:cNvSpPr>
          <p:nvPr>
            <p:custDataLst>
              <p:tags r:id="rId271"/>
            </p:custDataLst>
          </p:nvPr>
        </p:nvSpPr>
        <p:spPr bwMode="auto">
          <a:xfrm>
            <a:off x="8499230" y="9087398"/>
            <a:ext cx="842094" cy="845461"/>
          </a:xfrm>
          <a:custGeom>
            <a:avLst/>
            <a:gdLst>
              <a:gd name="T0" fmla="*/ 395117 w 903"/>
              <a:gd name="T1" fmla="*/ 152770 h 759"/>
              <a:gd name="T2" fmla="*/ 379295 w 903"/>
              <a:gd name="T3" fmla="*/ 203693 h 759"/>
              <a:gd name="T4" fmla="*/ 365670 w 903"/>
              <a:gd name="T5" fmla="*/ 217343 h 759"/>
              <a:gd name="T6" fmla="*/ 334465 w 903"/>
              <a:gd name="T7" fmla="*/ 266166 h 759"/>
              <a:gd name="T8" fmla="*/ 316445 w 903"/>
              <a:gd name="T9" fmla="*/ 294515 h 759"/>
              <a:gd name="T10" fmla="*/ 284361 w 903"/>
              <a:gd name="T11" fmla="*/ 321815 h 759"/>
              <a:gd name="T12" fmla="*/ 256233 w 903"/>
              <a:gd name="T13" fmla="*/ 349639 h 759"/>
              <a:gd name="T14" fmla="*/ 244806 w 903"/>
              <a:gd name="T15" fmla="*/ 366438 h 759"/>
              <a:gd name="T16" fmla="*/ 228544 w 903"/>
              <a:gd name="T17" fmla="*/ 370113 h 759"/>
              <a:gd name="T18" fmla="*/ 217996 w 903"/>
              <a:gd name="T19" fmla="*/ 372738 h 759"/>
              <a:gd name="T20" fmla="*/ 213161 w 903"/>
              <a:gd name="T21" fmla="*/ 381663 h 759"/>
              <a:gd name="T22" fmla="*/ 163497 w 903"/>
              <a:gd name="T23" fmla="*/ 381663 h 759"/>
              <a:gd name="T24" fmla="*/ 148993 w 903"/>
              <a:gd name="T25" fmla="*/ 384287 h 759"/>
              <a:gd name="T26" fmla="*/ 138884 w 903"/>
              <a:gd name="T27" fmla="*/ 384287 h 759"/>
              <a:gd name="T28" fmla="*/ 125699 w 903"/>
              <a:gd name="T29" fmla="*/ 381663 h 759"/>
              <a:gd name="T30" fmla="*/ 115590 w 903"/>
              <a:gd name="T31" fmla="*/ 386912 h 759"/>
              <a:gd name="T32" fmla="*/ 64168 w 903"/>
              <a:gd name="T33" fmla="*/ 398462 h 759"/>
              <a:gd name="T34" fmla="*/ 50983 w 903"/>
              <a:gd name="T35" fmla="*/ 395312 h 759"/>
              <a:gd name="T36" fmla="*/ 39556 w 903"/>
              <a:gd name="T37" fmla="*/ 387962 h 759"/>
              <a:gd name="T38" fmla="*/ 33403 w 903"/>
              <a:gd name="T39" fmla="*/ 377463 h 759"/>
              <a:gd name="T40" fmla="*/ 34721 w 903"/>
              <a:gd name="T41" fmla="*/ 365913 h 759"/>
              <a:gd name="T42" fmla="*/ 32963 w 903"/>
              <a:gd name="T43" fmla="*/ 329689 h 759"/>
              <a:gd name="T44" fmla="*/ 34721 w 903"/>
              <a:gd name="T45" fmla="*/ 319190 h 759"/>
              <a:gd name="T46" fmla="*/ 29886 w 903"/>
              <a:gd name="T47" fmla="*/ 300290 h 759"/>
              <a:gd name="T48" fmla="*/ 9669 w 903"/>
              <a:gd name="T49" fmla="*/ 270891 h 759"/>
              <a:gd name="T50" fmla="*/ 5274 w 903"/>
              <a:gd name="T51" fmla="*/ 254092 h 759"/>
              <a:gd name="T52" fmla="*/ 4395 w 903"/>
              <a:gd name="T53" fmla="*/ 230467 h 759"/>
              <a:gd name="T54" fmla="*/ 0 w 903"/>
              <a:gd name="T55" fmla="*/ 197919 h 759"/>
              <a:gd name="T56" fmla="*/ 17141 w 903"/>
              <a:gd name="T57" fmla="*/ 197919 h 759"/>
              <a:gd name="T58" fmla="*/ 25052 w 903"/>
              <a:gd name="T59" fmla="*/ 207893 h 759"/>
              <a:gd name="T60" fmla="*/ 41314 w 903"/>
              <a:gd name="T61" fmla="*/ 215243 h 759"/>
              <a:gd name="T62" fmla="*/ 59333 w 903"/>
              <a:gd name="T63" fmla="*/ 215768 h 759"/>
              <a:gd name="T64" fmla="*/ 70321 w 903"/>
              <a:gd name="T65" fmla="*/ 209993 h 759"/>
              <a:gd name="T66" fmla="*/ 79990 w 903"/>
              <a:gd name="T67" fmla="*/ 195294 h 759"/>
              <a:gd name="T68" fmla="*/ 86583 w 903"/>
              <a:gd name="T69" fmla="*/ 120221 h 759"/>
              <a:gd name="T70" fmla="*/ 89659 w 903"/>
              <a:gd name="T71" fmla="*/ 96597 h 759"/>
              <a:gd name="T72" fmla="*/ 92297 w 903"/>
              <a:gd name="T73" fmla="*/ 88197 h 759"/>
              <a:gd name="T74" fmla="*/ 105042 w 903"/>
              <a:gd name="T75" fmla="*/ 93447 h 759"/>
              <a:gd name="T76" fmla="*/ 107679 w 903"/>
              <a:gd name="T77" fmla="*/ 124946 h 759"/>
              <a:gd name="T78" fmla="*/ 108558 w 903"/>
              <a:gd name="T79" fmla="*/ 143845 h 759"/>
              <a:gd name="T80" fmla="*/ 112514 w 903"/>
              <a:gd name="T81" fmla="*/ 150670 h 759"/>
              <a:gd name="T82" fmla="*/ 126139 w 903"/>
              <a:gd name="T83" fmla="*/ 154870 h 759"/>
              <a:gd name="T84" fmla="*/ 137126 w 903"/>
              <a:gd name="T85" fmla="*/ 153820 h 759"/>
              <a:gd name="T86" fmla="*/ 146356 w 903"/>
              <a:gd name="T87" fmla="*/ 142795 h 759"/>
              <a:gd name="T88" fmla="*/ 153828 w 903"/>
              <a:gd name="T89" fmla="*/ 122846 h 759"/>
              <a:gd name="T90" fmla="*/ 161739 w 903"/>
              <a:gd name="T91" fmla="*/ 105522 h 759"/>
              <a:gd name="T92" fmla="*/ 170089 w 903"/>
              <a:gd name="T93" fmla="*/ 100272 h 759"/>
              <a:gd name="T94" fmla="*/ 181956 w 903"/>
              <a:gd name="T95" fmla="*/ 101322 h 759"/>
              <a:gd name="T96" fmla="*/ 198218 w 903"/>
              <a:gd name="T97" fmla="*/ 109196 h 759"/>
              <a:gd name="T98" fmla="*/ 210084 w 903"/>
              <a:gd name="T99" fmla="*/ 113396 h 759"/>
              <a:gd name="T100" fmla="*/ 225028 w 903"/>
              <a:gd name="T101" fmla="*/ 111821 h 759"/>
              <a:gd name="T102" fmla="*/ 233378 w 903"/>
              <a:gd name="T103" fmla="*/ 104997 h 759"/>
              <a:gd name="T104" fmla="*/ 247882 w 903"/>
              <a:gd name="T105" fmla="*/ 66673 h 759"/>
              <a:gd name="T106" fmla="*/ 272494 w 903"/>
              <a:gd name="T107" fmla="*/ 41999 h 759"/>
              <a:gd name="T108" fmla="*/ 321719 w 903"/>
              <a:gd name="T109" fmla="*/ 5775 h 759"/>
              <a:gd name="T110" fmla="*/ 354243 w 903"/>
              <a:gd name="T111" fmla="*/ 1575 h 759"/>
              <a:gd name="T112" fmla="*/ 364791 w 903"/>
              <a:gd name="T113" fmla="*/ 3150 h 759"/>
              <a:gd name="T114" fmla="*/ 375339 w 903"/>
              <a:gd name="T115" fmla="*/ 18374 h 759"/>
              <a:gd name="T116" fmla="*/ 383690 w 903"/>
              <a:gd name="T117" fmla="*/ 37274 h 759"/>
              <a:gd name="T118" fmla="*/ 388085 w 903"/>
              <a:gd name="T119" fmla="*/ 56173 h 759"/>
              <a:gd name="T120" fmla="*/ 381492 w 903"/>
              <a:gd name="T121" fmla="*/ 108671 h 759"/>
              <a:gd name="T122" fmla="*/ 364791 w 903"/>
              <a:gd name="T123" fmla="*/ 107097 h 759"/>
              <a:gd name="T124" fmla="*/ 363033 w 903"/>
              <a:gd name="T125" fmla="*/ 14752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933" name="Freeform 383">
            <a:extLst>
              <a:ext uri="{FF2B5EF4-FFF2-40B4-BE49-F238E27FC236}">
                <a16:creationId xmlns:a16="http://schemas.microsoft.com/office/drawing/2014/main" id="{61D2D40B-F1D7-4D89-81D3-7DC2E3EE895B}"/>
              </a:ext>
            </a:extLst>
          </p:cNvPr>
          <p:cNvSpPr>
            <a:spLocks/>
          </p:cNvSpPr>
          <p:nvPr>
            <p:custDataLst>
              <p:tags r:id="rId272"/>
            </p:custDataLst>
          </p:nvPr>
        </p:nvSpPr>
        <p:spPr bwMode="auto">
          <a:xfrm>
            <a:off x="8812490" y="6049124"/>
            <a:ext cx="872408" cy="1296823"/>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chemeClr val="bg2">
              <a:lumMod val="90000"/>
              <a:alpha val="18000"/>
            </a:schemeClr>
          </a:solidFill>
          <a:ln w="9525" cmpd="sng">
            <a:solidFill>
              <a:srgbClr val="FFFFFF"/>
            </a:solidFill>
            <a:prstDash val="solid"/>
            <a:round/>
            <a:headEnd/>
            <a:tailEnd/>
          </a:ln>
        </p:spPr>
        <p:txBody>
          <a:bodyPr/>
          <a:lstStyle/>
          <a:p>
            <a:endParaRPr lang="es-ES" dirty="0"/>
          </a:p>
        </p:txBody>
      </p:sp>
      <p:grpSp>
        <p:nvGrpSpPr>
          <p:cNvPr id="934" name="Group 384">
            <a:extLst>
              <a:ext uri="{FF2B5EF4-FFF2-40B4-BE49-F238E27FC236}">
                <a16:creationId xmlns:a16="http://schemas.microsoft.com/office/drawing/2014/main" id="{C49B9E39-98EA-43F6-A23D-3C1A541524DC}"/>
              </a:ext>
            </a:extLst>
          </p:cNvPr>
          <p:cNvGrpSpPr>
            <a:grpSpLocks/>
          </p:cNvGrpSpPr>
          <p:nvPr>
            <p:custDataLst>
              <p:tags r:id="rId273"/>
            </p:custDataLst>
          </p:nvPr>
        </p:nvGrpSpPr>
        <p:grpSpPr bwMode="auto">
          <a:xfrm>
            <a:off x="6232315" y="6476906"/>
            <a:ext cx="171786" cy="175156"/>
            <a:chOff x="2352" y="2343"/>
            <a:chExt cx="65" cy="53"/>
          </a:xfrm>
          <a:solidFill>
            <a:schemeClr val="bg2">
              <a:lumMod val="50000"/>
              <a:alpha val="18000"/>
            </a:schemeClr>
          </a:solidFill>
        </p:grpSpPr>
        <p:sp>
          <p:nvSpPr>
            <p:cNvPr id="935" name="Freeform 385">
              <a:extLst>
                <a:ext uri="{FF2B5EF4-FFF2-40B4-BE49-F238E27FC236}">
                  <a16:creationId xmlns:a16="http://schemas.microsoft.com/office/drawing/2014/main" id="{247E61D4-930A-42A7-9263-32523EFBC2AC}"/>
                </a:ext>
              </a:extLst>
            </p:cNvPr>
            <p:cNvSpPr>
              <a:spLocks/>
            </p:cNvSpPr>
            <p:nvPr/>
          </p:nvSpPr>
          <p:spPr bwMode="auto">
            <a:xfrm>
              <a:off x="2352" y="2343"/>
              <a:ext cx="16" cy="11"/>
            </a:xfrm>
            <a:custGeom>
              <a:avLst/>
              <a:gdLst>
                <a:gd name="T0" fmla="*/ 14 w 51"/>
                <a:gd name="T1" fmla="*/ 0 h 33"/>
                <a:gd name="T2" fmla="*/ 0 w 51"/>
                <a:gd name="T3" fmla="*/ 2 h 33"/>
                <a:gd name="T4" fmla="*/ 1 w 51"/>
                <a:gd name="T5" fmla="*/ 9 h 33"/>
                <a:gd name="T6" fmla="*/ 3 w 51"/>
                <a:gd name="T7" fmla="*/ 11 h 33"/>
                <a:gd name="T8" fmla="*/ 11 w 51"/>
                <a:gd name="T9" fmla="*/ 8 h 33"/>
                <a:gd name="T10" fmla="*/ 15 w 51"/>
                <a:gd name="T11" fmla="*/ 5 h 33"/>
                <a:gd name="T12" fmla="*/ 16 w 51"/>
                <a:gd name="T13" fmla="*/ 3 h 33"/>
                <a:gd name="T14" fmla="*/ 14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grpFill/>
            <a:ln w="9525" cmpd="sng">
              <a:solidFill>
                <a:srgbClr val="FFFFFF"/>
              </a:solidFill>
              <a:prstDash val="solid"/>
              <a:round/>
              <a:headEnd/>
              <a:tailEnd/>
            </a:ln>
          </p:spPr>
          <p:txBody>
            <a:bodyPr/>
            <a:lstStyle/>
            <a:p>
              <a:endParaRPr lang="es-ES" dirty="0"/>
            </a:p>
          </p:txBody>
        </p:sp>
        <p:sp>
          <p:nvSpPr>
            <p:cNvPr id="936" name="Freeform 386">
              <a:extLst>
                <a:ext uri="{FF2B5EF4-FFF2-40B4-BE49-F238E27FC236}">
                  <a16:creationId xmlns:a16="http://schemas.microsoft.com/office/drawing/2014/main" id="{4191ED2D-BA66-4610-ABF1-7C6DCD6FEE14}"/>
                </a:ext>
              </a:extLst>
            </p:cNvPr>
            <p:cNvSpPr>
              <a:spLocks/>
            </p:cNvSpPr>
            <p:nvPr/>
          </p:nvSpPr>
          <p:spPr bwMode="auto">
            <a:xfrm>
              <a:off x="2372" y="2354"/>
              <a:ext cx="20" cy="7"/>
            </a:xfrm>
            <a:custGeom>
              <a:avLst/>
              <a:gdLst>
                <a:gd name="T0" fmla="*/ 20 w 61"/>
                <a:gd name="T1" fmla="*/ 2 h 20"/>
                <a:gd name="T2" fmla="*/ 17 w 61"/>
                <a:gd name="T3" fmla="*/ 1 h 20"/>
                <a:gd name="T4" fmla="*/ 0 w 61"/>
                <a:gd name="T5" fmla="*/ 0 h 20"/>
                <a:gd name="T6" fmla="*/ 1 w 61"/>
                <a:gd name="T7" fmla="*/ 5 h 20"/>
                <a:gd name="T8" fmla="*/ 2 w 61"/>
                <a:gd name="T9" fmla="*/ 7 h 20"/>
                <a:gd name="T10" fmla="*/ 6 w 61"/>
                <a:gd name="T11" fmla="*/ 5 h 20"/>
                <a:gd name="T12" fmla="*/ 20 w 61"/>
                <a:gd name="T13" fmla="*/ 2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20">
                  <a:moveTo>
                    <a:pt x="61" y="6"/>
                  </a:moveTo>
                  <a:lnTo>
                    <a:pt x="53" y="2"/>
                  </a:lnTo>
                  <a:lnTo>
                    <a:pt x="0" y="0"/>
                  </a:lnTo>
                  <a:lnTo>
                    <a:pt x="2" y="14"/>
                  </a:lnTo>
                  <a:lnTo>
                    <a:pt x="7" y="20"/>
                  </a:lnTo>
                  <a:lnTo>
                    <a:pt x="18" y="13"/>
                  </a:lnTo>
                  <a:lnTo>
                    <a:pt x="61" y="6"/>
                  </a:lnTo>
                </a:path>
              </a:pathLst>
            </a:custGeom>
            <a:grpFill/>
            <a:ln w="9525" cmpd="sng">
              <a:solidFill>
                <a:srgbClr val="FFFFFF"/>
              </a:solidFill>
              <a:prstDash val="solid"/>
              <a:round/>
              <a:headEnd/>
              <a:tailEnd/>
            </a:ln>
          </p:spPr>
          <p:txBody>
            <a:bodyPr/>
            <a:lstStyle/>
            <a:p>
              <a:endParaRPr lang="es-ES" dirty="0"/>
            </a:p>
          </p:txBody>
        </p:sp>
        <p:sp>
          <p:nvSpPr>
            <p:cNvPr id="937" name="Freeform 387">
              <a:extLst>
                <a:ext uri="{FF2B5EF4-FFF2-40B4-BE49-F238E27FC236}">
                  <a16:creationId xmlns:a16="http://schemas.microsoft.com/office/drawing/2014/main" id="{43B5DC0B-49FD-4E81-91C0-28DD6329DD89}"/>
                </a:ext>
              </a:extLst>
            </p:cNvPr>
            <p:cNvSpPr>
              <a:spLocks/>
            </p:cNvSpPr>
            <p:nvPr/>
          </p:nvSpPr>
          <p:spPr bwMode="auto">
            <a:xfrm>
              <a:off x="2407" y="2346"/>
              <a:ext cx="5" cy="12"/>
            </a:xfrm>
            <a:custGeom>
              <a:avLst/>
              <a:gdLst>
                <a:gd name="T0" fmla="*/ 1 w 15"/>
                <a:gd name="T1" fmla="*/ 0 h 36"/>
                <a:gd name="T2" fmla="*/ 0 w 15"/>
                <a:gd name="T3" fmla="*/ 7 h 36"/>
                <a:gd name="T4" fmla="*/ 0 w 15"/>
                <a:gd name="T5" fmla="*/ 12 h 36"/>
                <a:gd name="T6" fmla="*/ 4 w 15"/>
                <a:gd name="T7" fmla="*/ 12 h 36"/>
                <a:gd name="T8" fmla="*/ 5 w 15"/>
                <a:gd name="T9" fmla="*/ 5 h 36"/>
                <a:gd name="T10" fmla="*/ 1 w 15"/>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36">
                  <a:moveTo>
                    <a:pt x="2" y="0"/>
                  </a:moveTo>
                  <a:lnTo>
                    <a:pt x="0" y="20"/>
                  </a:lnTo>
                  <a:lnTo>
                    <a:pt x="0" y="36"/>
                  </a:lnTo>
                  <a:lnTo>
                    <a:pt x="11" y="35"/>
                  </a:lnTo>
                  <a:lnTo>
                    <a:pt x="15" y="14"/>
                  </a:lnTo>
                  <a:lnTo>
                    <a:pt x="2" y="0"/>
                  </a:lnTo>
                </a:path>
              </a:pathLst>
            </a:custGeom>
            <a:grpFill/>
            <a:ln w="9525" cmpd="sng">
              <a:solidFill>
                <a:srgbClr val="FFFFFF"/>
              </a:solidFill>
              <a:prstDash val="solid"/>
              <a:round/>
              <a:headEnd/>
              <a:tailEnd/>
            </a:ln>
          </p:spPr>
          <p:txBody>
            <a:bodyPr/>
            <a:lstStyle/>
            <a:p>
              <a:endParaRPr lang="es-ES" dirty="0"/>
            </a:p>
          </p:txBody>
        </p:sp>
        <p:sp>
          <p:nvSpPr>
            <p:cNvPr id="938" name="Freeform 388">
              <a:extLst>
                <a:ext uri="{FF2B5EF4-FFF2-40B4-BE49-F238E27FC236}">
                  <a16:creationId xmlns:a16="http://schemas.microsoft.com/office/drawing/2014/main" id="{086E4D0A-ED37-4C19-B9FF-CB024D4BF341}"/>
                </a:ext>
              </a:extLst>
            </p:cNvPr>
            <p:cNvSpPr>
              <a:spLocks/>
            </p:cNvSpPr>
            <p:nvPr/>
          </p:nvSpPr>
          <p:spPr bwMode="auto">
            <a:xfrm>
              <a:off x="2406" y="2361"/>
              <a:ext cx="11" cy="11"/>
            </a:xfrm>
            <a:custGeom>
              <a:avLst/>
              <a:gdLst>
                <a:gd name="T0" fmla="*/ 1 w 37"/>
                <a:gd name="T1" fmla="*/ 1 h 33"/>
                <a:gd name="T2" fmla="*/ 7 w 37"/>
                <a:gd name="T3" fmla="*/ 0 h 33"/>
                <a:gd name="T4" fmla="*/ 10 w 37"/>
                <a:gd name="T5" fmla="*/ 2 h 33"/>
                <a:gd name="T6" fmla="*/ 11 w 37"/>
                <a:gd name="T7" fmla="*/ 7 h 33"/>
                <a:gd name="T8" fmla="*/ 7 w 37"/>
                <a:gd name="T9" fmla="*/ 11 h 33"/>
                <a:gd name="T10" fmla="*/ 3 w 37"/>
                <a:gd name="T11" fmla="*/ 11 h 33"/>
                <a:gd name="T12" fmla="*/ 1 w 37"/>
                <a:gd name="T13" fmla="*/ 8 h 33"/>
                <a:gd name="T14" fmla="*/ 0 w 37"/>
                <a:gd name="T15" fmla="*/ 5 h 33"/>
                <a:gd name="T16" fmla="*/ 1 w 37"/>
                <a:gd name="T17" fmla="*/ 1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grpFill/>
            <a:ln w="9525" cmpd="sng">
              <a:solidFill>
                <a:srgbClr val="FFFFFF"/>
              </a:solidFill>
              <a:prstDash val="solid"/>
              <a:round/>
              <a:headEnd/>
              <a:tailEnd/>
            </a:ln>
          </p:spPr>
          <p:txBody>
            <a:bodyPr/>
            <a:lstStyle/>
            <a:p>
              <a:endParaRPr lang="es-ES" dirty="0"/>
            </a:p>
          </p:txBody>
        </p:sp>
        <p:sp>
          <p:nvSpPr>
            <p:cNvPr id="939" name="Freeform 389">
              <a:extLst>
                <a:ext uri="{FF2B5EF4-FFF2-40B4-BE49-F238E27FC236}">
                  <a16:creationId xmlns:a16="http://schemas.microsoft.com/office/drawing/2014/main" id="{383FFB12-8307-48C6-89EE-41F5901E1B32}"/>
                </a:ext>
              </a:extLst>
            </p:cNvPr>
            <p:cNvSpPr>
              <a:spLocks/>
            </p:cNvSpPr>
            <p:nvPr/>
          </p:nvSpPr>
          <p:spPr bwMode="auto">
            <a:xfrm>
              <a:off x="2388" y="2378"/>
              <a:ext cx="16" cy="18"/>
            </a:xfrm>
            <a:custGeom>
              <a:avLst/>
              <a:gdLst>
                <a:gd name="T0" fmla="*/ 1 w 49"/>
                <a:gd name="T1" fmla="*/ 0 h 54"/>
                <a:gd name="T2" fmla="*/ 0 w 49"/>
                <a:gd name="T3" fmla="*/ 0 h 54"/>
                <a:gd name="T4" fmla="*/ 1 w 49"/>
                <a:gd name="T5" fmla="*/ 17 h 54"/>
                <a:gd name="T6" fmla="*/ 6 w 49"/>
                <a:gd name="T7" fmla="*/ 18 h 54"/>
                <a:gd name="T8" fmla="*/ 14 w 49"/>
                <a:gd name="T9" fmla="*/ 15 h 54"/>
                <a:gd name="T10" fmla="*/ 16 w 49"/>
                <a:gd name="T11" fmla="*/ 10 h 54"/>
                <a:gd name="T12" fmla="*/ 13 w 49"/>
                <a:gd name="T13" fmla="*/ 7 h 54"/>
                <a:gd name="T14" fmla="*/ 6 w 49"/>
                <a:gd name="T15" fmla="*/ 3 h 54"/>
                <a:gd name="T16" fmla="*/ 1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grpFill/>
            <a:ln w="9525" cmpd="sng">
              <a:solidFill>
                <a:srgbClr val="FFFFFF"/>
              </a:solidFill>
              <a:prstDash val="solid"/>
              <a:round/>
              <a:headEnd/>
              <a:tailEnd/>
            </a:ln>
          </p:spPr>
          <p:txBody>
            <a:bodyPr/>
            <a:lstStyle/>
            <a:p>
              <a:endParaRPr lang="es-ES" dirty="0"/>
            </a:p>
          </p:txBody>
        </p:sp>
        <p:sp>
          <p:nvSpPr>
            <p:cNvPr id="940" name="Freeform 390">
              <a:extLst>
                <a:ext uri="{FF2B5EF4-FFF2-40B4-BE49-F238E27FC236}">
                  <a16:creationId xmlns:a16="http://schemas.microsoft.com/office/drawing/2014/main" id="{B9E12A9C-D76C-49B1-AB4E-2BA8D7416747}"/>
                </a:ext>
              </a:extLst>
            </p:cNvPr>
            <p:cNvSpPr>
              <a:spLocks/>
            </p:cNvSpPr>
            <p:nvPr/>
          </p:nvSpPr>
          <p:spPr bwMode="auto">
            <a:xfrm>
              <a:off x="2374" y="2388"/>
              <a:ext cx="9" cy="7"/>
            </a:xfrm>
            <a:custGeom>
              <a:avLst/>
              <a:gdLst>
                <a:gd name="T0" fmla="*/ 6 w 26"/>
                <a:gd name="T1" fmla="*/ 0 h 22"/>
                <a:gd name="T2" fmla="*/ 1 w 26"/>
                <a:gd name="T3" fmla="*/ 1 h 22"/>
                <a:gd name="T4" fmla="*/ 0 w 26"/>
                <a:gd name="T5" fmla="*/ 5 h 22"/>
                <a:gd name="T6" fmla="*/ 2 w 26"/>
                <a:gd name="T7" fmla="*/ 7 h 22"/>
                <a:gd name="T8" fmla="*/ 7 w 26"/>
                <a:gd name="T9" fmla="*/ 7 h 22"/>
                <a:gd name="T10" fmla="*/ 9 w 26"/>
                <a:gd name="T11" fmla="*/ 4 h 22"/>
                <a:gd name="T12" fmla="*/ 6 w 26"/>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22">
                  <a:moveTo>
                    <a:pt x="18" y="0"/>
                  </a:moveTo>
                  <a:lnTo>
                    <a:pt x="3" y="2"/>
                  </a:lnTo>
                  <a:lnTo>
                    <a:pt x="0" y="15"/>
                  </a:lnTo>
                  <a:lnTo>
                    <a:pt x="6" y="21"/>
                  </a:lnTo>
                  <a:lnTo>
                    <a:pt x="19" y="22"/>
                  </a:lnTo>
                  <a:lnTo>
                    <a:pt x="26" y="11"/>
                  </a:lnTo>
                  <a:lnTo>
                    <a:pt x="18" y="0"/>
                  </a:lnTo>
                </a:path>
              </a:pathLst>
            </a:custGeom>
            <a:grpFill/>
            <a:ln w="9525" cmpd="sng">
              <a:solidFill>
                <a:srgbClr val="FFFFFF"/>
              </a:solidFill>
              <a:prstDash val="solid"/>
              <a:round/>
              <a:headEnd/>
              <a:tailEnd/>
            </a:ln>
          </p:spPr>
          <p:txBody>
            <a:bodyPr/>
            <a:lstStyle/>
            <a:p>
              <a:endParaRPr lang="es-ES" dirty="0"/>
            </a:p>
          </p:txBody>
        </p:sp>
      </p:grpSp>
      <p:grpSp>
        <p:nvGrpSpPr>
          <p:cNvPr id="941" name="Group 391">
            <a:extLst>
              <a:ext uri="{FF2B5EF4-FFF2-40B4-BE49-F238E27FC236}">
                <a16:creationId xmlns:a16="http://schemas.microsoft.com/office/drawing/2014/main" id="{F3D3C079-F1B4-4578-92B2-427BC92C5328}"/>
              </a:ext>
            </a:extLst>
          </p:cNvPr>
          <p:cNvGrpSpPr>
            <a:grpSpLocks/>
          </p:cNvGrpSpPr>
          <p:nvPr>
            <p:custDataLst>
              <p:tags r:id="rId274"/>
            </p:custDataLst>
          </p:nvPr>
        </p:nvGrpSpPr>
        <p:grpSpPr bwMode="auto">
          <a:xfrm>
            <a:off x="1661428" y="2360752"/>
            <a:ext cx="4025209" cy="2405020"/>
            <a:chOff x="527" y="1110"/>
            <a:chExt cx="1410" cy="709"/>
          </a:xfrm>
          <a:solidFill>
            <a:schemeClr val="bg2">
              <a:lumMod val="50000"/>
              <a:alpha val="18000"/>
            </a:schemeClr>
          </a:solidFill>
        </p:grpSpPr>
        <p:sp>
          <p:nvSpPr>
            <p:cNvPr id="942" name="Freeform 392">
              <a:extLst>
                <a:ext uri="{FF2B5EF4-FFF2-40B4-BE49-F238E27FC236}">
                  <a16:creationId xmlns:a16="http://schemas.microsoft.com/office/drawing/2014/main" id="{5341290C-ACB9-4D19-8FB9-66C376D719A8}"/>
                </a:ext>
              </a:extLst>
            </p:cNvPr>
            <p:cNvSpPr>
              <a:spLocks/>
            </p:cNvSpPr>
            <p:nvPr/>
          </p:nvSpPr>
          <p:spPr bwMode="auto">
            <a:xfrm>
              <a:off x="1401" y="1427"/>
              <a:ext cx="31" cy="17"/>
            </a:xfrm>
            <a:custGeom>
              <a:avLst/>
              <a:gdLst>
                <a:gd name="T0" fmla="*/ 0 w 98"/>
                <a:gd name="T1" fmla="*/ 13 h 54"/>
                <a:gd name="T2" fmla="*/ 2 w 98"/>
                <a:gd name="T3" fmla="*/ 14 h 54"/>
                <a:gd name="T4" fmla="*/ 4 w 98"/>
                <a:gd name="T5" fmla="*/ 16 h 54"/>
                <a:gd name="T6" fmla="*/ 7 w 98"/>
                <a:gd name="T7" fmla="*/ 17 h 54"/>
                <a:gd name="T8" fmla="*/ 10 w 98"/>
                <a:gd name="T9" fmla="*/ 17 h 54"/>
                <a:gd name="T10" fmla="*/ 12 w 98"/>
                <a:gd name="T11" fmla="*/ 17 h 54"/>
                <a:gd name="T12" fmla="*/ 14 w 98"/>
                <a:gd name="T13" fmla="*/ 17 h 54"/>
                <a:gd name="T14" fmla="*/ 16 w 98"/>
                <a:gd name="T15" fmla="*/ 16 h 54"/>
                <a:gd name="T16" fmla="*/ 18 w 98"/>
                <a:gd name="T17" fmla="*/ 15 h 54"/>
                <a:gd name="T18" fmla="*/ 21 w 98"/>
                <a:gd name="T19" fmla="*/ 13 h 54"/>
                <a:gd name="T20" fmla="*/ 24 w 98"/>
                <a:gd name="T21" fmla="*/ 11 h 54"/>
                <a:gd name="T22" fmla="*/ 27 w 98"/>
                <a:gd name="T23" fmla="*/ 9 h 54"/>
                <a:gd name="T24" fmla="*/ 29 w 98"/>
                <a:gd name="T25" fmla="*/ 6 h 54"/>
                <a:gd name="T26" fmla="*/ 30 w 98"/>
                <a:gd name="T27" fmla="*/ 4 h 54"/>
                <a:gd name="T28" fmla="*/ 31 w 98"/>
                <a:gd name="T29" fmla="*/ 1 h 54"/>
                <a:gd name="T30" fmla="*/ 29 w 98"/>
                <a:gd name="T31" fmla="*/ 1 h 54"/>
                <a:gd name="T32" fmla="*/ 26 w 98"/>
                <a:gd name="T33" fmla="*/ 0 h 54"/>
                <a:gd name="T34" fmla="*/ 24 w 98"/>
                <a:gd name="T35" fmla="*/ 0 h 54"/>
                <a:gd name="T36" fmla="*/ 22 w 98"/>
                <a:gd name="T37" fmla="*/ 0 h 54"/>
                <a:gd name="T38" fmla="*/ 19 w 98"/>
                <a:gd name="T39" fmla="*/ 0 h 54"/>
                <a:gd name="T40" fmla="*/ 16 w 98"/>
                <a:gd name="T41" fmla="*/ 1 h 54"/>
                <a:gd name="T42" fmla="*/ 14 w 98"/>
                <a:gd name="T43" fmla="*/ 2 h 54"/>
                <a:gd name="T44" fmla="*/ 12 w 98"/>
                <a:gd name="T45" fmla="*/ 3 h 54"/>
                <a:gd name="T46" fmla="*/ 7 w 98"/>
                <a:gd name="T47" fmla="*/ 5 h 54"/>
                <a:gd name="T48" fmla="*/ 4 w 98"/>
                <a:gd name="T49" fmla="*/ 8 h 54"/>
                <a:gd name="T50" fmla="*/ 2 w 98"/>
                <a:gd name="T51" fmla="*/ 9 h 54"/>
                <a:gd name="T52" fmla="*/ 1 w 98"/>
                <a:gd name="T53" fmla="*/ 10 h 54"/>
                <a:gd name="T54" fmla="*/ 0 w 98"/>
                <a:gd name="T55" fmla="*/ 12 h 54"/>
                <a:gd name="T56" fmla="*/ 0 w 98"/>
                <a:gd name="T57" fmla="*/ 13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43" name="Freeform 393">
              <a:extLst>
                <a:ext uri="{FF2B5EF4-FFF2-40B4-BE49-F238E27FC236}">
                  <a16:creationId xmlns:a16="http://schemas.microsoft.com/office/drawing/2014/main" id="{F7EF1D03-C2F5-4C53-BE75-AF52910734F9}"/>
                </a:ext>
              </a:extLst>
            </p:cNvPr>
            <p:cNvSpPr>
              <a:spLocks/>
            </p:cNvSpPr>
            <p:nvPr/>
          </p:nvSpPr>
          <p:spPr bwMode="auto">
            <a:xfrm>
              <a:off x="1387" y="1551"/>
              <a:ext cx="21" cy="8"/>
            </a:xfrm>
            <a:custGeom>
              <a:avLst/>
              <a:gdLst>
                <a:gd name="T0" fmla="*/ 0 w 67"/>
                <a:gd name="T1" fmla="*/ 8 h 28"/>
                <a:gd name="T2" fmla="*/ 3 w 67"/>
                <a:gd name="T3" fmla="*/ 8 h 28"/>
                <a:gd name="T4" fmla="*/ 7 w 67"/>
                <a:gd name="T5" fmla="*/ 8 h 28"/>
                <a:gd name="T6" fmla="*/ 10 w 67"/>
                <a:gd name="T7" fmla="*/ 7 h 28"/>
                <a:gd name="T8" fmla="*/ 13 w 67"/>
                <a:gd name="T9" fmla="*/ 6 h 28"/>
                <a:gd name="T10" fmla="*/ 15 w 67"/>
                <a:gd name="T11" fmla="*/ 5 h 28"/>
                <a:gd name="T12" fmla="*/ 18 w 67"/>
                <a:gd name="T13" fmla="*/ 3 h 28"/>
                <a:gd name="T14" fmla="*/ 20 w 67"/>
                <a:gd name="T15" fmla="*/ 2 h 28"/>
                <a:gd name="T16" fmla="*/ 21 w 67"/>
                <a:gd name="T17" fmla="*/ 1 h 28"/>
                <a:gd name="T18" fmla="*/ 18 w 67"/>
                <a:gd name="T19" fmla="*/ 0 h 28"/>
                <a:gd name="T20" fmla="*/ 14 w 67"/>
                <a:gd name="T21" fmla="*/ 0 h 28"/>
                <a:gd name="T22" fmla="*/ 11 w 67"/>
                <a:gd name="T23" fmla="*/ 0 h 28"/>
                <a:gd name="T24" fmla="*/ 8 w 67"/>
                <a:gd name="T25" fmla="*/ 1 h 28"/>
                <a:gd name="T26" fmla="*/ 5 w 67"/>
                <a:gd name="T27" fmla="*/ 2 h 28"/>
                <a:gd name="T28" fmla="*/ 3 w 67"/>
                <a:gd name="T29" fmla="*/ 3 h 28"/>
                <a:gd name="T30" fmla="*/ 2 w 67"/>
                <a:gd name="T31" fmla="*/ 4 h 28"/>
                <a:gd name="T32" fmla="*/ 1 w 67"/>
                <a:gd name="T33" fmla="*/ 5 h 28"/>
                <a:gd name="T34" fmla="*/ 1 w 67"/>
                <a:gd name="T35" fmla="*/ 6 h 28"/>
                <a:gd name="T36" fmla="*/ 0 w 67"/>
                <a:gd name="T37" fmla="*/ 8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44" name="Freeform 394">
              <a:extLst>
                <a:ext uri="{FF2B5EF4-FFF2-40B4-BE49-F238E27FC236}">
                  <a16:creationId xmlns:a16="http://schemas.microsoft.com/office/drawing/2014/main" id="{84DB20ED-F176-4D91-8518-CCDDC9B04AAE}"/>
                </a:ext>
              </a:extLst>
            </p:cNvPr>
            <p:cNvSpPr>
              <a:spLocks/>
            </p:cNvSpPr>
            <p:nvPr/>
          </p:nvSpPr>
          <p:spPr bwMode="auto">
            <a:xfrm>
              <a:off x="1332" y="1608"/>
              <a:ext cx="11" cy="11"/>
            </a:xfrm>
            <a:custGeom>
              <a:avLst/>
              <a:gdLst>
                <a:gd name="T0" fmla="*/ 0 w 32"/>
                <a:gd name="T1" fmla="*/ 6 h 36"/>
                <a:gd name="T2" fmla="*/ 0 w 32"/>
                <a:gd name="T3" fmla="*/ 7 h 36"/>
                <a:gd name="T4" fmla="*/ 1 w 32"/>
                <a:gd name="T5" fmla="*/ 9 h 36"/>
                <a:gd name="T6" fmla="*/ 2 w 32"/>
                <a:gd name="T7" fmla="*/ 10 h 36"/>
                <a:gd name="T8" fmla="*/ 3 w 32"/>
                <a:gd name="T9" fmla="*/ 10 h 36"/>
                <a:gd name="T10" fmla="*/ 4 w 32"/>
                <a:gd name="T11" fmla="*/ 11 h 36"/>
                <a:gd name="T12" fmla="*/ 4 w 32"/>
                <a:gd name="T13" fmla="*/ 11 h 36"/>
                <a:gd name="T14" fmla="*/ 11 w 32"/>
                <a:gd name="T15" fmla="*/ 11 h 36"/>
                <a:gd name="T16" fmla="*/ 11 w 32"/>
                <a:gd name="T17" fmla="*/ 7 h 36"/>
                <a:gd name="T18" fmla="*/ 11 w 32"/>
                <a:gd name="T19" fmla="*/ 4 h 36"/>
                <a:gd name="T20" fmla="*/ 10 w 32"/>
                <a:gd name="T21" fmla="*/ 2 h 36"/>
                <a:gd name="T22" fmla="*/ 9 w 32"/>
                <a:gd name="T23" fmla="*/ 0 h 36"/>
                <a:gd name="T24" fmla="*/ 7 w 32"/>
                <a:gd name="T25" fmla="*/ 1 h 36"/>
                <a:gd name="T26" fmla="*/ 4 w 32"/>
                <a:gd name="T27" fmla="*/ 2 h 36"/>
                <a:gd name="T28" fmla="*/ 2 w 32"/>
                <a:gd name="T29" fmla="*/ 3 h 36"/>
                <a:gd name="T30" fmla="*/ 1 w 32"/>
                <a:gd name="T31" fmla="*/ 4 h 36"/>
                <a:gd name="T32" fmla="*/ 0 w 32"/>
                <a:gd name="T33" fmla="*/ 5 h 36"/>
                <a:gd name="T34" fmla="*/ 0 w 32"/>
                <a:gd name="T35" fmla="*/ 6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45" name="Freeform 395">
              <a:extLst>
                <a:ext uri="{FF2B5EF4-FFF2-40B4-BE49-F238E27FC236}">
                  <a16:creationId xmlns:a16="http://schemas.microsoft.com/office/drawing/2014/main" id="{ED80F580-B0F8-4405-92AD-E49B9105196D}"/>
                </a:ext>
              </a:extLst>
            </p:cNvPr>
            <p:cNvSpPr>
              <a:spLocks/>
            </p:cNvSpPr>
            <p:nvPr/>
          </p:nvSpPr>
          <p:spPr bwMode="auto">
            <a:xfrm>
              <a:off x="1279" y="1314"/>
              <a:ext cx="46" cy="17"/>
            </a:xfrm>
            <a:custGeom>
              <a:avLst/>
              <a:gdLst>
                <a:gd name="T0" fmla="*/ 0 w 146"/>
                <a:gd name="T1" fmla="*/ 14 h 52"/>
                <a:gd name="T2" fmla="*/ 3 w 146"/>
                <a:gd name="T3" fmla="*/ 15 h 52"/>
                <a:gd name="T4" fmla="*/ 7 w 146"/>
                <a:gd name="T5" fmla="*/ 16 h 52"/>
                <a:gd name="T6" fmla="*/ 10 w 146"/>
                <a:gd name="T7" fmla="*/ 17 h 52"/>
                <a:gd name="T8" fmla="*/ 14 w 146"/>
                <a:gd name="T9" fmla="*/ 17 h 52"/>
                <a:gd name="T10" fmla="*/ 20 w 146"/>
                <a:gd name="T11" fmla="*/ 17 h 52"/>
                <a:gd name="T12" fmla="*/ 26 w 146"/>
                <a:gd name="T13" fmla="*/ 17 h 52"/>
                <a:gd name="T14" fmla="*/ 37 w 146"/>
                <a:gd name="T15" fmla="*/ 15 h 52"/>
                <a:gd name="T16" fmla="*/ 46 w 146"/>
                <a:gd name="T17" fmla="*/ 14 h 52"/>
                <a:gd name="T18" fmla="*/ 45 w 146"/>
                <a:gd name="T19" fmla="*/ 12 h 52"/>
                <a:gd name="T20" fmla="*/ 45 w 146"/>
                <a:gd name="T21" fmla="*/ 10 h 52"/>
                <a:gd name="T22" fmla="*/ 44 w 146"/>
                <a:gd name="T23" fmla="*/ 8 h 52"/>
                <a:gd name="T24" fmla="*/ 43 w 146"/>
                <a:gd name="T25" fmla="*/ 6 h 52"/>
                <a:gd name="T26" fmla="*/ 42 w 146"/>
                <a:gd name="T27" fmla="*/ 5 h 52"/>
                <a:gd name="T28" fmla="*/ 41 w 146"/>
                <a:gd name="T29" fmla="*/ 4 h 52"/>
                <a:gd name="T30" fmla="*/ 39 w 146"/>
                <a:gd name="T31" fmla="*/ 3 h 52"/>
                <a:gd name="T32" fmla="*/ 38 w 146"/>
                <a:gd name="T33" fmla="*/ 2 h 52"/>
                <a:gd name="T34" fmla="*/ 35 w 146"/>
                <a:gd name="T35" fmla="*/ 1 h 52"/>
                <a:gd name="T36" fmla="*/ 32 w 146"/>
                <a:gd name="T37" fmla="*/ 0 h 52"/>
                <a:gd name="T38" fmla="*/ 28 w 146"/>
                <a:gd name="T39" fmla="*/ 0 h 52"/>
                <a:gd name="T40" fmla="*/ 25 w 146"/>
                <a:gd name="T41" fmla="*/ 1 h 52"/>
                <a:gd name="T42" fmla="*/ 21 w 146"/>
                <a:gd name="T43" fmla="*/ 2 h 52"/>
                <a:gd name="T44" fmla="*/ 17 w 146"/>
                <a:gd name="T45" fmla="*/ 3 h 52"/>
                <a:gd name="T46" fmla="*/ 14 w 146"/>
                <a:gd name="T47" fmla="*/ 5 h 52"/>
                <a:gd name="T48" fmla="*/ 10 w 146"/>
                <a:gd name="T49" fmla="*/ 6 h 52"/>
                <a:gd name="T50" fmla="*/ 7 w 146"/>
                <a:gd name="T51" fmla="*/ 8 h 52"/>
                <a:gd name="T52" fmla="*/ 4 w 146"/>
                <a:gd name="T53" fmla="*/ 10 h 52"/>
                <a:gd name="T54" fmla="*/ 2 w 146"/>
                <a:gd name="T55" fmla="*/ 12 h 52"/>
                <a:gd name="T56" fmla="*/ 0 w 146"/>
                <a:gd name="T57" fmla="*/ 14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46" name="Freeform 396">
              <a:extLst>
                <a:ext uri="{FF2B5EF4-FFF2-40B4-BE49-F238E27FC236}">
                  <a16:creationId xmlns:a16="http://schemas.microsoft.com/office/drawing/2014/main" id="{E02F2E72-B597-43C3-811C-81F28D403BBB}"/>
                </a:ext>
              </a:extLst>
            </p:cNvPr>
            <p:cNvSpPr>
              <a:spLocks/>
            </p:cNvSpPr>
            <p:nvPr/>
          </p:nvSpPr>
          <p:spPr bwMode="auto">
            <a:xfrm>
              <a:off x="1261" y="1252"/>
              <a:ext cx="20" cy="10"/>
            </a:xfrm>
            <a:custGeom>
              <a:avLst/>
              <a:gdLst>
                <a:gd name="T0" fmla="*/ 20 w 60"/>
                <a:gd name="T1" fmla="*/ 0 h 31"/>
                <a:gd name="T2" fmla="*/ 16 w 60"/>
                <a:gd name="T3" fmla="*/ 0 h 31"/>
                <a:gd name="T4" fmla="*/ 13 w 60"/>
                <a:gd name="T5" fmla="*/ 0 h 31"/>
                <a:gd name="T6" fmla="*/ 10 w 60"/>
                <a:gd name="T7" fmla="*/ 0 h 31"/>
                <a:gd name="T8" fmla="*/ 9 w 60"/>
                <a:gd name="T9" fmla="*/ 0 h 31"/>
                <a:gd name="T10" fmla="*/ 6 w 60"/>
                <a:gd name="T11" fmla="*/ 0 h 31"/>
                <a:gd name="T12" fmla="*/ 3 w 60"/>
                <a:gd name="T13" fmla="*/ 1 h 31"/>
                <a:gd name="T14" fmla="*/ 2 w 60"/>
                <a:gd name="T15" fmla="*/ 1 h 31"/>
                <a:gd name="T16" fmla="*/ 1 w 60"/>
                <a:gd name="T17" fmla="*/ 2 h 31"/>
                <a:gd name="T18" fmla="*/ 0 w 60"/>
                <a:gd name="T19" fmla="*/ 3 h 31"/>
                <a:gd name="T20" fmla="*/ 0 w 60"/>
                <a:gd name="T21" fmla="*/ 4 h 31"/>
                <a:gd name="T22" fmla="*/ 0 w 60"/>
                <a:gd name="T23" fmla="*/ 5 h 31"/>
                <a:gd name="T24" fmla="*/ 1 w 60"/>
                <a:gd name="T25" fmla="*/ 6 h 31"/>
                <a:gd name="T26" fmla="*/ 2 w 60"/>
                <a:gd name="T27" fmla="*/ 7 h 31"/>
                <a:gd name="T28" fmla="*/ 3 w 60"/>
                <a:gd name="T29" fmla="*/ 8 h 31"/>
                <a:gd name="T30" fmla="*/ 4 w 60"/>
                <a:gd name="T31" fmla="*/ 9 h 31"/>
                <a:gd name="T32" fmla="*/ 6 w 60"/>
                <a:gd name="T33" fmla="*/ 9 h 31"/>
                <a:gd name="T34" fmla="*/ 7 w 60"/>
                <a:gd name="T35" fmla="*/ 10 h 31"/>
                <a:gd name="T36" fmla="*/ 9 w 60"/>
                <a:gd name="T37" fmla="*/ 10 h 31"/>
                <a:gd name="T38" fmla="*/ 11 w 60"/>
                <a:gd name="T39" fmla="*/ 10 h 31"/>
                <a:gd name="T40" fmla="*/ 12 w 60"/>
                <a:gd name="T41" fmla="*/ 9 h 31"/>
                <a:gd name="T42" fmla="*/ 14 w 60"/>
                <a:gd name="T43" fmla="*/ 8 h 31"/>
                <a:gd name="T44" fmla="*/ 16 w 60"/>
                <a:gd name="T45" fmla="*/ 6 h 31"/>
                <a:gd name="T46" fmla="*/ 19 w 60"/>
                <a:gd name="T47" fmla="*/ 3 h 31"/>
                <a:gd name="T48" fmla="*/ 20 w 60"/>
                <a:gd name="T49" fmla="*/ 2 h 31"/>
                <a:gd name="T50" fmla="*/ 2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47" name="Freeform 397">
              <a:extLst>
                <a:ext uri="{FF2B5EF4-FFF2-40B4-BE49-F238E27FC236}">
                  <a16:creationId xmlns:a16="http://schemas.microsoft.com/office/drawing/2014/main" id="{127FBF33-5488-475B-8667-637F92126C50}"/>
                </a:ext>
              </a:extLst>
            </p:cNvPr>
            <p:cNvSpPr>
              <a:spLocks/>
            </p:cNvSpPr>
            <p:nvPr/>
          </p:nvSpPr>
          <p:spPr bwMode="auto">
            <a:xfrm>
              <a:off x="1730" y="1713"/>
              <a:ext cx="26" cy="20"/>
            </a:xfrm>
            <a:custGeom>
              <a:avLst/>
              <a:gdLst>
                <a:gd name="T0" fmla="*/ 0 w 80"/>
                <a:gd name="T1" fmla="*/ 14 h 62"/>
                <a:gd name="T2" fmla="*/ 0 w 80"/>
                <a:gd name="T3" fmla="*/ 15 h 62"/>
                <a:gd name="T4" fmla="*/ 0 w 80"/>
                <a:gd name="T5" fmla="*/ 16 h 62"/>
                <a:gd name="T6" fmla="*/ 1 w 80"/>
                <a:gd name="T7" fmla="*/ 16 h 62"/>
                <a:gd name="T8" fmla="*/ 1 w 80"/>
                <a:gd name="T9" fmla="*/ 17 h 62"/>
                <a:gd name="T10" fmla="*/ 3 w 80"/>
                <a:gd name="T11" fmla="*/ 18 h 62"/>
                <a:gd name="T12" fmla="*/ 5 w 80"/>
                <a:gd name="T13" fmla="*/ 19 h 62"/>
                <a:gd name="T14" fmla="*/ 9 w 80"/>
                <a:gd name="T15" fmla="*/ 20 h 62"/>
                <a:gd name="T16" fmla="*/ 13 w 80"/>
                <a:gd name="T17" fmla="*/ 20 h 62"/>
                <a:gd name="T18" fmla="*/ 15 w 80"/>
                <a:gd name="T19" fmla="*/ 20 h 62"/>
                <a:gd name="T20" fmla="*/ 16 w 80"/>
                <a:gd name="T21" fmla="*/ 19 h 62"/>
                <a:gd name="T22" fmla="*/ 18 w 80"/>
                <a:gd name="T23" fmla="*/ 18 h 62"/>
                <a:gd name="T24" fmla="*/ 19 w 80"/>
                <a:gd name="T25" fmla="*/ 17 h 62"/>
                <a:gd name="T26" fmla="*/ 21 w 80"/>
                <a:gd name="T27" fmla="*/ 15 h 62"/>
                <a:gd name="T28" fmla="*/ 23 w 80"/>
                <a:gd name="T29" fmla="*/ 12 h 62"/>
                <a:gd name="T30" fmla="*/ 24 w 80"/>
                <a:gd name="T31" fmla="*/ 9 h 62"/>
                <a:gd name="T32" fmla="*/ 25 w 80"/>
                <a:gd name="T33" fmla="*/ 6 h 62"/>
                <a:gd name="T34" fmla="*/ 26 w 80"/>
                <a:gd name="T35" fmla="*/ 3 h 62"/>
                <a:gd name="T36" fmla="*/ 26 w 80"/>
                <a:gd name="T37" fmla="*/ 0 h 62"/>
                <a:gd name="T38" fmla="*/ 23 w 80"/>
                <a:gd name="T39" fmla="*/ 0 h 62"/>
                <a:gd name="T40" fmla="*/ 19 w 80"/>
                <a:gd name="T41" fmla="*/ 1 h 62"/>
                <a:gd name="T42" fmla="*/ 15 w 80"/>
                <a:gd name="T43" fmla="*/ 3 h 62"/>
                <a:gd name="T44" fmla="*/ 11 w 80"/>
                <a:gd name="T45" fmla="*/ 4 h 62"/>
                <a:gd name="T46" fmla="*/ 7 w 80"/>
                <a:gd name="T47" fmla="*/ 6 h 62"/>
                <a:gd name="T48" fmla="*/ 3 w 80"/>
                <a:gd name="T49" fmla="*/ 8 h 62"/>
                <a:gd name="T50" fmla="*/ 2 w 80"/>
                <a:gd name="T51" fmla="*/ 10 h 62"/>
                <a:gd name="T52" fmla="*/ 1 w 80"/>
                <a:gd name="T53" fmla="*/ 11 h 62"/>
                <a:gd name="T54" fmla="*/ 0 w 80"/>
                <a:gd name="T55" fmla="*/ 13 h 62"/>
                <a:gd name="T56" fmla="*/ 0 w 80"/>
                <a:gd name="T57" fmla="*/ 14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48" name="Freeform 398">
              <a:extLst>
                <a:ext uri="{FF2B5EF4-FFF2-40B4-BE49-F238E27FC236}">
                  <a16:creationId xmlns:a16="http://schemas.microsoft.com/office/drawing/2014/main" id="{6033DC73-47E9-45E8-B375-1A94F337E9C7}"/>
                </a:ext>
              </a:extLst>
            </p:cNvPr>
            <p:cNvSpPr>
              <a:spLocks/>
            </p:cNvSpPr>
            <p:nvPr/>
          </p:nvSpPr>
          <p:spPr bwMode="auto">
            <a:xfrm>
              <a:off x="1583" y="1674"/>
              <a:ext cx="33" cy="16"/>
            </a:xfrm>
            <a:custGeom>
              <a:avLst/>
              <a:gdLst>
                <a:gd name="T0" fmla="*/ 25 w 106"/>
                <a:gd name="T1" fmla="*/ 4 h 49"/>
                <a:gd name="T2" fmla="*/ 22 w 106"/>
                <a:gd name="T3" fmla="*/ 4 h 49"/>
                <a:gd name="T4" fmla="*/ 21 w 106"/>
                <a:gd name="T5" fmla="*/ 4 h 49"/>
                <a:gd name="T6" fmla="*/ 18 w 106"/>
                <a:gd name="T7" fmla="*/ 3 h 49"/>
                <a:gd name="T8" fmla="*/ 17 w 106"/>
                <a:gd name="T9" fmla="*/ 2 h 49"/>
                <a:gd name="T10" fmla="*/ 15 w 106"/>
                <a:gd name="T11" fmla="*/ 1 h 49"/>
                <a:gd name="T12" fmla="*/ 13 w 106"/>
                <a:gd name="T13" fmla="*/ 1 h 49"/>
                <a:gd name="T14" fmla="*/ 11 w 106"/>
                <a:gd name="T15" fmla="*/ 0 h 49"/>
                <a:gd name="T16" fmla="*/ 8 w 106"/>
                <a:gd name="T17" fmla="*/ 0 h 49"/>
                <a:gd name="T18" fmla="*/ 5 w 106"/>
                <a:gd name="T19" fmla="*/ 0 h 49"/>
                <a:gd name="T20" fmla="*/ 0 w 106"/>
                <a:gd name="T21" fmla="*/ 0 h 49"/>
                <a:gd name="T22" fmla="*/ 3 w 106"/>
                <a:gd name="T23" fmla="*/ 4 h 49"/>
                <a:gd name="T24" fmla="*/ 5 w 106"/>
                <a:gd name="T25" fmla="*/ 7 h 49"/>
                <a:gd name="T26" fmla="*/ 8 w 106"/>
                <a:gd name="T27" fmla="*/ 9 h 49"/>
                <a:gd name="T28" fmla="*/ 11 w 106"/>
                <a:gd name="T29" fmla="*/ 12 h 49"/>
                <a:gd name="T30" fmla="*/ 13 w 106"/>
                <a:gd name="T31" fmla="*/ 14 h 49"/>
                <a:gd name="T32" fmla="*/ 16 w 106"/>
                <a:gd name="T33" fmla="*/ 15 h 49"/>
                <a:gd name="T34" fmla="*/ 19 w 106"/>
                <a:gd name="T35" fmla="*/ 16 h 49"/>
                <a:gd name="T36" fmla="*/ 22 w 106"/>
                <a:gd name="T37" fmla="*/ 16 h 49"/>
                <a:gd name="T38" fmla="*/ 25 w 106"/>
                <a:gd name="T39" fmla="*/ 16 h 49"/>
                <a:gd name="T40" fmla="*/ 27 w 106"/>
                <a:gd name="T41" fmla="*/ 15 h 49"/>
                <a:gd name="T42" fmla="*/ 30 w 106"/>
                <a:gd name="T43" fmla="*/ 13 h 49"/>
                <a:gd name="T44" fmla="*/ 33 w 106"/>
                <a:gd name="T45" fmla="*/ 10 h 49"/>
                <a:gd name="T46" fmla="*/ 31 w 106"/>
                <a:gd name="T47" fmla="*/ 10 h 49"/>
                <a:gd name="T48" fmla="*/ 31 w 106"/>
                <a:gd name="T49" fmla="*/ 9 h 49"/>
                <a:gd name="T50" fmla="*/ 29 w 106"/>
                <a:gd name="T51" fmla="*/ 8 h 49"/>
                <a:gd name="T52" fmla="*/ 28 w 106"/>
                <a:gd name="T53" fmla="*/ 7 h 49"/>
                <a:gd name="T54" fmla="*/ 27 w 106"/>
                <a:gd name="T55" fmla="*/ 6 h 49"/>
                <a:gd name="T56" fmla="*/ 26 w 106"/>
                <a:gd name="T57" fmla="*/ 5 h 49"/>
                <a:gd name="T58" fmla="*/ 26 w 106"/>
                <a:gd name="T59" fmla="*/ 5 h 49"/>
                <a:gd name="T60" fmla="*/ 25 w 106"/>
                <a:gd name="T61" fmla="*/ 4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49" name="Freeform 399">
              <a:extLst>
                <a:ext uri="{FF2B5EF4-FFF2-40B4-BE49-F238E27FC236}">
                  <a16:creationId xmlns:a16="http://schemas.microsoft.com/office/drawing/2014/main" id="{EB5899E6-0AF2-409B-BBDD-31A6BD10F5D7}"/>
                </a:ext>
              </a:extLst>
            </p:cNvPr>
            <p:cNvSpPr>
              <a:spLocks/>
            </p:cNvSpPr>
            <p:nvPr/>
          </p:nvSpPr>
          <p:spPr bwMode="auto">
            <a:xfrm>
              <a:off x="1599" y="1713"/>
              <a:ext cx="15" cy="7"/>
            </a:xfrm>
            <a:custGeom>
              <a:avLst/>
              <a:gdLst>
                <a:gd name="T0" fmla="*/ 0 w 47"/>
                <a:gd name="T1" fmla="*/ 6 h 22"/>
                <a:gd name="T2" fmla="*/ 2 w 47"/>
                <a:gd name="T3" fmla="*/ 7 h 22"/>
                <a:gd name="T4" fmla="*/ 4 w 47"/>
                <a:gd name="T5" fmla="*/ 7 h 22"/>
                <a:gd name="T6" fmla="*/ 6 w 47"/>
                <a:gd name="T7" fmla="*/ 7 h 22"/>
                <a:gd name="T8" fmla="*/ 8 w 47"/>
                <a:gd name="T9" fmla="*/ 7 h 22"/>
                <a:gd name="T10" fmla="*/ 11 w 47"/>
                <a:gd name="T11" fmla="*/ 6 h 22"/>
                <a:gd name="T12" fmla="*/ 12 w 47"/>
                <a:gd name="T13" fmla="*/ 5 h 22"/>
                <a:gd name="T14" fmla="*/ 13 w 47"/>
                <a:gd name="T15" fmla="*/ 4 h 22"/>
                <a:gd name="T16" fmla="*/ 14 w 47"/>
                <a:gd name="T17" fmla="*/ 3 h 22"/>
                <a:gd name="T18" fmla="*/ 14 w 47"/>
                <a:gd name="T19" fmla="*/ 2 h 22"/>
                <a:gd name="T20" fmla="*/ 15 w 47"/>
                <a:gd name="T21" fmla="*/ 0 h 22"/>
                <a:gd name="T22" fmla="*/ 0 w 47"/>
                <a:gd name="T23" fmla="*/ 6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50" name="Freeform 400">
              <a:extLst>
                <a:ext uri="{FF2B5EF4-FFF2-40B4-BE49-F238E27FC236}">
                  <a16:creationId xmlns:a16="http://schemas.microsoft.com/office/drawing/2014/main" id="{DC3600F9-D433-446F-B045-EBE30F7AEAF1}"/>
                </a:ext>
              </a:extLst>
            </p:cNvPr>
            <p:cNvSpPr>
              <a:spLocks/>
            </p:cNvSpPr>
            <p:nvPr/>
          </p:nvSpPr>
          <p:spPr bwMode="auto">
            <a:xfrm>
              <a:off x="1608" y="1742"/>
              <a:ext cx="17" cy="11"/>
            </a:xfrm>
            <a:custGeom>
              <a:avLst/>
              <a:gdLst>
                <a:gd name="T0" fmla="*/ 17 w 53"/>
                <a:gd name="T1" fmla="*/ 0 h 32"/>
                <a:gd name="T2" fmla="*/ 12 w 53"/>
                <a:gd name="T3" fmla="*/ 3 h 32"/>
                <a:gd name="T4" fmla="*/ 7 w 53"/>
                <a:gd name="T5" fmla="*/ 6 h 32"/>
                <a:gd name="T6" fmla="*/ 4 w 53"/>
                <a:gd name="T7" fmla="*/ 9 h 32"/>
                <a:gd name="T8" fmla="*/ 0 w 53"/>
                <a:gd name="T9" fmla="*/ 11 h 32"/>
                <a:gd name="T10" fmla="*/ 4 w 53"/>
                <a:gd name="T11" fmla="*/ 11 h 32"/>
                <a:gd name="T12" fmla="*/ 8 w 53"/>
                <a:gd name="T13" fmla="*/ 11 h 32"/>
                <a:gd name="T14" fmla="*/ 13 w 53"/>
                <a:gd name="T15" fmla="*/ 11 h 32"/>
                <a:gd name="T16" fmla="*/ 17 w 53"/>
                <a:gd name="T17" fmla="*/ 11 h 32"/>
                <a:gd name="T18" fmla="*/ 17 w 53"/>
                <a:gd name="T19" fmla="*/ 8 h 32"/>
                <a:gd name="T20" fmla="*/ 17 w 53"/>
                <a:gd name="T21" fmla="*/ 6 h 32"/>
                <a:gd name="T22" fmla="*/ 17 w 53"/>
                <a:gd name="T23" fmla="*/ 3 h 32"/>
                <a:gd name="T24" fmla="*/ 17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51" name="Freeform 401">
              <a:extLst>
                <a:ext uri="{FF2B5EF4-FFF2-40B4-BE49-F238E27FC236}">
                  <a16:creationId xmlns:a16="http://schemas.microsoft.com/office/drawing/2014/main" id="{455A0626-66F9-4142-904B-C8BD666ED40F}"/>
                </a:ext>
              </a:extLst>
            </p:cNvPr>
            <p:cNvSpPr>
              <a:spLocks/>
            </p:cNvSpPr>
            <p:nvPr/>
          </p:nvSpPr>
          <p:spPr bwMode="auto">
            <a:xfrm>
              <a:off x="1450" y="1438"/>
              <a:ext cx="14" cy="12"/>
            </a:xfrm>
            <a:custGeom>
              <a:avLst/>
              <a:gdLst>
                <a:gd name="T0" fmla="*/ 8 w 46"/>
                <a:gd name="T1" fmla="*/ 1 h 34"/>
                <a:gd name="T2" fmla="*/ 0 w 46"/>
                <a:gd name="T3" fmla="*/ 6 h 34"/>
                <a:gd name="T4" fmla="*/ 0 w 46"/>
                <a:gd name="T5" fmla="*/ 12 h 34"/>
                <a:gd name="T6" fmla="*/ 8 w 46"/>
                <a:gd name="T7" fmla="*/ 12 h 34"/>
                <a:gd name="T8" fmla="*/ 9 w 46"/>
                <a:gd name="T9" fmla="*/ 11 h 34"/>
                <a:gd name="T10" fmla="*/ 11 w 46"/>
                <a:gd name="T11" fmla="*/ 10 h 34"/>
                <a:gd name="T12" fmla="*/ 12 w 46"/>
                <a:gd name="T13" fmla="*/ 9 h 34"/>
                <a:gd name="T14" fmla="*/ 13 w 46"/>
                <a:gd name="T15" fmla="*/ 7 h 34"/>
                <a:gd name="T16" fmla="*/ 13 w 46"/>
                <a:gd name="T17" fmla="*/ 6 h 34"/>
                <a:gd name="T18" fmla="*/ 14 w 46"/>
                <a:gd name="T19" fmla="*/ 5 h 34"/>
                <a:gd name="T20" fmla="*/ 14 w 46"/>
                <a:gd name="T21" fmla="*/ 3 h 34"/>
                <a:gd name="T22" fmla="*/ 14 w 46"/>
                <a:gd name="T23" fmla="*/ 1 h 34"/>
                <a:gd name="T24" fmla="*/ 14 w 46"/>
                <a:gd name="T25" fmla="*/ 0 h 34"/>
                <a:gd name="T26" fmla="*/ 13 w 46"/>
                <a:gd name="T27" fmla="*/ 0 h 34"/>
                <a:gd name="T28" fmla="*/ 13 w 46"/>
                <a:gd name="T29" fmla="*/ 0 h 34"/>
                <a:gd name="T30" fmla="*/ 12 w 46"/>
                <a:gd name="T31" fmla="*/ 0 h 34"/>
                <a:gd name="T32" fmla="*/ 10 w 46"/>
                <a:gd name="T33" fmla="*/ 1 h 34"/>
                <a:gd name="T34" fmla="*/ 8 w 46"/>
                <a:gd name="T35" fmla="*/ 1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52" name="Freeform 402">
              <a:extLst>
                <a:ext uri="{FF2B5EF4-FFF2-40B4-BE49-F238E27FC236}">
                  <a16:creationId xmlns:a16="http://schemas.microsoft.com/office/drawing/2014/main" id="{536FD027-15D1-49F8-BA19-AEA04008F9CC}"/>
                </a:ext>
              </a:extLst>
            </p:cNvPr>
            <p:cNvSpPr>
              <a:spLocks/>
            </p:cNvSpPr>
            <p:nvPr/>
          </p:nvSpPr>
          <p:spPr bwMode="auto">
            <a:xfrm>
              <a:off x="1305" y="1224"/>
              <a:ext cx="16" cy="8"/>
            </a:xfrm>
            <a:custGeom>
              <a:avLst/>
              <a:gdLst>
                <a:gd name="T0" fmla="*/ 0 w 48"/>
                <a:gd name="T1" fmla="*/ 8 h 25"/>
                <a:gd name="T2" fmla="*/ 5 w 48"/>
                <a:gd name="T3" fmla="*/ 8 h 25"/>
                <a:gd name="T4" fmla="*/ 9 w 48"/>
                <a:gd name="T5" fmla="*/ 8 h 25"/>
                <a:gd name="T6" fmla="*/ 10 w 48"/>
                <a:gd name="T7" fmla="*/ 8 h 25"/>
                <a:gd name="T8" fmla="*/ 11 w 48"/>
                <a:gd name="T9" fmla="*/ 7 h 25"/>
                <a:gd name="T10" fmla="*/ 12 w 48"/>
                <a:gd name="T11" fmla="*/ 6 h 25"/>
                <a:gd name="T12" fmla="*/ 13 w 48"/>
                <a:gd name="T13" fmla="*/ 5 h 25"/>
                <a:gd name="T14" fmla="*/ 15 w 48"/>
                <a:gd name="T15" fmla="*/ 2 h 25"/>
                <a:gd name="T16" fmla="*/ 16 w 48"/>
                <a:gd name="T17" fmla="*/ 0 h 25"/>
                <a:gd name="T18" fmla="*/ 13 w 48"/>
                <a:gd name="T19" fmla="*/ 0 h 25"/>
                <a:gd name="T20" fmla="*/ 11 w 48"/>
                <a:gd name="T21" fmla="*/ 1 h 25"/>
                <a:gd name="T22" fmla="*/ 9 w 48"/>
                <a:gd name="T23" fmla="*/ 2 h 25"/>
                <a:gd name="T24" fmla="*/ 7 w 48"/>
                <a:gd name="T25" fmla="*/ 3 h 25"/>
                <a:gd name="T26" fmla="*/ 4 w 48"/>
                <a:gd name="T27" fmla="*/ 5 h 25"/>
                <a:gd name="T28" fmla="*/ 0 w 48"/>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53" name="Freeform 403">
              <a:extLst>
                <a:ext uri="{FF2B5EF4-FFF2-40B4-BE49-F238E27FC236}">
                  <a16:creationId xmlns:a16="http://schemas.microsoft.com/office/drawing/2014/main" id="{FE46576C-9491-457B-8019-CC26D431B631}"/>
                </a:ext>
              </a:extLst>
            </p:cNvPr>
            <p:cNvSpPr>
              <a:spLocks/>
            </p:cNvSpPr>
            <p:nvPr/>
          </p:nvSpPr>
          <p:spPr bwMode="auto">
            <a:xfrm>
              <a:off x="1343" y="1188"/>
              <a:ext cx="8" cy="11"/>
            </a:xfrm>
            <a:custGeom>
              <a:avLst/>
              <a:gdLst>
                <a:gd name="T0" fmla="*/ 0 w 30"/>
                <a:gd name="T1" fmla="*/ 0 h 37"/>
                <a:gd name="T2" fmla="*/ 0 w 30"/>
                <a:gd name="T3" fmla="*/ 11 h 37"/>
                <a:gd name="T4" fmla="*/ 3 w 30"/>
                <a:gd name="T5" fmla="*/ 11 h 37"/>
                <a:gd name="T6" fmla="*/ 5 w 30"/>
                <a:gd name="T7" fmla="*/ 10 h 37"/>
                <a:gd name="T8" fmla="*/ 6 w 30"/>
                <a:gd name="T9" fmla="*/ 10 h 37"/>
                <a:gd name="T10" fmla="*/ 7 w 30"/>
                <a:gd name="T11" fmla="*/ 10 h 37"/>
                <a:gd name="T12" fmla="*/ 7 w 30"/>
                <a:gd name="T13" fmla="*/ 9 h 37"/>
                <a:gd name="T14" fmla="*/ 8 w 30"/>
                <a:gd name="T15" fmla="*/ 8 h 37"/>
                <a:gd name="T16" fmla="*/ 8 w 30"/>
                <a:gd name="T17" fmla="*/ 7 h 37"/>
                <a:gd name="T18" fmla="*/ 8 w 30"/>
                <a:gd name="T19" fmla="*/ 5 h 37"/>
                <a:gd name="T20" fmla="*/ 8 w 30"/>
                <a:gd name="T21" fmla="*/ 3 h 37"/>
                <a:gd name="T22" fmla="*/ 7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54" name="Freeform 404">
              <a:extLst>
                <a:ext uri="{FF2B5EF4-FFF2-40B4-BE49-F238E27FC236}">
                  <a16:creationId xmlns:a16="http://schemas.microsoft.com/office/drawing/2014/main" id="{8C1D70F7-DFF8-47B0-909B-77DAAB1A9DB4}"/>
                </a:ext>
              </a:extLst>
            </p:cNvPr>
            <p:cNvSpPr>
              <a:spLocks/>
            </p:cNvSpPr>
            <p:nvPr/>
          </p:nvSpPr>
          <p:spPr bwMode="auto">
            <a:xfrm>
              <a:off x="1334" y="1208"/>
              <a:ext cx="36" cy="16"/>
            </a:xfrm>
            <a:custGeom>
              <a:avLst/>
              <a:gdLst>
                <a:gd name="T0" fmla="*/ 11 w 113"/>
                <a:gd name="T1" fmla="*/ 1 h 46"/>
                <a:gd name="T2" fmla="*/ 7 w 113"/>
                <a:gd name="T3" fmla="*/ 1 h 46"/>
                <a:gd name="T4" fmla="*/ 4 w 113"/>
                <a:gd name="T5" fmla="*/ 2 h 46"/>
                <a:gd name="T6" fmla="*/ 2 w 113"/>
                <a:gd name="T7" fmla="*/ 2 h 46"/>
                <a:gd name="T8" fmla="*/ 1 w 113"/>
                <a:gd name="T9" fmla="*/ 4 h 46"/>
                <a:gd name="T10" fmla="*/ 0 w 113"/>
                <a:gd name="T11" fmla="*/ 5 h 46"/>
                <a:gd name="T12" fmla="*/ 0 w 113"/>
                <a:gd name="T13" fmla="*/ 7 h 46"/>
                <a:gd name="T14" fmla="*/ 2 w 113"/>
                <a:gd name="T15" fmla="*/ 9 h 46"/>
                <a:gd name="T16" fmla="*/ 3 w 113"/>
                <a:gd name="T17" fmla="*/ 11 h 46"/>
                <a:gd name="T18" fmla="*/ 5 w 113"/>
                <a:gd name="T19" fmla="*/ 13 h 46"/>
                <a:gd name="T20" fmla="*/ 6 w 113"/>
                <a:gd name="T21" fmla="*/ 14 h 46"/>
                <a:gd name="T22" fmla="*/ 8 w 113"/>
                <a:gd name="T23" fmla="*/ 15 h 46"/>
                <a:gd name="T24" fmla="*/ 10 w 113"/>
                <a:gd name="T25" fmla="*/ 16 h 46"/>
                <a:gd name="T26" fmla="*/ 11 w 113"/>
                <a:gd name="T27" fmla="*/ 16 h 46"/>
                <a:gd name="T28" fmla="*/ 13 w 113"/>
                <a:gd name="T29" fmla="*/ 16 h 46"/>
                <a:gd name="T30" fmla="*/ 18 w 113"/>
                <a:gd name="T31" fmla="*/ 16 h 46"/>
                <a:gd name="T32" fmla="*/ 22 w 113"/>
                <a:gd name="T33" fmla="*/ 15 h 46"/>
                <a:gd name="T34" fmla="*/ 24 w 113"/>
                <a:gd name="T35" fmla="*/ 14 h 46"/>
                <a:gd name="T36" fmla="*/ 26 w 113"/>
                <a:gd name="T37" fmla="*/ 13 h 46"/>
                <a:gd name="T38" fmla="*/ 28 w 113"/>
                <a:gd name="T39" fmla="*/ 13 h 46"/>
                <a:gd name="T40" fmla="*/ 29 w 113"/>
                <a:gd name="T41" fmla="*/ 11 h 46"/>
                <a:gd name="T42" fmla="*/ 32 w 113"/>
                <a:gd name="T43" fmla="*/ 9 h 46"/>
                <a:gd name="T44" fmla="*/ 34 w 113"/>
                <a:gd name="T45" fmla="*/ 7 h 46"/>
                <a:gd name="T46" fmla="*/ 35 w 113"/>
                <a:gd name="T47" fmla="*/ 4 h 46"/>
                <a:gd name="T48" fmla="*/ 36 w 113"/>
                <a:gd name="T49" fmla="*/ 1 h 46"/>
                <a:gd name="T50" fmla="*/ 32 w 113"/>
                <a:gd name="T51" fmla="*/ 0 h 46"/>
                <a:gd name="T52" fmla="*/ 28 w 113"/>
                <a:gd name="T53" fmla="*/ 0 h 46"/>
                <a:gd name="T54" fmla="*/ 24 w 113"/>
                <a:gd name="T55" fmla="*/ 0 h 46"/>
                <a:gd name="T56" fmla="*/ 21 w 113"/>
                <a:gd name="T57" fmla="*/ 0 h 46"/>
                <a:gd name="T58" fmla="*/ 15 w 113"/>
                <a:gd name="T59" fmla="*/ 1 h 46"/>
                <a:gd name="T60" fmla="*/ 11 w 113"/>
                <a:gd name="T61" fmla="*/ 1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55" name="Freeform 405">
              <a:extLst>
                <a:ext uri="{FF2B5EF4-FFF2-40B4-BE49-F238E27FC236}">
                  <a16:creationId xmlns:a16="http://schemas.microsoft.com/office/drawing/2014/main" id="{E3C6300E-6DFF-4C2E-BC48-F92CE7E89B9D}"/>
                </a:ext>
              </a:extLst>
            </p:cNvPr>
            <p:cNvSpPr>
              <a:spLocks/>
            </p:cNvSpPr>
            <p:nvPr/>
          </p:nvSpPr>
          <p:spPr bwMode="auto">
            <a:xfrm>
              <a:off x="1365" y="1201"/>
              <a:ext cx="49" cy="28"/>
            </a:xfrm>
            <a:custGeom>
              <a:avLst/>
              <a:gdLst>
                <a:gd name="T0" fmla="*/ 0 w 153"/>
                <a:gd name="T1" fmla="*/ 27 h 82"/>
                <a:gd name="T2" fmla="*/ 1 w 153"/>
                <a:gd name="T3" fmla="*/ 28 h 82"/>
                <a:gd name="T4" fmla="*/ 2 w 153"/>
                <a:gd name="T5" fmla="*/ 28 h 82"/>
                <a:gd name="T6" fmla="*/ 3 w 153"/>
                <a:gd name="T7" fmla="*/ 28 h 82"/>
                <a:gd name="T8" fmla="*/ 4 w 153"/>
                <a:gd name="T9" fmla="*/ 28 h 82"/>
                <a:gd name="T10" fmla="*/ 7 w 153"/>
                <a:gd name="T11" fmla="*/ 27 h 82"/>
                <a:gd name="T12" fmla="*/ 11 w 153"/>
                <a:gd name="T13" fmla="*/ 27 h 82"/>
                <a:gd name="T14" fmla="*/ 13 w 153"/>
                <a:gd name="T15" fmla="*/ 27 h 82"/>
                <a:gd name="T16" fmla="*/ 15 w 153"/>
                <a:gd name="T17" fmla="*/ 27 h 82"/>
                <a:gd name="T18" fmla="*/ 18 w 153"/>
                <a:gd name="T19" fmla="*/ 26 h 82"/>
                <a:gd name="T20" fmla="*/ 21 w 153"/>
                <a:gd name="T21" fmla="*/ 25 h 82"/>
                <a:gd name="T22" fmla="*/ 27 w 153"/>
                <a:gd name="T23" fmla="*/ 23 h 82"/>
                <a:gd name="T24" fmla="*/ 33 w 153"/>
                <a:gd name="T25" fmla="*/ 20 h 82"/>
                <a:gd name="T26" fmla="*/ 36 w 153"/>
                <a:gd name="T27" fmla="*/ 18 h 82"/>
                <a:gd name="T28" fmla="*/ 39 w 153"/>
                <a:gd name="T29" fmla="*/ 17 h 82"/>
                <a:gd name="T30" fmla="*/ 41 w 153"/>
                <a:gd name="T31" fmla="*/ 15 h 82"/>
                <a:gd name="T32" fmla="*/ 44 w 153"/>
                <a:gd name="T33" fmla="*/ 13 h 82"/>
                <a:gd name="T34" fmla="*/ 45 w 153"/>
                <a:gd name="T35" fmla="*/ 11 h 82"/>
                <a:gd name="T36" fmla="*/ 47 w 153"/>
                <a:gd name="T37" fmla="*/ 9 h 82"/>
                <a:gd name="T38" fmla="*/ 48 w 153"/>
                <a:gd name="T39" fmla="*/ 6 h 82"/>
                <a:gd name="T40" fmla="*/ 49 w 153"/>
                <a:gd name="T41" fmla="*/ 4 h 82"/>
                <a:gd name="T42" fmla="*/ 43 w 153"/>
                <a:gd name="T43" fmla="*/ 3 h 82"/>
                <a:gd name="T44" fmla="*/ 37 w 153"/>
                <a:gd name="T45" fmla="*/ 1 h 82"/>
                <a:gd name="T46" fmla="*/ 31 w 153"/>
                <a:gd name="T47" fmla="*/ 0 h 82"/>
                <a:gd name="T48" fmla="*/ 25 w 153"/>
                <a:gd name="T49" fmla="*/ 0 h 82"/>
                <a:gd name="T50" fmla="*/ 22 w 153"/>
                <a:gd name="T51" fmla="*/ 0 h 82"/>
                <a:gd name="T52" fmla="*/ 19 w 153"/>
                <a:gd name="T53" fmla="*/ 0 h 82"/>
                <a:gd name="T54" fmla="*/ 17 w 153"/>
                <a:gd name="T55" fmla="*/ 1 h 82"/>
                <a:gd name="T56" fmla="*/ 14 w 153"/>
                <a:gd name="T57" fmla="*/ 1 h 82"/>
                <a:gd name="T58" fmla="*/ 12 w 153"/>
                <a:gd name="T59" fmla="*/ 2 h 82"/>
                <a:gd name="T60" fmla="*/ 11 w 153"/>
                <a:gd name="T61" fmla="*/ 3 h 82"/>
                <a:gd name="T62" fmla="*/ 10 w 153"/>
                <a:gd name="T63" fmla="*/ 5 h 82"/>
                <a:gd name="T64" fmla="*/ 8 w 153"/>
                <a:gd name="T65" fmla="*/ 6 h 82"/>
                <a:gd name="T66" fmla="*/ 10 w 153"/>
                <a:gd name="T67" fmla="*/ 8 h 82"/>
                <a:gd name="T68" fmla="*/ 12 w 153"/>
                <a:gd name="T69" fmla="*/ 10 h 82"/>
                <a:gd name="T70" fmla="*/ 12 w 153"/>
                <a:gd name="T71" fmla="*/ 11 h 82"/>
                <a:gd name="T72" fmla="*/ 13 w 153"/>
                <a:gd name="T73" fmla="*/ 12 h 82"/>
                <a:gd name="T74" fmla="*/ 14 w 153"/>
                <a:gd name="T75" fmla="*/ 12 h 82"/>
                <a:gd name="T76" fmla="*/ 15 w 153"/>
                <a:gd name="T77" fmla="*/ 12 h 82"/>
                <a:gd name="T78" fmla="*/ 13 w 153"/>
                <a:gd name="T79" fmla="*/ 14 h 82"/>
                <a:gd name="T80" fmla="*/ 11 w 153"/>
                <a:gd name="T81" fmla="*/ 16 h 82"/>
                <a:gd name="T82" fmla="*/ 9 w 153"/>
                <a:gd name="T83" fmla="*/ 18 h 82"/>
                <a:gd name="T84" fmla="*/ 7 w 153"/>
                <a:gd name="T85" fmla="*/ 19 h 82"/>
                <a:gd name="T86" fmla="*/ 6 w 153"/>
                <a:gd name="T87" fmla="*/ 22 h 82"/>
                <a:gd name="T88" fmla="*/ 4 w 153"/>
                <a:gd name="T89" fmla="*/ 24 h 82"/>
                <a:gd name="T90" fmla="*/ 2 w 153"/>
                <a:gd name="T91" fmla="*/ 26 h 82"/>
                <a:gd name="T92" fmla="*/ 0 w 153"/>
                <a:gd name="T93" fmla="*/ 27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56" name="Freeform 406">
              <a:extLst>
                <a:ext uri="{FF2B5EF4-FFF2-40B4-BE49-F238E27FC236}">
                  <a16:creationId xmlns:a16="http://schemas.microsoft.com/office/drawing/2014/main" id="{EFC7FB80-B02F-4C17-9826-466694C6AB9F}"/>
                </a:ext>
              </a:extLst>
            </p:cNvPr>
            <p:cNvSpPr>
              <a:spLocks/>
            </p:cNvSpPr>
            <p:nvPr/>
          </p:nvSpPr>
          <p:spPr bwMode="auto">
            <a:xfrm>
              <a:off x="1414" y="1217"/>
              <a:ext cx="29" cy="17"/>
            </a:xfrm>
            <a:custGeom>
              <a:avLst/>
              <a:gdLst>
                <a:gd name="T0" fmla="*/ 0 w 86"/>
                <a:gd name="T1" fmla="*/ 13 h 50"/>
                <a:gd name="T2" fmla="*/ 2 w 86"/>
                <a:gd name="T3" fmla="*/ 14 h 50"/>
                <a:gd name="T4" fmla="*/ 4 w 86"/>
                <a:gd name="T5" fmla="*/ 15 h 50"/>
                <a:gd name="T6" fmla="*/ 5 w 86"/>
                <a:gd name="T7" fmla="*/ 16 h 50"/>
                <a:gd name="T8" fmla="*/ 8 w 86"/>
                <a:gd name="T9" fmla="*/ 16 h 50"/>
                <a:gd name="T10" fmla="*/ 12 w 86"/>
                <a:gd name="T11" fmla="*/ 17 h 50"/>
                <a:gd name="T12" fmla="*/ 16 w 86"/>
                <a:gd name="T13" fmla="*/ 17 h 50"/>
                <a:gd name="T14" fmla="*/ 20 w 86"/>
                <a:gd name="T15" fmla="*/ 17 h 50"/>
                <a:gd name="T16" fmla="*/ 23 w 86"/>
                <a:gd name="T17" fmla="*/ 16 h 50"/>
                <a:gd name="T18" fmla="*/ 25 w 86"/>
                <a:gd name="T19" fmla="*/ 16 h 50"/>
                <a:gd name="T20" fmla="*/ 27 w 86"/>
                <a:gd name="T21" fmla="*/ 15 h 50"/>
                <a:gd name="T22" fmla="*/ 28 w 86"/>
                <a:gd name="T23" fmla="*/ 14 h 50"/>
                <a:gd name="T24" fmla="*/ 28 w 86"/>
                <a:gd name="T25" fmla="*/ 13 h 50"/>
                <a:gd name="T26" fmla="*/ 29 w 86"/>
                <a:gd name="T27" fmla="*/ 11 h 50"/>
                <a:gd name="T28" fmla="*/ 29 w 86"/>
                <a:gd name="T29" fmla="*/ 9 h 50"/>
                <a:gd name="T30" fmla="*/ 29 w 86"/>
                <a:gd name="T31" fmla="*/ 6 h 50"/>
                <a:gd name="T32" fmla="*/ 28 w 86"/>
                <a:gd name="T33" fmla="*/ 3 h 50"/>
                <a:gd name="T34" fmla="*/ 28 w 86"/>
                <a:gd name="T35" fmla="*/ 2 h 50"/>
                <a:gd name="T36" fmla="*/ 27 w 86"/>
                <a:gd name="T37" fmla="*/ 2 h 50"/>
                <a:gd name="T38" fmla="*/ 26 w 86"/>
                <a:gd name="T39" fmla="*/ 1 h 50"/>
                <a:gd name="T40" fmla="*/ 25 w 86"/>
                <a:gd name="T41" fmla="*/ 0 h 50"/>
                <a:gd name="T42" fmla="*/ 0 w 86"/>
                <a:gd name="T43" fmla="*/ 13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57" name="Freeform 407">
              <a:extLst>
                <a:ext uri="{FF2B5EF4-FFF2-40B4-BE49-F238E27FC236}">
                  <a16:creationId xmlns:a16="http://schemas.microsoft.com/office/drawing/2014/main" id="{A3E26C17-5E57-45E7-9FBA-731EB4094946}"/>
                </a:ext>
              </a:extLst>
            </p:cNvPr>
            <p:cNvSpPr>
              <a:spLocks/>
            </p:cNvSpPr>
            <p:nvPr/>
          </p:nvSpPr>
          <p:spPr bwMode="auto">
            <a:xfrm>
              <a:off x="1379" y="1163"/>
              <a:ext cx="55" cy="25"/>
            </a:xfrm>
            <a:custGeom>
              <a:avLst/>
              <a:gdLst>
                <a:gd name="T0" fmla="*/ 38 w 172"/>
                <a:gd name="T1" fmla="*/ 21 h 74"/>
                <a:gd name="T2" fmla="*/ 35 w 172"/>
                <a:gd name="T3" fmla="*/ 21 h 74"/>
                <a:gd name="T4" fmla="*/ 32 w 172"/>
                <a:gd name="T5" fmla="*/ 21 h 74"/>
                <a:gd name="T6" fmla="*/ 29 w 172"/>
                <a:gd name="T7" fmla="*/ 21 h 74"/>
                <a:gd name="T8" fmla="*/ 26 w 172"/>
                <a:gd name="T9" fmla="*/ 21 h 74"/>
                <a:gd name="T10" fmla="*/ 19 w 172"/>
                <a:gd name="T11" fmla="*/ 25 h 74"/>
                <a:gd name="T12" fmla="*/ 11 w 172"/>
                <a:gd name="T13" fmla="*/ 25 h 74"/>
                <a:gd name="T14" fmla="*/ 12 w 172"/>
                <a:gd name="T15" fmla="*/ 21 h 74"/>
                <a:gd name="T16" fmla="*/ 12 w 172"/>
                <a:gd name="T17" fmla="*/ 17 h 74"/>
                <a:gd name="T18" fmla="*/ 10 w 172"/>
                <a:gd name="T19" fmla="*/ 17 h 74"/>
                <a:gd name="T20" fmla="*/ 7 w 172"/>
                <a:gd name="T21" fmla="*/ 16 h 74"/>
                <a:gd name="T22" fmla="*/ 5 w 172"/>
                <a:gd name="T23" fmla="*/ 16 h 74"/>
                <a:gd name="T24" fmla="*/ 3 w 172"/>
                <a:gd name="T25" fmla="*/ 15 h 74"/>
                <a:gd name="T26" fmla="*/ 2 w 172"/>
                <a:gd name="T27" fmla="*/ 14 h 74"/>
                <a:gd name="T28" fmla="*/ 1 w 172"/>
                <a:gd name="T29" fmla="*/ 13 h 74"/>
                <a:gd name="T30" fmla="*/ 0 w 172"/>
                <a:gd name="T31" fmla="*/ 12 h 74"/>
                <a:gd name="T32" fmla="*/ 0 w 172"/>
                <a:gd name="T33" fmla="*/ 10 h 74"/>
                <a:gd name="T34" fmla="*/ 0 w 172"/>
                <a:gd name="T35" fmla="*/ 9 h 74"/>
                <a:gd name="T36" fmla="*/ 1 w 172"/>
                <a:gd name="T37" fmla="*/ 7 h 74"/>
                <a:gd name="T38" fmla="*/ 2 w 172"/>
                <a:gd name="T39" fmla="*/ 6 h 74"/>
                <a:gd name="T40" fmla="*/ 3 w 172"/>
                <a:gd name="T41" fmla="*/ 5 h 74"/>
                <a:gd name="T42" fmla="*/ 4 w 172"/>
                <a:gd name="T43" fmla="*/ 3 h 74"/>
                <a:gd name="T44" fmla="*/ 6 w 172"/>
                <a:gd name="T45" fmla="*/ 2 h 74"/>
                <a:gd name="T46" fmla="*/ 8 w 172"/>
                <a:gd name="T47" fmla="*/ 2 h 74"/>
                <a:gd name="T48" fmla="*/ 9 w 172"/>
                <a:gd name="T49" fmla="*/ 1 h 74"/>
                <a:gd name="T50" fmla="*/ 13 w 172"/>
                <a:gd name="T51" fmla="*/ 0 h 74"/>
                <a:gd name="T52" fmla="*/ 18 w 172"/>
                <a:gd name="T53" fmla="*/ 0 h 74"/>
                <a:gd name="T54" fmla="*/ 22 w 172"/>
                <a:gd name="T55" fmla="*/ 0 h 74"/>
                <a:gd name="T56" fmla="*/ 26 w 172"/>
                <a:gd name="T57" fmla="*/ 0 h 74"/>
                <a:gd name="T58" fmla="*/ 30 w 172"/>
                <a:gd name="T59" fmla="*/ 0 h 74"/>
                <a:gd name="T60" fmla="*/ 34 w 172"/>
                <a:gd name="T61" fmla="*/ 1 h 74"/>
                <a:gd name="T62" fmla="*/ 37 w 172"/>
                <a:gd name="T63" fmla="*/ 2 h 74"/>
                <a:gd name="T64" fmla="*/ 41 w 172"/>
                <a:gd name="T65" fmla="*/ 4 h 74"/>
                <a:gd name="T66" fmla="*/ 44 w 172"/>
                <a:gd name="T67" fmla="*/ 6 h 74"/>
                <a:gd name="T68" fmla="*/ 48 w 172"/>
                <a:gd name="T69" fmla="*/ 7 h 74"/>
                <a:gd name="T70" fmla="*/ 51 w 172"/>
                <a:gd name="T71" fmla="*/ 8 h 74"/>
                <a:gd name="T72" fmla="*/ 55 w 172"/>
                <a:gd name="T73" fmla="*/ 8 h 74"/>
                <a:gd name="T74" fmla="*/ 55 w 172"/>
                <a:gd name="T75" fmla="*/ 15 h 74"/>
                <a:gd name="T76" fmla="*/ 54 w 172"/>
                <a:gd name="T77" fmla="*/ 16 h 74"/>
                <a:gd name="T78" fmla="*/ 53 w 172"/>
                <a:gd name="T79" fmla="*/ 18 h 74"/>
                <a:gd name="T80" fmla="*/ 51 w 172"/>
                <a:gd name="T81" fmla="*/ 19 h 74"/>
                <a:gd name="T82" fmla="*/ 51 w 172"/>
                <a:gd name="T83" fmla="*/ 20 h 74"/>
                <a:gd name="T84" fmla="*/ 49 w 172"/>
                <a:gd name="T85" fmla="*/ 21 h 74"/>
                <a:gd name="T86" fmla="*/ 48 w 172"/>
                <a:gd name="T87" fmla="*/ 21 h 74"/>
                <a:gd name="T88" fmla="*/ 47 w 172"/>
                <a:gd name="T89" fmla="*/ 22 h 74"/>
                <a:gd name="T90" fmla="*/ 45 w 172"/>
                <a:gd name="T91" fmla="*/ 22 h 74"/>
                <a:gd name="T92" fmla="*/ 42 w 172"/>
                <a:gd name="T93" fmla="*/ 22 h 74"/>
                <a:gd name="T94" fmla="*/ 39 w 172"/>
                <a:gd name="T95" fmla="*/ 21 h 74"/>
                <a:gd name="T96" fmla="*/ 36 w 172"/>
                <a:gd name="T97" fmla="*/ 20 h 74"/>
                <a:gd name="T98" fmla="*/ 32 w 172"/>
                <a:gd name="T99" fmla="*/ 19 h 74"/>
                <a:gd name="T100" fmla="*/ 34 w 172"/>
                <a:gd name="T101" fmla="*/ 19 h 74"/>
                <a:gd name="T102" fmla="*/ 38 w 172"/>
                <a:gd name="T103" fmla="*/ 21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58" name="Freeform 408">
              <a:extLst>
                <a:ext uri="{FF2B5EF4-FFF2-40B4-BE49-F238E27FC236}">
                  <a16:creationId xmlns:a16="http://schemas.microsoft.com/office/drawing/2014/main" id="{BF2FC5DF-7830-4136-9D8E-141F334EA28D}"/>
                </a:ext>
              </a:extLst>
            </p:cNvPr>
            <p:cNvSpPr>
              <a:spLocks/>
            </p:cNvSpPr>
            <p:nvPr/>
          </p:nvSpPr>
          <p:spPr bwMode="auto">
            <a:xfrm>
              <a:off x="1450" y="1171"/>
              <a:ext cx="38" cy="17"/>
            </a:xfrm>
            <a:custGeom>
              <a:avLst/>
              <a:gdLst>
                <a:gd name="T0" fmla="*/ 9 w 120"/>
                <a:gd name="T1" fmla="*/ 17 h 49"/>
                <a:gd name="T2" fmla="*/ 15 w 120"/>
                <a:gd name="T3" fmla="*/ 17 h 49"/>
                <a:gd name="T4" fmla="*/ 20 w 120"/>
                <a:gd name="T5" fmla="*/ 17 h 49"/>
                <a:gd name="T6" fmla="*/ 25 w 120"/>
                <a:gd name="T7" fmla="*/ 16 h 49"/>
                <a:gd name="T8" fmla="*/ 29 w 120"/>
                <a:gd name="T9" fmla="*/ 15 h 49"/>
                <a:gd name="T10" fmla="*/ 30 w 120"/>
                <a:gd name="T11" fmla="*/ 14 h 49"/>
                <a:gd name="T12" fmla="*/ 32 w 120"/>
                <a:gd name="T13" fmla="*/ 13 h 49"/>
                <a:gd name="T14" fmla="*/ 33 w 120"/>
                <a:gd name="T15" fmla="*/ 12 h 49"/>
                <a:gd name="T16" fmla="*/ 34 w 120"/>
                <a:gd name="T17" fmla="*/ 11 h 49"/>
                <a:gd name="T18" fmla="*/ 36 w 120"/>
                <a:gd name="T19" fmla="*/ 8 h 49"/>
                <a:gd name="T20" fmla="*/ 38 w 120"/>
                <a:gd name="T21" fmla="*/ 4 h 49"/>
                <a:gd name="T22" fmla="*/ 32 w 120"/>
                <a:gd name="T23" fmla="*/ 2 h 49"/>
                <a:gd name="T24" fmla="*/ 27 w 120"/>
                <a:gd name="T25" fmla="*/ 1 h 49"/>
                <a:gd name="T26" fmla="*/ 21 w 120"/>
                <a:gd name="T27" fmla="*/ 0 h 49"/>
                <a:gd name="T28" fmla="*/ 16 w 120"/>
                <a:gd name="T29" fmla="*/ 0 h 49"/>
                <a:gd name="T30" fmla="*/ 11 w 120"/>
                <a:gd name="T31" fmla="*/ 0 h 49"/>
                <a:gd name="T32" fmla="*/ 6 w 120"/>
                <a:gd name="T33" fmla="*/ 1 h 49"/>
                <a:gd name="T34" fmla="*/ 3 w 120"/>
                <a:gd name="T35" fmla="*/ 1 h 49"/>
                <a:gd name="T36" fmla="*/ 0 w 120"/>
                <a:gd name="T37" fmla="*/ 2 h 49"/>
                <a:gd name="T38" fmla="*/ 0 w 120"/>
                <a:gd name="T39" fmla="*/ 10 h 49"/>
                <a:gd name="T40" fmla="*/ 1 w 120"/>
                <a:gd name="T41" fmla="*/ 12 h 49"/>
                <a:gd name="T42" fmla="*/ 2 w 120"/>
                <a:gd name="T43" fmla="*/ 13 h 49"/>
                <a:gd name="T44" fmla="*/ 3 w 120"/>
                <a:gd name="T45" fmla="*/ 14 h 49"/>
                <a:gd name="T46" fmla="*/ 4 w 120"/>
                <a:gd name="T47" fmla="*/ 16 h 49"/>
                <a:gd name="T48" fmla="*/ 6 w 120"/>
                <a:gd name="T49" fmla="*/ 17 h 49"/>
                <a:gd name="T50" fmla="*/ 9 w 120"/>
                <a:gd name="T51" fmla="*/ 17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59" name="Freeform 409">
              <a:extLst>
                <a:ext uri="{FF2B5EF4-FFF2-40B4-BE49-F238E27FC236}">
                  <a16:creationId xmlns:a16="http://schemas.microsoft.com/office/drawing/2014/main" id="{917784FB-AEE7-471C-A913-AE47E09462A7}"/>
                </a:ext>
              </a:extLst>
            </p:cNvPr>
            <p:cNvSpPr>
              <a:spLocks/>
            </p:cNvSpPr>
            <p:nvPr/>
          </p:nvSpPr>
          <p:spPr bwMode="auto">
            <a:xfrm>
              <a:off x="1441" y="1194"/>
              <a:ext cx="26" cy="19"/>
            </a:xfrm>
            <a:custGeom>
              <a:avLst/>
              <a:gdLst>
                <a:gd name="T0" fmla="*/ 10 w 85"/>
                <a:gd name="T1" fmla="*/ 0 h 61"/>
                <a:gd name="T2" fmla="*/ 7 w 85"/>
                <a:gd name="T3" fmla="*/ 2 h 61"/>
                <a:gd name="T4" fmla="*/ 3 w 85"/>
                <a:gd name="T5" fmla="*/ 4 h 61"/>
                <a:gd name="T6" fmla="*/ 2 w 85"/>
                <a:gd name="T7" fmla="*/ 5 h 61"/>
                <a:gd name="T8" fmla="*/ 1 w 85"/>
                <a:gd name="T9" fmla="*/ 7 h 61"/>
                <a:gd name="T10" fmla="*/ 0 w 85"/>
                <a:gd name="T11" fmla="*/ 8 h 61"/>
                <a:gd name="T12" fmla="*/ 0 w 85"/>
                <a:gd name="T13" fmla="*/ 10 h 61"/>
                <a:gd name="T14" fmla="*/ 0 w 85"/>
                <a:gd name="T15" fmla="*/ 11 h 61"/>
                <a:gd name="T16" fmla="*/ 0 w 85"/>
                <a:gd name="T17" fmla="*/ 12 h 61"/>
                <a:gd name="T18" fmla="*/ 1 w 85"/>
                <a:gd name="T19" fmla="*/ 12 h 61"/>
                <a:gd name="T20" fmla="*/ 2 w 85"/>
                <a:gd name="T21" fmla="*/ 13 h 61"/>
                <a:gd name="T22" fmla="*/ 3 w 85"/>
                <a:gd name="T23" fmla="*/ 15 h 61"/>
                <a:gd name="T24" fmla="*/ 6 w 85"/>
                <a:gd name="T25" fmla="*/ 17 h 61"/>
                <a:gd name="T26" fmla="*/ 8 w 85"/>
                <a:gd name="T27" fmla="*/ 17 h 61"/>
                <a:gd name="T28" fmla="*/ 11 w 85"/>
                <a:gd name="T29" fmla="*/ 18 h 61"/>
                <a:gd name="T30" fmla="*/ 14 w 85"/>
                <a:gd name="T31" fmla="*/ 19 h 61"/>
                <a:gd name="T32" fmla="*/ 16 w 85"/>
                <a:gd name="T33" fmla="*/ 19 h 61"/>
                <a:gd name="T34" fmla="*/ 17 w 85"/>
                <a:gd name="T35" fmla="*/ 19 h 61"/>
                <a:gd name="T36" fmla="*/ 18 w 85"/>
                <a:gd name="T37" fmla="*/ 19 h 61"/>
                <a:gd name="T38" fmla="*/ 19 w 85"/>
                <a:gd name="T39" fmla="*/ 18 h 61"/>
                <a:gd name="T40" fmla="*/ 20 w 85"/>
                <a:gd name="T41" fmla="*/ 18 h 61"/>
                <a:gd name="T42" fmla="*/ 22 w 85"/>
                <a:gd name="T43" fmla="*/ 16 h 61"/>
                <a:gd name="T44" fmla="*/ 24 w 85"/>
                <a:gd name="T45" fmla="*/ 15 h 61"/>
                <a:gd name="T46" fmla="*/ 24 w 85"/>
                <a:gd name="T47" fmla="*/ 12 h 61"/>
                <a:gd name="T48" fmla="*/ 25 w 85"/>
                <a:gd name="T49" fmla="*/ 10 h 61"/>
                <a:gd name="T50" fmla="*/ 26 w 85"/>
                <a:gd name="T51" fmla="*/ 8 h 61"/>
                <a:gd name="T52" fmla="*/ 26 w 85"/>
                <a:gd name="T53" fmla="*/ 6 h 61"/>
                <a:gd name="T54" fmla="*/ 1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60" name="Freeform 410">
              <a:extLst>
                <a:ext uri="{FF2B5EF4-FFF2-40B4-BE49-F238E27FC236}">
                  <a16:creationId xmlns:a16="http://schemas.microsoft.com/office/drawing/2014/main" id="{2EA615CE-3D4E-4CBB-8985-18688566889B}"/>
                </a:ext>
              </a:extLst>
            </p:cNvPr>
            <p:cNvSpPr>
              <a:spLocks/>
            </p:cNvSpPr>
            <p:nvPr/>
          </p:nvSpPr>
          <p:spPr bwMode="auto">
            <a:xfrm>
              <a:off x="1254" y="1188"/>
              <a:ext cx="31" cy="6"/>
            </a:xfrm>
            <a:custGeom>
              <a:avLst/>
              <a:gdLst>
                <a:gd name="T0" fmla="*/ 0 w 100"/>
                <a:gd name="T1" fmla="*/ 2 h 19"/>
                <a:gd name="T2" fmla="*/ 2 w 100"/>
                <a:gd name="T3" fmla="*/ 3 h 19"/>
                <a:gd name="T4" fmla="*/ 4 w 100"/>
                <a:gd name="T5" fmla="*/ 5 h 19"/>
                <a:gd name="T6" fmla="*/ 7 w 100"/>
                <a:gd name="T7" fmla="*/ 6 h 19"/>
                <a:gd name="T8" fmla="*/ 8 w 100"/>
                <a:gd name="T9" fmla="*/ 6 h 19"/>
                <a:gd name="T10" fmla="*/ 31 w 100"/>
                <a:gd name="T11" fmla="*/ 2 h 19"/>
                <a:gd name="T12" fmla="*/ 23 w 100"/>
                <a:gd name="T13" fmla="*/ 1 h 19"/>
                <a:gd name="T14" fmla="*/ 15 w 100"/>
                <a:gd name="T15" fmla="*/ 0 h 19"/>
                <a:gd name="T16" fmla="*/ 11 w 100"/>
                <a:gd name="T17" fmla="*/ 0 h 19"/>
                <a:gd name="T18" fmla="*/ 7 w 100"/>
                <a:gd name="T19" fmla="*/ 0 h 19"/>
                <a:gd name="T20" fmla="*/ 4 w 100"/>
                <a:gd name="T21" fmla="*/ 1 h 19"/>
                <a:gd name="T22" fmla="*/ 0 w 100"/>
                <a:gd name="T23" fmla="*/ 2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61" name="Freeform 411">
              <a:extLst>
                <a:ext uri="{FF2B5EF4-FFF2-40B4-BE49-F238E27FC236}">
                  <a16:creationId xmlns:a16="http://schemas.microsoft.com/office/drawing/2014/main" id="{C0F5073B-F634-42D2-988E-CFAEDBC35F72}"/>
                </a:ext>
              </a:extLst>
            </p:cNvPr>
            <p:cNvSpPr>
              <a:spLocks/>
            </p:cNvSpPr>
            <p:nvPr/>
          </p:nvSpPr>
          <p:spPr bwMode="auto">
            <a:xfrm>
              <a:off x="1272" y="1168"/>
              <a:ext cx="53" cy="15"/>
            </a:xfrm>
            <a:custGeom>
              <a:avLst/>
              <a:gdLst>
                <a:gd name="T0" fmla="*/ 0 w 166"/>
                <a:gd name="T1" fmla="*/ 9 h 45"/>
                <a:gd name="T2" fmla="*/ 0 w 166"/>
                <a:gd name="T3" fmla="*/ 10 h 45"/>
                <a:gd name="T4" fmla="*/ 1 w 166"/>
                <a:gd name="T5" fmla="*/ 10 h 45"/>
                <a:gd name="T6" fmla="*/ 3 w 166"/>
                <a:gd name="T7" fmla="*/ 11 h 45"/>
                <a:gd name="T8" fmla="*/ 4 w 166"/>
                <a:gd name="T9" fmla="*/ 12 h 45"/>
                <a:gd name="T10" fmla="*/ 9 w 166"/>
                <a:gd name="T11" fmla="*/ 13 h 45"/>
                <a:gd name="T12" fmla="*/ 14 w 166"/>
                <a:gd name="T13" fmla="*/ 14 h 45"/>
                <a:gd name="T14" fmla="*/ 24 w 166"/>
                <a:gd name="T15" fmla="*/ 15 h 45"/>
                <a:gd name="T16" fmla="*/ 29 w 166"/>
                <a:gd name="T17" fmla="*/ 15 h 45"/>
                <a:gd name="T18" fmla="*/ 53 w 166"/>
                <a:gd name="T19" fmla="*/ 9 h 45"/>
                <a:gd name="T20" fmla="*/ 50 w 166"/>
                <a:gd name="T21" fmla="*/ 8 h 45"/>
                <a:gd name="T22" fmla="*/ 44 w 166"/>
                <a:gd name="T23" fmla="*/ 6 h 45"/>
                <a:gd name="T24" fmla="*/ 35 w 166"/>
                <a:gd name="T25" fmla="*/ 4 h 45"/>
                <a:gd name="T26" fmla="*/ 26 w 166"/>
                <a:gd name="T27" fmla="*/ 1 h 45"/>
                <a:gd name="T28" fmla="*/ 21 w 166"/>
                <a:gd name="T29" fmla="*/ 1 h 45"/>
                <a:gd name="T30" fmla="*/ 16 w 166"/>
                <a:gd name="T31" fmla="*/ 0 h 45"/>
                <a:gd name="T32" fmla="*/ 11 w 166"/>
                <a:gd name="T33" fmla="*/ 0 h 45"/>
                <a:gd name="T34" fmla="*/ 8 w 166"/>
                <a:gd name="T35" fmla="*/ 1 h 45"/>
                <a:gd name="T36" fmla="*/ 6 w 166"/>
                <a:gd name="T37" fmla="*/ 1 h 45"/>
                <a:gd name="T38" fmla="*/ 4 w 166"/>
                <a:gd name="T39" fmla="*/ 2 h 45"/>
                <a:gd name="T40" fmla="*/ 3 w 166"/>
                <a:gd name="T41" fmla="*/ 2 h 45"/>
                <a:gd name="T42" fmla="*/ 2 w 166"/>
                <a:gd name="T43" fmla="*/ 3 h 45"/>
                <a:gd name="T44" fmla="*/ 1 w 166"/>
                <a:gd name="T45" fmla="*/ 4 h 45"/>
                <a:gd name="T46" fmla="*/ 0 w 166"/>
                <a:gd name="T47" fmla="*/ 6 h 45"/>
                <a:gd name="T48" fmla="*/ 0 w 166"/>
                <a:gd name="T49" fmla="*/ 7 h 45"/>
                <a:gd name="T50" fmla="*/ 0 w 166"/>
                <a:gd name="T51" fmla="*/ 9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62" name="Freeform 412">
              <a:extLst>
                <a:ext uri="{FF2B5EF4-FFF2-40B4-BE49-F238E27FC236}">
                  <a16:creationId xmlns:a16="http://schemas.microsoft.com/office/drawing/2014/main" id="{EE517A61-6A52-4D66-945C-F82BFE666ED6}"/>
                </a:ext>
              </a:extLst>
            </p:cNvPr>
            <p:cNvSpPr>
              <a:spLocks/>
            </p:cNvSpPr>
            <p:nvPr/>
          </p:nvSpPr>
          <p:spPr bwMode="auto">
            <a:xfrm>
              <a:off x="1488" y="1422"/>
              <a:ext cx="11" cy="8"/>
            </a:xfrm>
            <a:custGeom>
              <a:avLst/>
              <a:gdLst>
                <a:gd name="T0" fmla="*/ 0 w 33"/>
                <a:gd name="T1" fmla="*/ 0 h 25"/>
                <a:gd name="T2" fmla="*/ 0 w 33"/>
                <a:gd name="T3" fmla="*/ 3 h 25"/>
                <a:gd name="T4" fmla="*/ 1 w 33"/>
                <a:gd name="T5" fmla="*/ 5 h 25"/>
                <a:gd name="T6" fmla="*/ 2 w 33"/>
                <a:gd name="T7" fmla="*/ 6 h 25"/>
                <a:gd name="T8" fmla="*/ 4 w 33"/>
                <a:gd name="T9" fmla="*/ 7 h 25"/>
                <a:gd name="T10" fmla="*/ 5 w 33"/>
                <a:gd name="T11" fmla="*/ 8 h 25"/>
                <a:gd name="T12" fmla="*/ 7 w 33"/>
                <a:gd name="T13" fmla="*/ 8 h 25"/>
                <a:gd name="T14" fmla="*/ 9 w 33"/>
                <a:gd name="T15" fmla="*/ 8 h 25"/>
                <a:gd name="T16" fmla="*/ 11 w 33"/>
                <a:gd name="T17" fmla="*/ 8 h 25"/>
                <a:gd name="T18" fmla="*/ 11 w 33"/>
                <a:gd name="T19" fmla="*/ 0 h 25"/>
                <a:gd name="T20" fmla="*/ 8 w 33"/>
                <a:gd name="T21" fmla="*/ 0 h 25"/>
                <a:gd name="T22" fmla="*/ 5 w 33"/>
                <a:gd name="T23" fmla="*/ 0 h 25"/>
                <a:gd name="T24" fmla="*/ 3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63" name="Freeform 413">
              <a:extLst>
                <a:ext uri="{FF2B5EF4-FFF2-40B4-BE49-F238E27FC236}">
                  <a16:creationId xmlns:a16="http://schemas.microsoft.com/office/drawing/2014/main" id="{9D7A77C8-B761-482C-AAE3-59582F7201B4}"/>
                </a:ext>
              </a:extLst>
            </p:cNvPr>
            <p:cNvSpPr>
              <a:spLocks/>
            </p:cNvSpPr>
            <p:nvPr/>
          </p:nvSpPr>
          <p:spPr bwMode="auto">
            <a:xfrm>
              <a:off x="1605" y="1729"/>
              <a:ext cx="16" cy="20"/>
            </a:xfrm>
            <a:custGeom>
              <a:avLst/>
              <a:gdLst>
                <a:gd name="T0" fmla="*/ 0 w 48"/>
                <a:gd name="T1" fmla="*/ 20 h 62"/>
                <a:gd name="T2" fmla="*/ 4 w 48"/>
                <a:gd name="T3" fmla="*/ 18 h 62"/>
                <a:gd name="T4" fmla="*/ 7 w 48"/>
                <a:gd name="T5" fmla="*/ 16 h 62"/>
                <a:gd name="T6" fmla="*/ 10 w 48"/>
                <a:gd name="T7" fmla="*/ 14 h 62"/>
                <a:gd name="T8" fmla="*/ 12 w 48"/>
                <a:gd name="T9" fmla="*/ 12 h 62"/>
                <a:gd name="T10" fmla="*/ 14 w 48"/>
                <a:gd name="T11" fmla="*/ 9 h 62"/>
                <a:gd name="T12" fmla="*/ 15 w 48"/>
                <a:gd name="T13" fmla="*/ 6 h 62"/>
                <a:gd name="T14" fmla="*/ 16 w 48"/>
                <a:gd name="T15" fmla="*/ 3 h 62"/>
                <a:gd name="T16" fmla="*/ 16 w 48"/>
                <a:gd name="T17" fmla="*/ 0 h 62"/>
                <a:gd name="T18" fmla="*/ 13 w 48"/>
                <a:gd name="T19" fmla="*/ 1 h 62"/>
                <a:gd name="T20" fmla="*/ 11 w 48"/>
                <a:gd name="T21" fmla="*/ 2 h 62"/>
                <a:gd name="T22" fmla="*/ 8 w 48"/>
                <a:gd name="T23" fmla="*/ 3 h 62"/>
                <a:gd name="T24" fmla="*/ 6 w 48"/>
                <a:gd name="T25" fmla="*/ 5 h 62"/>
                <a:gd name="T26" fmla="*/ 3 w 48"/>
                <a:gd name="T27" fmla="*/ 7 h 62"/>
                <a:gd name="T28" fmla="*/ 2 w 48"/>
                <a:gd name="T29" fmla="*/ 9 h 62"/>
                <a:gd name="T30" fmla="*/ 1 w 48"/>
                <a:gd name="T31" fmla="*/ 10 h 62"/>
                <a:gd name="T32" fmla="*/ 1 w 48"/>
                <a:gd name="T33" fmla="*/ 11 h 62"/>
                <a:gd name="T34" fmla="*/ 0 w 48"/>
                <a:gd name="T35" fmla="*/ 13 h 62"/>
                <a:gd name="T36" fmla="*/ 0 w 48"/>
                <a:gd name="T37" fmla="*/ 14 h 62"/>
                <a:gd name="T38" fmla="*/ 0 w 48"/>
                <a:gd name="T39" fmla="*/ 17 h 62"/>
                <a:gd name="T40" fmla="*/ 0 w 48"/>
                <a:gd name="T41" fmla="*/ 2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64" name="Freeform 414">
              <a:extLst>
                <a:ext uri="{FF2B5EF4-FFF2-40B4-BE49-F238E27FC236}">
                  <a16:creationId xmlns:a16="http://schemas.microsoft.com/office/drawing/2014/main" id="{FBC2573D-E8D5-423D-9C9B-E152549DD819}"/>
                </a:ext>
              </a:extLst>
            </p:cNvPr>
            <p:cNvSpPr>
              <a:spLocks/>
            </p:cNvSpPr>
            <p:nvPr/>
          </p:nvSpPr>
          <p:spPr bwMode="auto">
            <a:xfrm>
              <a:off x="1554" y="1729"/>
              <a:ext cx="36" cy="20"/>
            </a:xfrm>
            <a:custGeom>
              <a:avLst/>
              <a:gdLst>
                <a:gd name="T0" fmla="*/ 15 w 113"/>
                <a:gd name="T1" fmla="*/ 0 h 62"/>
                <a:gd name="T2" fmla="*/ 11 w 113"/>
                <a:gd name="T3" fmla="*/ 2 h 62"/>
                <a:gd name="T4" fmla="*/ 7 w 113"/>
                <a:gd name="T5" fmla="*/ 5 h 62"/>
                <a:gd name="T6" fmla="*/ 4 w 113"/>
                <a:gd name="T7" fmla="*/ 9 h 62"/>
                <a:gd name="T8" fmla="*/ 0 w 113"/>
                <a:gd name="T9" fmla="*/ 12 h 62"/>
                <a:gd name="T10" fmla="*/ 7 w 113"/>
                <a:gd name="T11" fmla="*/ 15 h 62"/>
                <a:gd name="T12" fmla="*/ 13 w 113"/>
                <a:gd name="T13" fmla="*/ 17 h 62"/>
                <a:gd name="T14" fmla="*/ 16 w 113"/>
                <a:gd name="T15" fmla="*/ 18 h 62"/>
                <a:gd name="T16" fmla="*/ 20 w 113"/>
                <a:gd name="T17" fmla="*/ 19 h 62"/>
                <a:gd name="T18" fmla="*/ 23 w 113"/>
                <a:gd name="T19" fmla="*/ 20 h 62"/>
                <a:gd name="T20" fmla="*/ 28 w 113"/>
                <a:gd name="T21" fmla="*/ 20 h 62"/>
                <a:gd name="T22" fmla="*/ 31 w 113"/>
                <a:gd name="T23" fmla="*/ 20 h 62"/>
                <a:gd name="T24" fmla="*/ 34 w 113"/>
                <a:gd name="T25" fmla="*/ 19 h 62"/>
                <a:gd name="T26" fmla="*/ 35 w 113"/>
                <a:gd name="T27" fmla="*/ 18 h 62"/>
                <a:gd name="T28" fmla="*/ 35 w 113"/>
                <a:gd name="T29" fmla="*/ 17 h 62"/>
                <a:gd name="T30" fmla="*/ 36 w 113"/>
                <a:gd name="T31" fmla="*/ 17 h 62"/>
                <a:gd name="T32" fmla="*/ 36 w 113"/>
                <a:gd name="T33" fmla="*/ 16 h 62"/>
                <a:gd name="T34" fmla="*/ 29 w 113"/>
                <a:gd name="T35" fmla="*/ 13 h 62"/>
                <a:gd name="T36" fmla="*/ 22 w 113"/>
                <a:gd name="T37" fmla="*/ 10 h 62"/>
                <a:gd name="T38" fmla="*/ 21 w 113"/>
                <a:gd name="T39" fmla="*/ 9 h 62"/>
                <a:gd name="T40" fmla="*/ 19 w 113"/>
                <a:gd name="T41" fmla="*/ 8 h 62"/>
                <a:gd name="T42" fmla="*/ 18 w 113"/>
                <a:gd name="T43" fmla="*/ 7 h 62"/>
                <a:gd name="T44" fmla="*/ 17 w 113"/>
                <a:gd name="T45" fmla="*/ 6 h 62"/>
                <a:gd name="T46" fmla="*/ 16 w 113"/>
                <a:gd name="T47" fmla="*/ 5 h 62"/>
                <a:gd name="T48" fmla="*/ 15 w 113"/>
                <a:gd name="T49" fmla="*/ 3 h 62"/>
                <a:gd name="T50" fmla="*/ 15 w 113"/>
                <a:gd name="T51" fmla="*/ 2 h 62"/>
                <a:gd name="T52" fmla="*/ 15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65" name="Freeform 415">
              <a:extLst>
                <a:ext uri="{FF2B5EF4-FFF2-40B4-BE49-F238E27FC236}">
                  <a16:creationId xmlns:a16="http://schemas.microsoft.com/office/drawing/2014/main" id="{BAAB901B-430F-4A40-88C9-FF31AB1097B7}"/>
                </a:ext>
              </a:extLst>
            </p:cNvPr>
            <p:cNvSpPr>
              <a:spLocks/>
            </p:cNvSpPr>
            <p:nvPr/>
          </p:nvSpPr>
          <p:spPr bwMode="auto">
            <a:xfrm>
              <a:off x="1748" y="1188"/>
              <a:ext cx="29" cy="15"/>
            </a:xfrm>
            <a:custGeom>
              <a:avLst/>
              <a:gdLst>
                <a:gd name="T0" fmla="*/ 0 w 93"/>
                <a:gd name="T1" fmla="*/ 0 h 50"/>
                <a:gd name="T2" fmla="*/ 5 w 93"/>
                <a:gd name="T3" fmla="*/ 0 h 50"/>
                <a:gd name="T4" fmla="*/ 9 w 93"/>
                <a:gd name="T5" fmla="*/ 0 h 50"/>
                <a:gd name="T6" fmla="*/ 14 w 93"/>
                <a:gd name="T7" fmla="*/ 1 h 50"/>
                <a:gd name="T8" fmla="*/ 18 w 93"/>
                <a:gd name="T9" fmla="*/ 2 h 50"/>
                <a:gd name="T10" fmla="*/ 20 w 93"/>
                <a:gd name="T11" fmla="*/ 2 h 50"/>
                <a:gd name="T12" fmla="*/ 22 w 93"/>
                <a:gd name="T13" fmla="*/ 3 h 50"/>
                <a:gd name="T14" fmla="*/ 23 w 93"/>
                <a:gd name="T15" fmla="*/ 4 h 50"/>
                <a:gd name="T16" fmla="*/ 25 w 93"/>
                <a:gd name="T17" fmla="*/ 5 h 50"/>
                <a:gd name="T18" fmla="*/ 27 w 93"/>
                <a:gd name="T19" fmla="*/ 6 h 50"/>
                <a:gd name="T20" fmla="*/ 28 w 93"/>
                <a:gd name="T21" fmla="*/ 8 h 50"/>
                <a:gd name="T22" fmla="*/ 28 w 93"/>
                <a:gd name="T23" fmla="*/ 9 h 50"/>
                <a:gd name="T24" fmla="*/ 29 w 93"/>
                <a:gd name="T25" fmla="*/ 11 h 50"/>
                <a:gd name="T26" fmla="*/ 25 w 93"/>
                <a:gd name="T27" fmla="*/ 11 h 50"/>
                <a:gd name="T28" fmla="*/ 21 w 93"/>
                <a:gd name="T29" fmla="*/ 12 h 50"/>
                <a:gd name="T30" fmla="*/ 19 w 93"/>
                <a:gd name="T31" fmla="*/ 12 h 50"/>
                <a:gd name="T32" fmla="*/ 16 w 93"/>
                <a:gd name="T33" fmla="*/ 13 h 50"/>
                <a:gd name="T34" fmla="*/ 13 w 93"/>
                <a:gd name="T35" fmla="*/ 14 h 50"/>
                <a:gd name="T36" fmla="*/ 10 w 93"/>
                <a:gd name="T37" fmla="*/ 15 h 50"/>
                <a:gd name="T38" fmla="*/ 9 w 93"/>
                <a:gd name="T39" fmla="*/ 15 h 50"/>
                <a:gd name="T40" fmla="*/ 9 w 93"/>
                <a:gd name="T41" fmla="*/ 14 h 50"/>
                <a:gd name="T42" fmla="*/ 8 w 93"/>
                <a:gd name="T43" fmla="*/ 14 h 50"/>
                <a:gd name="T44" fmla="*/ 8 w 93"/>
                <a:gd name="T45" fmla="*/ 14 h 50"/>
                <a:gd name="T46" fmla="*/ 7 w 93"/>
                <a:gd name="T47" fmla="*/ 12 h 50"/>
                <a:gd name="T48" fmla="*/ 7 w 93"/>
                <a:gd name="T49" fmla="*/ 11 h 50"/>
                <a:gd name="T50" fmla="*/ 7 w 93"/>
                <a:gd name="T51" fmla="*/ 9 h 50"/>
                <a:gd name="T52" fmla="*/ 7 w 93"/>
                <a:gd name="T53" fmla="*/ 8 h 50"/>
                <a:gd name="T54" fmla="*/ 7 w 93"/>
                <a:gd name="T55" fmla="*/ 7 h 50"/>
                <a:gd name="T56" fmla="*/ 8 w 93"/>
                <a:gd name="T57" fmla="*/ 6 h 50"/>
                <a:gd name="T58" fmla="*/ 0 w 93"/>
                <a:gd name="T59" fmla="*/ 6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66" name="Freeform 416">
              <a:extLst>
                <a:ext uri="{FF2B5EF4-FFF2-40B4-BE49-F238E27FC236}">
                  <a16:creationId xmlns:a16="http://schemas.microsoft.com/office/drawing/2014/main" id="{BE48F49D-A8C1-48F4-A65E-70162FBDC24E}"/>
                </a:ext>
              </a:extLst>
            </p:cNvPr>
            <p:cNvSpPr>
              <a:spLocks/>
            </p:cNvSpPr>
            <p:nvPr/>
          </p:nvSpPr>
          <p:spPr bwMode="auto">
            <a:xfrm>
              <a:off x="1436" y="1246"/>
              <a:ext cx="331" cy="198"/>
            </a:xfrm>
            <a:custGeom>
              <a:avLst/>
              <a:gdLst>
                <a:gd name="T0" fmla="*/ 6 w 1029"/>
                <a:gd name="T1" fmla="*/ 37 h 604"/>
                <a:gd name="T2" fmla="*/ 22 w 1029"/>
                <a:gd name="T3" fmla="*/ 20 h 604"/>
                <a:gd name="T4" fmla="*/ 86 w 1029"/>
                <a:gd name="T5" fmla="*/ 0 h 604"/>
                <a:gd name="T6" fmla="*/ 66 w 1029"/>
                <a:gd name="T7" fmla="*/ 15 h 604"/>
                <a:gd name="T8" fmla="*/ 58 w 1029"/>
                <a:gd name="T9" fmla="*/ 34 h 604"/>
                <a:gd name="T10" fmla="*/ 88 w 1029"/>
                <a:gd name="T11" fmla="*/ 20 h 604"/>
                <a:gd name="T12" fmla="*/ 128 w 1029"/>
                <a:gd name="T13" fmla="*/ 5 h 604"/>
                <a:gd name="T14" fmla="*/ 141 w 1029"/>
                <a:gd name="T15" fmla="*/ 8 h 604"/>
                <a:gd name="T16" fmla="*/ 139 w 1029"/>
                <a:gd name="T17" fmla="*/ 23 h 604"/>
                <a:gd name="T18" fmla="*/ 187 w 1029"/>
                <a:gd name="T19" fmla="*/ 26 h 604"/>
                <a:gd name="T20" fmla="*/ 217 w 1029"/>
                <a:gd name="T21" fmla="*/ 29 h 604"/>
                <a:gd name="T22" fmla="*/ 241 w 1029"/>
                <a:gd name="T23" fmla="*/ 36 h 604"/>
                <a:gd name="T24" fmla="*/ 241 w 1029"/>
                <a:gd name="T25" fmla="*/ 44 h 604"/>
                <a:gd name="T26" fmla="*/ 229 w 1029"/>
                <a:gd name="T27" fmla="*/ 60 h 604"/>
                <a:gd name="T28" fmla="*/ 257 w 1029"/>
                <a:gd name="T29" fmla="*/ 55 h 604"/>
                <a:gd name="T30" fmla="*/ 279 w 1029"/>
                <a:gd name="T31" fmla="*/ 63 h 604"/>
                <a:gd name="T32" fmla="*/ 275 w 1029"/>
                <a:gd name="T33" fmla="*/ 78 h 604"/>
                <a:gd name="T34" fmla="*/ 253 w 1029"/>
                <a:gd name="T35" fmla="*/ 81 h 604"/>
                <a:gd name="T36" fmla="*/ 276 w 1029"/>
                <a:gd name="T37" fmla="*/ 93 h 604"/>
                <a:gd name="T38" fmla="*/ 290 w 1029"/>
                <a:gd name="T39" fmla="*/ 107 h 604"/>
                <a:gd name="T40" fmla="*/ 314 w 1029"/>
                <a:gd name="T41" fmla="*/ 108 h 604"/>
                <a:gd name="T42" fmla="*/ 331 w 1029"/>
                <a:gd name="T43" fmla="*/ 115 h 604"/>
                <a:gd name="T44" fmla="*/ 302 w 1029"/>
                <a:gd name="T45" fmla="*/ 134 h 604"/>
                <a:gd name="T46" fmla="*/ 289 w 1029"/>
                <a:gd name="T47" fmla="*/ 137 h 604"/>
                <a:gd name="T48" fmla="*/ 281 w 1029"/>
                <a:gd name="T49" fmla="*/ 145 h 604"/>
                <a:gd name="T50" fmla="*/ 267 w 1029"/>
                <a:gd name="T51" fmla="*/ 136 h 604"/>
                <a:gd name="T52" fmla="*/ 274 w 1029"/>
                <a:gd name="T53" fmla="*/ 129 h 604"/>
                <a:gd name="T54" fmla="*/ 255 w 1029"/>
                <a:gd name="T55" fmla="*/ 124 h 604"/>
                <a:gd name="T56" fmla="*/ 244 w 1029"/>
                <a:gd name="T57" fmla="*/ 119 h 604"/>
                <a:gd name="T58" fmla="*/ 239 w 1029"/>
                <a:gd name="T59" fmla="*/ 129 h 604"/>
                <a:gd name="T60" fmla="*/ 240 w 1029"/>
                <a:gd name="T61" fmla="*/ 146 h 604"/>
                <a:gd name="T62" fmla="*/ 256 w 1029"/>
                <a:gd name="T63" fmla="*/ 171 h 604"/>
                <a:gd name="T64" fmla="*/ 248 w 1029"/>
                <a:gd name="T65" fmla="*/ 179 h 604"/>
                <a:gd name="T66" fmla="*/ 228 w 1029"/>
                <a:gd name="T67" fmla="*/ 182 h 604"/>
                <a:gd name="T68" fmla="*/ 199 w 1029"/>
                <a:gd name="T69" fmla="*/ 169 h 604"/>
                <a:gd name="T70" fmla="*/ 215 w 1029"/>
                <a:gd name="T71" fmla="*/ 186 h 604"/>
                <a:gd name="T72" fmla="*/ 214 w 1029"/>
                <a:gd name="T73" fmla="*/ 198 h 604"/>
                <a:gd name="T74" fmla="*/ 167 w 1029"/>
                <a:gd name="T75" fmla="*/ 187 h 604"/>
                <a:gd name="T76" fmla="*/ 152 w 1029"/>
                <a:gd name="T77" fmla="*/ 171 h 604"/>
                <a:gd name="T78" fmla="*/ 132 w 1029"/>
                <a:gd name="T79" fmla="*/ 155 h 604"/>
                <a:gd name="T80" fmla="*/ 118 w 1029"/>
                <a:gd name="T81" fmla="*/ 149 h 604"/>
                <a:gd name="T82" fmla="*/ 126 w 1029"/>
                <a:gd name="T83" fmla="*/ 142 h 604"/>
                <a:gd name="T84" fmla="*/ 148 w 1029"/>
                <a:gd name="T85" fmla="*/ 131 h 604"/>
                <a:gd name="T86" fmla="*/ 161 w 1029"/>
                <a:gd name="T87" fmla="*/ 124 h 604"/>
                <a:gd name="T88" fmla="*/ 186 w 1029"/>
                <a:gd name="T89" fmla="*/ 125 h 604"/>
                <a:gd name="T90" fmla="*/ 198 w 1029"/>
                <a:gd name="T91" fmla="*/ 129 h 604"/>
                <a:gd name="T92" fmla="*/ 221 w 1029"/>
                <a:gd name="T93" fmla="*/ 127 h 604"/>
                <a:gd name="T94" fmla="*/ 187 w 1029"/>
                <a:gd name="T95" fmla="*/ 116 h 604"/>
                <a:gd name="T96" fmla="*/ 174 w 1029"/>
                <a:gd name="T97" fmla="*/ 118 h 604"/>
                <a:gd name="T98" fmla="*/ 173 w 1029"/>
                <a:gd name="T99" fmla="*/ 115 h 604"/>
                <a:gd name="T100" fmla="*/ 185 w 1029"/>
                <a:gd name="T101" fmla="*/ 100 h 604"/>
                <a:gd name="T102" fmla="*/ 185 w 1029"/>
                <a:gd name="T103" fmla="*/ 90 h 604"/>
                <a:gd name="T104" fmla="*/ 169 w 1029"/>
                <a:gd name="T105" fmla="*/ 83 h 604"/>
                <a:gd name="T106" fmla="*/ 152 w 1029"/>
                <a:gd name="T107" fmla="*/ 65 h 604"/>
                <a:gd name="T108" fmla="*/ 140 w 1029"/>
                <a:gd name="T109" fmla="*/ 55 h 604"/>
                <a:gd name="T110" fmla="*/ 131 w 1029"/>
                <a:gd name="T111" fmla="*/ 53 h 604"/>
                <a:gd name="T112" fmla="*/ 122 w 1029"/>
                <a:gd name="T113" fmla="*/ 67 h 604"/>
                <a:gd name="T114" fmla="*/ 67 w 1029"/>
                <a:gd name="T115" fmla="*/ 57 h 604"/>
                <a:gd name="T116" fmla="*/ 37 w 1029"/>
                <a:gd name="T117" fmla="*/ 62 h 604"/>
                <a:gd name="T118" fmla="*/ 25 w 1029"/>
                <a:gd name="T119" fmla="*/ 61 h 604"/>
                <a:gd name="T120" fmla="*/ 5 w 1029"/>
                <a:gd name="T121" fmla="*/ 59 h 604"/>
                <a:gd name="T122" fmla="*/ 3 w 1029"/>
                <a:gd name="T123" fmla="*/ 52 h 604"/>
                <a:gd name="T124" fmla="*/ 24 w 1029"/>
                <a:gd name="T125" fmla="*/ 49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67" name="Freeform 417">
              <a:extLst>
                <a:ext uri="{FF2B5EF4-FFF2-40B4-BE49-F238E27FC236}">
                  <a16:creationId xmlns:a16="http://schemas.microsoft.com/office/drawing/2014/main" id="{66B05E08-BE21-4661-8D57-CDD7E30E9D1A}"/>
                </a:ext>
              </a:extLst>
            </p:cNvPr>
            <p:cNvSpPr>
              <a:spLocks/>
            </p:cNvSpPr>
            <p:nvPr/>
          </p:nvSpPr>
          <p:spPr bwMode="auto">
            <a:xfrm>
              <a:off x="1528" y="1110"/>
              <a:ext cx="409" cy="105"/>
            </a:xfrm>
            <a:custGeom>
              <a:avLst/>
              <a:gdLst>
                <a:gd name="T0" fmla="*/ 257 w 1268"/>
                <a:gd name="T1" fmla="*/ 12 h 321"/>
                <a:gd name="T2" fmla="*/ 262 w 1268"/>
                <a:gd name="T3" fmla="*/ 5 h 321"/>
                <a:gd name="T4" fmla="*/ 273 w 1268"/>
                <a:gd name="T5" fmla="*/ 3 h 321"/>
                <a:gd name="T6" fmla="*/ 279 w 1268"/>
                <a:gd name="T7" fmla="*/ 8 h 321"/>
                <a:gd name="T8" fmla="*/ 303 w 1268"/>
                <a:gd name="T9" fmla="*/ 5 h 321"/>
                <a:gd name="T10" fmla="*/ 329 w 1268"/>
                <a:gd name="T11" fmla="*/ 0 h 321"/>
                <a:gd name="T12" fmla="*/ 350 w 1268"/>
                <a:gd name="T13" fmla="*/ 6 h 321"/>
                <a:gd name="T14" fmla="*/ 365 w 1268"/>
                <a:gd name="T15" fmla="*/ 7 h 321"/>
                <a:gd name="T16" fmla="*/ 409 w 1268"/>
                <a:gd name="T17" fmla="*/ 10 h 321"/>
                <a:gd name="T18" fmla="*/ 401 w 1268"/>
                <a:gd name="T19" fmla="*/ 16 h 321"/>
                <a:gd name="T20" fmla="*/ 375 w 1268"/>
                <a:gd name="T21" fmla="*/ 21 h 321"/>
                <a:gd name="T22" fmla="*/ 340 w 1268"/>
                <a:gd name="T23" fmla="*/ 25 h 321"/>
                <a:gd name="T24" fmla="*/ 332 w 1268"/>
                <a:gd name="T25" fmla="*/ 31 h 321"/>
                <a:gd name="T26" fmla="*/ 322 w 1268"/>
                <a:gd name="T27" fmla="*/ 34 h 321"/>
                <a:gd name="T28" fmla="*/ 304 w 1268"/>
                <a:gd name="T29" fmla="*/ 33 h 321"/>
                <a:gd name="T30" fmla="*/ 300 w 1268"/>
                <a:gd name="T31" fmla="*/ 39 h 321"/>
                <a:gd name="T32" fmla="*/ 241 w 1268"/>
                <a:gd name="T33" fmla="*/ 44 h 321"/>
                <a:gd name="T34" fmla="*/ 215 w 1268"/>
                <a:gd name="T35" fmla="*/ 51 h 321"/>
                <a:gd name="T36" fmla="*/ 205 w 1268"/>
                <a:gd name="T37" fmla="*/ 59 h 321"/>
                <a:gd name="T38" fmla="*/ 191 w 1268"/>
                <a:gd name="T39" fmla="*/ 55 h 321"/>
                <a:gd name="T40" fmla="*/ 184 w 1268"/>
                <a:gd name="T41" fmla="*/ 59 h 321"/>
                <a:gd name="T42" fmla="*/ 190 w 1268"/>
                <a:gd name="T43" fmla="*/ 68 h 321"/>
                <a:gd name="T44" fmla="*/ 176 w 1268"/>
                <a:gd name="T45" fmla="*/ 78 h 321"/>
                <a:gd name="T46" fmla="*/ 156 w 1268"/>
                <a:gd name="T47" fmla="*/ 77 h 321"/>
                <a:gd name="T48" fmla="*/ 130 w 1268"/>
                <a:gd name="T49" fmla="*/ 79 h 321"/>
                <a:gd name="T50" fmla="*/ 131 w 1268"/>
                <a:gd name="T51" fmla="*/ 84 h 321"/>
                <a:gd name="T52" fmla="*/ 126 w 1268"/>
                <a:gd name="T53" fmla="*/ 96 h 321"/>
                <a:gd name="T54" fmla="*/ 107 w 1268"/>
                <a:gd name="T55" fmla="*/ 105 h 321"/>
                <a:gd name="T56" fmla="*/ 94 w 1268"/>
                <a:gd name="T57" fmla="*/ 97 h 321"/>
                <a:gd name="T58" fmla="*/ 82 w 1268"/>
                <a:gd name="T59" fmla="*/ 93 h 321"/>
                <a:gd name="T60" fmla="*/ 31 w 1268"/>
                <a:gd name="T61" fmla="*/ 90 h 321"/>
                <a:gd name="T62" fmla="*/ 0 w 1268"/>
                <a:gd name="T63" fmla="*/ 93 h 321"/>
                <a:gd name="T64" fmla="*/ 3 w 1268"/>
                <a:gd name="T65" fmla="*/ 87 h 321"/>
                <a:gd name="T66" fmla="*/ 18 w 1268"/>
                <a:gd name="T67" fmla="*/ 80 h 321"/>
                <a:gd name="T68" fmla="*/ 46 w 1268"/>
                <a:gd name="T69" fmla="*/ 77 h 321"/>
                <a:gd name="T70" fmla="*/ 55 w 1268"/>
                <a:gd name="T71" fmla="*/ 74 h 321"/>
                <a:gd name="T72" fmla="*/ 61 w 1268"/>
                <a:gd name="T73" fmla="*/ 71 h 321"/>
                <a:gd name="T74" fmla="*/ 71 w 1268"/>
                <a:gd name="T75" fmla="*/ 76 h 321"/>
                <a:gd name="T76" fmla="*/ 80 w 1268"/>
                <a:gd name="T77" fmla="*/ 81 h 321"/>
                <a:gd name="T78" fmla="*/ 67 w 1268"/>
                <a:gd name="T79" fmla="*/ 68 h 321"/>
                <a:gd name="T80" fmla="*/ 62 w 1268"/>
                <a:gd name="T81" fmla="*/ 65 h 321"/>
                <a:gd name="T82" fmla="*/ 64 w 1268"/>
                <a:gd name="T83" fmla="*/ 59 h 321"/>
                <a:gd name="T84" fmla="*/ 79 w 1268"/>
                <a:gd name="T85" fmla="*/ 57 h 321"/>
                <a:gd name="T86" fmla="*/ 118 w 1268"/>
                <a:gd name="T87" fmla="*/ 61 h 321"/>
                <a:gd name="T88" fmla="*/ 135 w 1268"/>
                <a:gd name="T89" fmla="*/ 57 h 321"/>
                <a:gd name="T90" fmla="*/ 104 w 1268"/>
                <a:gd name="T91" fmla="*/ 55 h 321"/>
                <a:gd name="T92" fmla="*/ 96 w 1268"/>
                <a:gd name="T93" fmla="*/ 49 h 321"/>
                <a:gd name="T94" fmla="*/ 122 w 1268"/>
                <a:gd name="T95" fmla="*/ 45 h 321"/>
                <a:gd name="T96" fmla="*/ 141 w 1268"/>
                <a:gd name="T97" fmla="*/ 51 h 321"/>
                <a:gd name="T98" fmla="*/ 154 w 1268"/>
                <a:gd name="T99" fmla="*/ 41 h 321"/>
                <a:gd name="T100" fmla="*/ 214 w 1268"/>
                <a:gd name="T101" fmla="*/ 28 h 321"/>
                <a:gd name="T102" fmla="*/ 190 w 1268"/>
                <a:gd name="T103" fmla="*/ 36 h 321"/>
                <a:gd name="T104" fmla="*/ 145 w 1268"/>
                <a:gd name="T105" fmla="*/ 36 h 321"/>
                <a:gd name="T106" fmla="*/ 101 w 1268"/>
                <a:gd name="T107" fmla="*/ 38 h 321"/>
                <a:gd name="T108" fmla="*/ 82 w 1268"/>
                <a:gd name="T109" fmla="*/ 33 h 321"/>
                <a:gd name="T110" fmla="*/ 71 w 1268"/>
                <a:gd name="T111" fmla="*/ 26 h 321"/>
                <a:gd name="T112" fmla="*/ 82 w 1268"/>
                <a:gd name="T113" fmla="*/ 23 h 321"/>
                <a:gd name="T114" fmla="*/ 144 w 1268"/>
                <a:gd name="T115" fmla="*/ 15 h 321"/>
                <a:gd name="T116" fmla="*/ 199 w 1268"/>
                <a:gd name="T117" fmla="*/ 10 h 321"/>
                <a:gd name="T118" fmla="*/ 217 w 1268"/>
                <a:gd name="T119" fmla="*/ 7 h 321"/>
                <a:gd name="T120" fmla="*/ 244 w 1268"/>
                <a:gd name="T121" fmla="*/ 9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68" name="Freeform 418">
              <a:extLst>
                <a:ext uri="{FF2B5EF4-FFF2-40B4-BE49-F238E27FC236}">
                  <a16:creationId xmlns:a16="http://schemas.microsoft.com/office/drawing/2014/main" id="{CEBE1587-48DA-4344-A5D2-052967459B20}"/>
                </a:ext>
              </a:extLst>
            </p:cNvPr>
            <p:cNvSpPr>
              <a:spLocks/>
            </p:cNvSpPr>
            <p:nvPr/>
          </p:nvSpPr>
          <p:spPr bwMode="auto">
            <a:xfrm>
              <a:off x="553" y="1660"/>
              <a:ext cx="51" cy="38"/>
            </a:xfrm>
            <a:custGeom>
              <a:avLst/>
              <a:gdLst>
                <a:gd name="T0" fmla="*/ 0 w 160"/>
                <a:gd name="T1" fmla="*/ 0 h 117"/>
                <a:gd name="T2" fmla="*/ 0 w 160"/>
                <a:gd name="T3" fmla="*/ 3 h 117"/>
                <a:gd name="T4" fmla="*/ 1 w 160"/>
                <a:gd name="T5" fmla="*/ 6 h 117"/>
                <a:gd name="T6" fmla="*/ 3 w 160"/>
                <a:gd name="T7" fmla="*/ 9 h 117"/>
                <a:gd name="T8" fmla="*/ 5 w 160"/>
                <a:gd name="T9" fmla="*/ 13 h 117"/>
                <a:gd name="T10" fmla="*/ 7 w 160"/>
                <a:gd name="T11" fmla="*/ 16 h 117"/>
                <a:gd name="T12" fmla="*/ 10 w 160"/>
                <a:gd name="T13" fmla="*/ 19 h 117"/>
                <a:gd name="T14" fmla="*/ 13 w 160"/>
                <a:gd name="T15" fmla="*/ 22 h 117"/>
                <a:gd name="T16" fmla="*/ 16 w 160"/>
                <a:gd name="T17" fmla="*/ 25 h 117"/>
                <a:gd name="T18" fmla="*/ 20 w 160"/>
                <a:gd name="T19" fmla="*/ 28 h 117"/>
                <a:gd name="T20" fmla="*/ 23 w 160"/>
                <a:gd name="T21" fmla="*/ 30 h 117"/>
                <a:gd name="T22" fmla="*/ 27 w 160"/>
                <a:gd name="T23" fmla="*/ 32 h 117"/>
                <a:gd name="T24" fmla="*/ 30 w 160"/>
                <a:gd name="T25" fmla="*/ 34 h 117"/>
                <a:gd name="T26" fmla="*/ 34 w 160"/>
                <a:gd name="T27" fmla="*/ 36 h 117"/>
                <a:gd name="T28" fmla="*/ 37 w 160"/>
                <a:gd name="T29" fmla="*/ 37 h 117"/>
                <a:gd name="T30" fmla="*/ 40 w 160"/>
                <a:gd name="T31" fmla="*/ 38 h 117"/>
                <a:gd name="T32" fmla="*/ 42 w 160"/>
                <a:gd name="T33" fmla="*/ 38 h 117"/>
                <a:gd name="T34" fmla="*/ 44 w 160"/>
                <a:gd name="T35" fmla="*/ 38 h 117"/>
                <a:gd name="T36" fmla="*/ 47 w 160"/>
                <a:gd name="T37" fmla="*/ 37 h 117"/>
                <a:gd name="T38" fmla="*/ 49 w 160"/>
                <a:gd name="T39" fmla="*/ 36 h 117"/>
                <a:gd name="T40" fmla="*/ 51 w 160"/>
                <a:gd name="T41" fmla="*/ 34 h 117"/>
                <a:gd name="T42" fmla="*/ 48 w 160"/>
                <a:gd name="T43" fmla="*/ 30 h 117"/>
                <a:gd name="T44" fmla="*/ 45 w 160"/>
                <a:gd name="T45" fmla="*/ 26 h 117"/>
                <a:gd name="T46" fmla="*/ 44 w 160"/>
                <a:gd name="T47" fmla="*/ 24 h 117"/>
                <a:gd name="T48" fmla="*/ 43 w 160"/>
                <a:gd name="T49" fmla="*/ 21 h 117"/>
                <a:gd name="T50" fmla="*/ 42 w 160"/>
                <a:gd name="T51" fmla="*/ 19 h 117"/>
                <a:gd name="T52" fmla="*/ 42 w 160"/>
                <a:gd name="T53" fmla="*/ 16 h 117"/>
                <a:gd name="T54" fmla="*/ 40 w 160"/>
                <a:gd name="T55" fmla="*/ 16 h 117"/>
                <a:gd name="T56" fmla="*/ 38 w 160"/>
                <a:gd name="T57" fmla="*/ 15 h 117"/>
                <a:gd name="T58" fmla="*/ 34 w 160"/>
                <a:gd name="T59" fmla="*/ 13 h 117"/>
                <a:gd name="T60" fmla="*/ 31 w 160"/>
                <a:gd name="T61" fmla="*/ 11 h 117"/>
                <a:gd name="T62" fmla="*/ 28 w 160"/>
                <a:gd name="T63" fmla="*/ 9 h 117"/>
                <a:gd name="T64" fmla="*/ 25 w 160"/>
                <a:gd name="T65" fmla="*/ 7 h 117"/>
                <a:gd name="T66" fmla="*/ 24 w 160"/>
                <a:gd name="T67" fmla="*/ 6 h 117"/>
                <a:gd name="T68" fmla="*/ 23 w 160"/>
                <a:gd name="T69" fmla="*/ 4 h 117"/>
                <a:gd name="T70" fmla="*/ 22 w 160"/>
                <a:gd name="T71" fmla="*/ 3 h 117"/>
                <a:gd name="T72" fmla="*/ 21 w 160"/>
                <a:gd name="T73" fmla="*/ 2 h 117"/>
                <a:gd name="T74" fmla="*/ 19 w 160"/>
                <a:gd name="T75" fmla="*/ 2 h 117"/>
                <a:gd name="T76" fmla="*/ 17 w 160"/>
                <a:gd name="T77" fmla="*/ 2 h 117"/>
                <a:gd name="T78" fmla="*/ 14 w 160"/>
                <a:gd name="T79" fmla="*/ 1 h 117"/>
                <a:gd name="T80" fmla="*/ 11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69" name="Freeform 419">
              <a:extLst>
                <a:ext uri="{FF2B5EF4-FFF2-40B4-BE49-F238E27FC236}">
                  <a16:creationId xmlns:a16="http://schemas.microsoft.com/office/drawing/2014/main" id="{E0662E90-77E7-4F1E-8CE8-F3F91B8C9DC3}"/>
                </a:ext>
              </a:extLst>
            </p:cNvPr>
            <p:cNvSpPr>
              <a:spLocks/>
            </p:cNvSpPr>
            <p:nvPr/>
          </p:nvSpPr>
          <p:spPr bwMode="auto">
            <a:xfrm>
              <a:off x="527" y="1592"/>
              <a:ext cx="26" cy="46"/>
            </a:xfrm>
            <a:custGeom>
              <a:avLst/>
              <a:gdLst>
                <a:gd name="T0" fmla="*/ 13 w 80"/>
                <a:gd name="T1" fmla="*/ 40 h 141"/>
                <a:gd name="T2" fmla="*/ 26 w 80"/>
                <a:gd name="T3" fmla="*/ 12 h 141"/>
                <a:gd name="T4" fmla="*/ 26 w 80"/>
                <a:gd name="T5" fmla="*/ 6 h 141"/>
                <a:gd name="T6" fmla="*/ 22 w 80"/>
                <a:gd name="T7" fmla="*/ 6 h 141"/>
                <a:gd name="T8" fmla="*/ 19 w 80"/>
                <a:gd name="T9" fmla="*/ 5 h 141"/>
                <a:gd name="T10" fmla="*/ 17 w 80"/>
                <a:gd name="T11" fmla="*/ 5 h 141"/>
                <a:gd name="T12" fmla="*/ 15 w 80"/>
                <a:gd name="T13" fmla="*/ 4 h 141"/>
                <a:gd name="T14" fmla="*/ 14 w 80"/>
                <a:gd name="T15" fmla="*/ 3 h 141"/>
                <a:gd name="T16" fmla="*/ 14 w 80"/>
                <a:gd name="T17" fmla="*/ 2 h 141"/>
                <a:gd name="T18" fmla="*/ 13 w 80"/>
                <a:gd name="T19" fmla="*/ 1 h 141"/>
                <a:gd name="T20" fmla="*/ 13 w 80"/>
                <a:gd name="T21" fmla="*/ 0 h 141"/>
                <a:gd name="T22" fmla="*/ 0 w 80"/>
                <a:gd name="T23" fmla="*/ 0 h 141"/>
                <a:gd name="T24" fmla="*/ 0 w 80"/>
                <a:gd name="T25" fmla="*/ 8 h 141"/>
                <a:gd name="T26" fmla="*/ 0 w 80"/>
                <a:gd name="T27" fmla="*/ 13 h 141"/>
                <a:gd name="T28" fmla="*/ 0 w 80"/>
                <a:gd name="T29" fmla="*/ 17 h 141"/>
                <a:gd name="T30" fmla="*/ 0 w 80"/>
                <a:gd name="T31" fmla="*/ 20 h 141"/>
                <a:gd name="T32" fmla="*/ 0 w 80"/>
                <a:gd name="T33" fmla="*/ 23 h 141"/>
                <a:gd name="T34" fmla="*/ 1 w 80"/>
                <a:gd name="T35" fmla="*/ 25 h 141"/>
                <a:gd name="T36" fmla="*/ 2 w 80"/>
                <a:gd name="T37" fmla="*/ 29 h 141"/>
                <a:gd name="T38" fmla="*/ 4 w 80"/>
                <a:gd name="T39" fmla="*/ 32 h 141"/>
                <a:gd name="T40" fmla="*/ 7 w 80"/>
                <a:gd name="T41" fmla="*/ 39 h 141"/>
                <a:gd name="T42" fmla="*/ 9 w 80"/>
                <a:gd name="T43" fmla="*/ 46 h 141"/>
                <a:gd name="T44" fmla="*/ 10 w 80"/>
                <a:gd name="T45" fmla="*/ 44 h 141"/>
                <a:gd name="T46" fmla="*/ 11 w 80"/>
                <a:gd name="T47" fmla="*/ 42 h 141"/>
                <a:gd name="T48" fmla="*/ 11 w 80"/>
                <a:gd name="T49" fmla="*/ 41 h 141"/>
                <a:gd name="T50" fmla="*/ 12 w 80"/>
                <a:gd name="T51" fmla="*/ 41 h 141"/>
                <a:gd name="T52" fmla="*/ 12 w 80"/>
                <a:gd name="T53" fmla="*/ 40 h 141"/>
                <a:gd name="T54" fmla="*/ 13 w 80"/>
                <a:gd name="T55" fmla="*/ 4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70" name="Freeform 420">
              <a:extLst>
                <a:ext uri="{FF2B5EF4-FFF2-40B4-BE49-F238E27FC236}">
                  <a16:creationId xmlns:a16="http://schemas.microsoft.com/office/drawing/2014/main" id="{B2FBA40C-112B-4B30-AADE-03BAD4225222}"/>
                </a:ext>
              </a:extLst>
            </p:cNvPr>
            <p:cNvSpPr>
              <a:spLocks/>
            </p:cNvSpPr>
            <p:nvPr/>
          </p:nvSpPr>
          <p:spPr bwMode="auto">
            <a:xfrm>
              <a:off x="1379" y="1383"/>
              <a:ext cx="83" cy="41"/>
            </a:xfrm>
            <a:custGeom>
              <a:avLst/>
              <a:gdLst>
                <a:gd name="T0" fmla="*/ 0 w 259"/>
                <a:gd name="T1" fmla="*/ 31 h 124"/>
                <a:gd name="T2" fmla="*/ 0 w 259"/>
                <a:gd name="T3" fmla="*/ 32 h 124"/>
                <a:gd name="T4" fmla="*/ 1 w 259"/>
                <a:gd name="T5" fmla="*/ 33 h 124"/>
                <a:gd name="T6" fmla="*/ 1 w 259"/>
                <a:gd name="T7" fmla="*/ 34 h 124"/>
                <a:gd name="T8" fmla="*/ 2 w 259"/>
                <a:gd name="T9" fmla="*/ 35 h 124"/>
                <a:gd name="T10" fmla="*/ 4 w 259"/>
                <a:gd name="T11" fmla="*/ 37 h 124"/>
                <a:gd name="T12" fmla="*/ 7 w 259"/>
                <a:gd name="T13" fmla="*/ 38 h 124"/>
                <a:gd name="T14" fmla="*/ 10 w 259"/>
                <a:gd name="T15" fmla="*/ 40 h 124"/>
                <a:gd name="T16" fmla="*/ 13 w 259"/>
                <a:gd name="T17" fmla="*/ 40 h 124"/>
                <a:gd name="T18" fmla="*/ 16 w 259"/>
                <a:gd name="T19" fmla="*/ 41 h 124"/>
                <a:gd name="T20" fmla="*/ 19 w 259"/>
                <a:gd name="T21" fmla="*/ 41 h 124"/>
                <a:gd name="T22" fmla="*/ 22 w 259"/>
                <a:gd name="T23" fmla="*/ 41 h 124"/>
                <a:gd name="T24" fmla="*/ 24 w 259"/>
                <a:gd name="T25" fmla="*/ 41 h 124"/>
                <a:gd name="T26" fmla="*/ 26 w 259"/>
                <a:gd name="T27" fmla="*/ 40 h 124"/>
                <a:gd name="T28" fmla="*/ 28 w 259"/>
                <a:gd name="T29" fmla="*/ 40 h 124"/>
                <a:gd name="T30" fmla="*/ 31 w 259"/>
                <a:gd name="T31" fmla="*/ 38 h 124"/>
                <a:gd name="T32" fmla="*/ 34 w 259"/>
                <a:gd name="T33" fmla="*/ 36 h 124"/>
                <a:gd name="T34" fmla="*/ 37 w 259"/>
                <a:gd name="T35" fmla="*/ 34 h 124"/>
                <a:gd name="T36" fmla="*/ 40 w 259"/>
                <a:gd name="T37" fmla="*/ 32 h 124"/>
                <a:gd name="T38" fmla="*/ 42 w 259"/>
                <a:gd name="T39" fmla="*/ 32 h 124"/>
                <a:gd name="T40" fmla="*/ 44 w 259"/>
                <a:gd name="T41" fmla="*/ 31 h 124"/>
                <a:gd name="T42" fmla="*/ 46 w 259"/>
                <a:gd name="T43" fmla="*/ 31 h 124"/>
                <a:gd name="T44" fmla="*/ 49 w 259"/>
                <a:gd name="T45" fmla="*/ 31 h 124"/>
                <a:gd name="T46" fmla="*/ 52 w 259"/>
                <a:gd name="T47" fmla="*/ 31 h 124"/>
                <a:gd name="T48" fmla="*/ 55 w 259"/>
                <a:gd name="T49" fmla="*/ 32 h 124"/>
                <a:gd name="T50" fmla="*/ 58 w 259"/>
                <a:gd name="T51" fmla="*/ 33 h 124"/>
                <a:gd name="T52" fmla="*/ 60 w 259"/>
                <a:gd name="T53" fmla="*/ 34 h 124"/>
                <a:gd name="T54" fmla="*/ 65 w 259"/>
                <a:gd name="T55" fmla="*/ 37 h 124"/>
                <a:gd name="T56" fmla="*/ 70 w 259"/>
                <a:gd name="T57" fmla="*/ 39 h 124"/>
                <a:gd name="T58" fmla="*/ 83 w 259"/>
                <a:gd name="T59" fmla="*/ 39 h 124"/>
                <a:gd name="T60" fmla="*/ 83 w 259"/>
                <a:gd name="T61" fmla="*/ 33 h 124"/>
                <a:gd name="T62" fmla="*/ 81 w 259"/>
                <a:gd name="T63" fmla="*/ 32 h 124"/>
                <a:gd name="T64" fmla="*/ 78 w 259"/>
                <a:gd name="T65" fmla="*/ 32 h 124"/>
                <a:gd name="T66" fmla="*/ 76 w 259"/>
                <a:gd name="T67" fmla="*/ 31 h 124"/>
                <a:gd name="T68" fmla="*/ 72 w 259"/>
                <a:gd name="T69" fmla="*/ 31 h 124"/>
                <a:gd name="T70" fmla="*/ 74 w 259"/>
                <a:gd name="T71" fmla="*/ 28 h 124"/>
                <a:gd name="T72" fmla="*/ 76 w 259"/>
                <a:gd name="T73" fmla="*/ 26 h 124"/>
                <a:gd name="T74" fmla="*/ 77 w 259"/>
                <a:gd name="T75" fmla="*/ 24 h 124"/>
                <a:gd name="T76" fmla="*/ 79 w 259"/>
                <a:gd name="T77" fmla="*/ 23 h 124"/>
                <a:gd name="T78" fmla="*/ 76 w 259"/>
                <a:gd name="T79" fmla="*/ 20 h 124"/>
                <a:gd name="T80" fmla="*/ 74 w 259"/>
                <a:gd name="T81" fmla="*/ 19 h 124"/>
                <a:gd name="T82" fmla="*/ 71 w 259"/>
                <a:gd name="T83" fmla="*/ 17 h 124"/>
                <a:gd name="T84" fmla="*/ 69 w 259"/>
                <a:gd name="T85" fmla="*/ 15 h 124"/>
                <a:gd name="T86" fmla="*/ 63 w 259"/>
                <a:gd name="T87" fmla="*/ 12 h 124"/>
                <a:gd name="T88" fmla="*/ 58 w 259"/>
                <a:gd name="T89" fmla="*/ 10 h 124"/>
                <a:gd name="T90" fmla="*/ 53 w 259"/>
                <a:gd name="T91" fmla="*/ 8 h 124"/>
                <a:gd name="T92" fmla="*/ 49 w 259"/>
                <a:gd name="T93" fmla="*/ 6 h 124"/>
                <a:gd name="T94" fmla="*/ 47 w 259"/>
                <a:gd name="T95" fmla="*/ 4 h 124"/>
                <a:gd name="T96" fmla="*/ 45 w 259"/>
                <a:gd name="T97" fmla="*/ 3 h 124"/>
                <a:gd name="T98" fmla="*/ 44 w 259"/>
                <a:gd name="T99" fmla="*/ 2 h 124"/>
                <a:gd name="T100" fmla="*/ 42 w 259"/>
                <a:gd name="T101" fmla="*/ 0 h 124"/>
                <a:gd name="T102" fmla="*/ 40 w 259"/>
                <a:gd name="T103" fmla="*/ 1 h 124"/>
                <a:gd name="T104" fmla="*/ 37 w 259"/>
                <a:gd name="T105" fmla="*/ 2 h 124"/>
                <a:gd name="T106" fmla="*/ 34 w 259"/>
                <a:gd name="T107" fmla="*/ 4 h 124"/>
                <a:gd name="T108" fmla="*/ 30 w 259"/>
                <a:gd name="T109" fmla="*/ 6 h 124"/>
                <a:gd name="T110" fmla="*/ 24 w 259"/>
                <a:gd name="T111" fmla="*/ 10 h 124"/>
                <a:gd name="T112" fmla="*/ 18 w 259"/>
                <a:gd name="T113" fmla="*/ 14 h 124"/>
                <a:gd name="T114" fmla="*/ 12 w 259"/>
                <a:gd name="T115" fmla="*/ 19 h 124"/>
                <a:gd name="T116" fmla="*/ 7 w 259"/>
                <a:gd name="T117" fmla="*/ 23 h 124"/>
                <a:gd name="T118" fmla="*/ 3 w 259"/>
                <a:gd name="T119" fmla="*/ 27 h 124"/>
                <a:gd name="T120" fmla="*/ 0 w 259"/>
                <a:gd name="T121" fmla="*/ 31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71" name="Freeform 421">
              <a:extLst>
                <a:ext uri="{FF2B5EF4-FFF2-40B4-BE49-F238E27FC236}">
                  <a16:creationId xmlns:a16="http://schemas.microsoft.com/office/drawing/2014/main" id="{757DEA4B-D446-427B-9D99-DD48B541C521}"/>
                </a:ext>
              </a:extLst>
            </p:cNvPr>
            <p:cNvSpPr>
              <a:spLocks/>
            </p:cNvSpPr>
            <p:nvPr/>
          </p:nvSpPr>
          <p:spPr bwMode="auto">
            <a:xfrm>
              <a:off x="1509" y="1389"/>
              <a:ext cx="38" cy="19"/>
            </a:xfrm>
            <a:custGeom>
              <a:avLst/>
              <a:gdLst>
                <a:gd name="T0" fmla="*/ 0 w 119"/>
                <a:gd name="T1" fmla="*/ 11 h 57"/>
                <a:gd name="T2" fmla="*/ 2 w 119"/>
                <a:gd name="T3" fmla="*/ 12 h 57"/>
                <a:gd name="T4" fmla="*/ 4 w 119"/>
                <a:gd name="T5" fmla="*/ 13 h 57"/>
                <a:gd name="T6" fmla="*/ 6 w 119"/>
                <a:gd name="T7" fmla="*/ 14 h 57"/>
                <a:gd name="T8" fmla="*/ 8 w 119"/>
                <a:gd name="T9" fmla="*/ 16 h 57"/>
                <a:gd name="T10" fmla="*/ 10 w 119"/>
                <a:gd name="T11" fmla="*/ 17 h 57"/>
                <a:gd name="T12" fmla="*/ 11 w 119"/>
                <a:gd name="T13" fmla="*/ 18 h 57"/>
                <a:gd name="T14" fmla="*/ 13 w 119"/>
                <a:gd name="T15" fmla="*/ 19 h 57"/>
                <a:gd name="T16" fmla="*/ 15 w 119"/>
                <a:gd name="T17" fmla="*/ 19 h 57"/>
                <a:gd name="T18" fmla="*/ 18 w 119"/>
                <a:gd name="T19" fmla="*/ 19 h 57"/>
                <a:gd name="T20" fmla="*/ 20 w 119"/>
                <a:gd name="T21" fmla="*/ 19 h 57"/>
                <a:gd name="T22" fmla="*/ 22 w 119"/>
                <a:gd name="T23" fmla="*/ 18 h 57"/>
                <a:gd name="T24" fmla="*/ 25 w 119"/>
                <a:gd name="T25" fmla="*/ 18 h 57"/>
                <a:gd name="T26" fmla="*/ 27 w 119"/>
                <a:gd name="T27" fmla="*/ 17 h 57"/>
                <a:gd name="T28" fmla="*/ 28 w 119"/>
                <a:gd name="T29" fmla="*/ 16 h 57"/>
                <a:gd name="T30" fmla="*/ 30 w 119"/>
                <a:gd name="T31" fmla="*/ 15 h 57"/>
                <a:gd name="T32" fmla="*/ 31 w 119"/>
                <a:gd name="T33" fmla="*/ 13 h 57"/>
                <a:gd name="T34" fmla="*/ 34 w 119"/>
                <a:gd name="T35" fmla="*/ 11 h 57"/>
                <a:gd name="T36" fmla="*/ 36 w 119"/>
                <a:gd name="T37" fmla="*/ 8 h 57"/>
                <a:gd name="T38" fmla="*/ 37 w 119"/>
                <a:gd name="T39" fmla="*/ 4 h 57"/>
                <a:gd name="T40" fmla="*/ 38 w 119"/>
                <a:gd name="T41" fmla="*/ 0 h 57"/>
                <a:gd name="T42" fmla="*/ 32 w 119"/>
                <a:gd name="T43" fmla="*/ 0 h 57"/>
                <a:gd name="T44" fmla="*/ 26 w 119"/>
                <a:gd name="T45" fmla="*/ 0 h 57"/>
                <a:gd name="T46" fmla="*/ 20 w 119"/>
                <a:gd name="T47" fmla="*/ 1 h 57"/>
                <a:gd name="T48" fmla="*/ 14 w 119"/>
                <a:gd name="T49" fmla="*/ 2 h 57"/>
                <a:gd name="T50" fmla="*/ 11 w 119"/>
                <a:gd name="T51" fmla="*/ 2 h 57"/>
                <a:gd name="T52" fmla="*/ 9 w 119"/>
                <a:gd name="T53" fmla="*/ 3 h 57"/>
                <a:gd name="T54" fmla="*/ 7 w 119"/>
                <a:gd name="T55" fmla="*/ 4 h 57"/>
                <a:gd name="T56" fmla="*/ 5 w 119"/>
                <a:gd name="T57" fmla="*/ 5 h 57"/>
                <a:gd name="T58" fmla="*/ 3 w 119"/>
                <a:gd name="T59" fmla="*/ 6 h 57"/>
                <a:gd name="T60" fmla="*/ 2 w 119"/>
                <a:gd name="T61" fmla="*/ 8 h 57"/>
                <a:gd name="T62" fmla="*/ 1 w 119"/>
                <a:gd name="T63" fmla="*/ 9 h 57"/>
                <a:gd name="T64" fmla="*/ 0 w 119"/>
                <a:gd name="T65" fmla="*/ 11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72" name="Freeform 422">
              <a:extLst>
                <a:ext uri="{FF2B5EF4-FFF2-40B4-BE49-F238E27FC236}">
                  <a16:creationId xmlns:a16="http://schemas.microsoft.com/office/drawing/2014/main" id="{9DD63755-7E9B-4AA0-B63D-3712C54DA829}"/>
                </a:ext>
              </a:extLst>
            </p:cNvPr>
            <p:cNvSpPr>
              <a:spLocks/>
            </p:cNvSpPr>
            <p:nvPr/>
          </p:nvSpPr>
          <p:spPr bwMode="auto">
            <a:xfrm>
              <a:off x="1554" y="1335"/>
              <a:ext cx="34" cy="17"/>
            </a:xfrm>
            <a:custGeom>
              <a:avLst/>
              <a:gdLst>
                <a:gd name="T0" fmla="*/ 0 w 107"/>
                <a:gd name="T1" fmla="*/ 16 h 52"/>
                <a:gd name="T2" fmla="*/ 2 w 107"/>
                <a:gd name="T3" fmla="*/ 17 h 52"/>
                <a:gd name="T4" fmla="*/ 3 w 107"/>
                <a:gd name="T5" fmla="*/ 17 h 52"/>
                <a:gd name="T6" fmla="*/ 4 w 107"/>
                <a:gd name="T7" fmla="*/ 17 h 52"/>
                <a:gd name="T8" fmla="*/ 5 w 107"/>
                <a:gd name="T9" fmla="*/ 17 h 52"/>
                <a:gd name="T10" fmla="*/ 8 w 107"/>
                <a:gd name="T11" fmla="*/ 16 h 52"/>
                <a:gd name="T12" fmla="*/ 11 w 107"/>
                <a:gd name="T13" fmla="*/ 16 h 52"/>
                <a:gd name="T14" fmla="*/ 14 w 107"/>
                <a:gd name="T15" fmla="*/ 16 h 52"/>
                <a:gd name="T16" fmla="*/ 17 w 107"/>
                <a:gd name="T17" fmla="*/ 16 h 52"/>
                <a:gd name="T18" fmla="*/ 20 w 107"/>
                <a:gd name="T19" fmla="*/ 15 h 52"/>
                <a:gd name="T20" fmla="*/ 22 w 107"/>
                <a:gd name="T21" fmla="*/ 14 h 52"/>
                <a:gd name="T22" fmla="*/ 25 w 107"/>
                <a:gd name="T23" fmla="*/ 13 h 52"/>
                <a:gd name="T24" fmla="*/ 28 w 107"/>
                <a:gd name="T25" fmla="*/ 12 h 52"/>
                <a:gd name="T26" fmla="*/ 31 w 107"/>
                <a:gd name="T27" fmla="*/ 10 h 52"/>
                <a:gd name="T28" fmla="*/ 34 w 107"/>
                <a:gd name="T29" fmla="*/ 8 h 52"/>
                <a:gd name="T30" fmla="*/ 34 w 107"/>
                <a:gd name="T31" fmla="*/ 0 h 52"/>
                <a:gd name="T32" fmla="*/ 31 w 107"/>
                <a:gd name="T33" fmla="*/ 0 h 52"/>
                <a:gd name="T34" fmla="*/ 27 w 107"/>
                <a:gd name="T35" fmla="*/ 1 h 52"/>
                <a:gd name="T36" fmla="*/ 23 w 107"/>
                <a:gd name="T37" fmla="*/ 2 h 52"/>
                <a:gd name="T38" fmla="*/ 18 w 107"/>
                <a:gd name="T39" fmla="*/ 4 h 52"/>
                <a:gd name="T40" fmla="*/ 13 w 107"/>
                <a:gd name="T41" fmla="*/ 7 h 52"/>
                <a:gd name="T42" fmla="*/ 8 w 107"/>
                <a:gd name="T43" fmla="*/ 9 h 52"/>
                <a:gd name="T44" fmla="*/ 6 w 107"/>
                <a:gd name="T45" fmla="*/ 11 h 52"/>
                <a:gd name="T46" fmla="*/ 4 w 107"/>
                <a:gd name="T47" fmla="*/ 12 h 52"/>
                <a:gd name="T48" fmla="*/ 2 w 107"/>
                <a:gd name="T49" fmla="*/ 14 h 52"/>
                <a:gd name="T50" fmla="*/ 0 w 107"/>
                <a:gd name="T51" fmla="*/ 16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73" name="Freeform 423">
              <a:extLst>
                <a:ext uri="{FF2B5EF4-FFF2-40B4-BE49-F238E27FC236}">
                  <a16:creationId xmlns:a16="http://schemas.microsoft.com/office/drawing/2014/main" id="{5AC1F09B-C507-4C54-A92A-C6169CB1BF4B}"/>
                </a:ext>
              </a:extLst>
            </p:cNvPr>
            <p:cNvSpPr>
              <a:spLocks/>
            </p:cNvSpPr>
            <p:nvPr/>
          </p:nvSpPr>
          <p:spPr bwMode="auto">
            <a:xfrm>
              <a:off x="1381" y="1244"/>
              <a:ext cx="79" cy="32"/>
            </a:xfrm>
            <a:custGeom>
              <a:avLst/>
              <a:gdLst>
                <a:gd name="T0" fmla="*/ 9 w 246"/>
                <a:gd name="T1" fmla="*/ 32 h 99"/>
                <a:gd name="T2" fmla="*/ 7 w 246"/>
                <a:gd name="T3" fmla="*/ 31 h 99"/>
                <a:gd name="T4" fmla="*/ 5 w 246"/>
                <a:gd name="T5" fmla="*/ 31 h 99"/>
                <a:gd name="T6" fmla="*/ 4 w 246"/>
                <a:gd name="T7" fmla="*/ 30 h 99"/>
                <a:gd name="T8" fmla="*/ 3 w 246"/>
                <a:gd name="T9" fmla="*/ 29 h 99"/>
                <a:gd name="T10" fmla="*/ 2 w 246"/>
                <a:gd name="T11" fmla="*/ 28 h 99"/>
                <a:gd name="T12" fmla="*/ 1 w 246"/>
                <a:gd name="T13" fmla="*/ 27 h 99"/>
                <a:gd name="T14" fmla="*/ 0 w 246"/>
                <a:gd name="T15" fmla="*/ 25 h 99"/>
                <a:gd name="T16" fmla="*/ 0 w 246"/>
                <a:gd name="T17" fmla="*/ 24 h 99"/>
                <a:gd name="T18" fmla="*/ 0 w 246"/>
                <a:gd name="T19" fmla="*/ 22 h 99"/>
                <a:gd name="T20" fmla="*/ 0 w 246"/>
                <a:gd name="T21" fmla="*/ 21 h 99"/>
                <a:gd name="T22" fmla="*/ 1 w 246"/>
                <a:gd name="T23" fmla="*/ 19 h 99"/>
                <a:gd name="T24" fmla="*/ 2 w 246"/>
                <a:gd name="T25" fmla="*/ 18 h 99"/>
                <a:gd name="T26" fmla="*/ 3 w 246"/>
                <a:gd name="T27" fmla="*/ 16 h 99"/>
                <a:gd name="T28" fmla="*/ 6 w 246"/>
                <a:gd name="T29" fmla="*/ 13 h 99"/>
                <a:gd name="T30" fmla="*/ 8 w 246"/>
                <a:gd name="T31" fmla="*/ 11 h 99"/>
                <a:gd name="T32" fmla="*/ 11 w 246"/>
                <a:gd name="T33" fmla="*/ 9 h 99"/>
                <a:gd name="T34" fmla="*/ 15 w 246"/>
                <a:gd name="T35" fmla="*/ 7 h 99"/>
                <a:gd name="T36" fmla="*/ 18 w 246"/>
                <a:gd name="T37" fmla="*/ 6 h 99"/>
                <a:gd name="T38" fmla="*/ 22 w 246"/>
                <a:gd name="T39" fmla="*/ 5 h 99"/>
                <a:gd name="T40" fmla="*/ 26 w 246"/>
                <a:gd name="T41" fmla="*/ 3 h 99"/>
                <a:gd name="T42" fmla="*/ 30 w 246"/>
                <a:gd name="T43" fmla="*/ 2 h 99"/>
                <a:gd name="T44" fmla="*/ 33 w 246"/>
                <a:gd name="T45" fmla="*/ 1 h 99"/>
                <a:gd name="T46" fmla="*/ 40 w 246"/>
                <a:gd name="T47" fmla="*/ 0 h 99"/>
                <a:gd name="T48" fmla="*/ 45 w 246"/>
                <a:gd name="T49" fmla="*/ 0 h 99"/>
                <a:gd name="T50" fmla="*/ 54 w 246"/>
                <a:gd name="T51" fmla="*/ 0 h 99"/>
                <a:gd name="T52" fmla="*/ 62 w 246"/>
                <a:gd name="T53" fmla="*/ 0 h 99"/>
                <a:gd name="T54" fmla="*/ 70 w 246"/>
                <a:gd name="T55" fmla="*/ 1 h 99"/>
                <a:gd name="T56" fmla="*/ 79 w 246"/>
                <a:gd name="T57" fmla="*/ 2 h 99"/>
                <a:gd name="T58" fmla="*/ 78 w 246"/>
                <a:gd name="T59" fmla="*/ 4 h 99"/>
                <a:gd name="T60" fmla="*/ 77 w 246"/>
                <a:gd name="T61" fmla="*/ 5 h 99"/>
                <a:gd name="T62" fmla="*/ 76 w 246"/>
                <a:gd name="T63" fmla="*/ 6 h 99"/>
                <a:gd name="T64" fmla="*/ 74 w 246"/>
                <a:gd name="T65" fmla="*/ 8 h 99"/>
                <a:gd name="T66" fmla="*/ 69 w 246"/>
                <a:gd name="T67" fmla="*/ 12 h 99"/>
                <a:gd name="T68" fmla="*/ 64 w 246"/>
                <a:gd name="T69" fmla="*/ 15 h 99"/>
                <a:gd name="T70" fmla="*/ 58 w 246"/>
                <a:gd name="T71" fmla="*/ 18 h 99"/>
                <a:gd name="T72" fmla="*/ 52 w 246"/>
                <a:gd name="T73" fmla="*/ 20 h 99"/>
                <a:gd name="T74" fmla="*/ 49 w 246"/>
                <a:gd name="T75" fmla="*/ 21 h 99"/>
                <a:gd name="T76" fmla="*/ 46 w 246"/>
                <a:gd name="T77" fmla="*/ 21 h 99"/>
                <a:gd name="T78" fmla="*/ 43 w 246"/>
                <a:gd name="T79" fmla="*/ 22 h 99"/>
                <a:gd name="T80" fmla="*/ 40 w 246"/>
                <a:gd name="T81" fmla="*/ 22 h 99"/>
                <a:gd name="T82" fmla="*/ 39 w 246"/>
                <a:gd name="T83" fmla="*/ 22 h 99"/>
                <a:gd name="T84" fmla="*/ 35 w 246"/>
                <a:gd name="T85" fmla="*/ 22 h 99"/>
                <a:gd name="T86" fmla="*/ 32 w 246"/>
                <a:gd name="T87" fmla="*/ 22 h 99"/>
                <a:gd name="T88" fmla="*/ 30 w 246"/>
                <a:gd name="T89" fmla="*/ 22 h 99"/>
                <a:gd name="T90" fmla="*/ 28 w 246"/>
                <a:gd name="T91" fmla="*/ 22 h 99"/>
                <a:gd name="T92" fmla="*/ 26 w 246"/>
                <a:gd name="T93" fmla="*/ 23 h 99"/>
                <a:gd name="T94" fmla="*/ 23 w 246"/>
                <a:gd name="T95" fmla="*/ 25 h 99"/>
                <a:gd name="T96" fmla="*/ 20 w 246"/>
                <a:gd name="T97" fmla="*/ 27 h 99"/>
                <a:gd name="T98" fmla="*/ 17 w 246"/>
                <a:gd name="T99" fmla="*/ 28 h 99"/>
                <a:gd name="T100" fmla="*/ 14 w 246"/>
                <a:gd name="T101" fmla="*/ 30 h 99"/>
                <a:gd name="T102" fmla="*/ 11 w 246"/>
                <a:gd name="T103" fmla="*/ 31 h 99"/>
                <a:gd name="T104" fmla="*/ 9 w 246"/>
                <a:gd name="T105" fmla="*/ 32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74" name="Freeform 424">
              <a:extLst>
                <a:ext uri="{FF2B5EF4-FFF2-40B4-BE49-F238E27FC236}">
                  <a16:creationId xmlns:a16="http://schemas.microsoft.com/office/drawing/2014/main" id="{598EBA8D-78E3-4FCB-B381-2A75A3D6DE9F}"/>
                </a:ext>
              </a:extLst>
            </p:cNvPr>
            <p:cNvSpPr>
              <a:spLocks/>
            </p:cNvSpPr>
            <p:nvPr/>
          </p:nvSpPr>
          <p:spPr bwMode="auto">
            <a:xfrm>
              <a:off x="1294" y="1248"/>
              <a:ext cx="76" cy="40"/>
            </a:xfrm>
            <a:custGeom>
              <a:avLst/>
              <a:gdLst>
                <a:gd name="T0" fmla="*/ 11 w 233"/>
                <a:gd name="T1" fmla="*/ 29 h 123"/>
                <a:gd name="T2" fmla="*/ 3 w 233"/>
                <a:gd name="T3" fmla="*/ 25 h 123"/>
                <a:gd name="T4" fmla="*/ 0 w 233"/>
                <a:gd name="T5" fmla="*/ 18 h 123"/>
                <a:gd name="T6" fmla="*/ 7 w 233"/>
                <a:gd name="T7" fmla="*/ 12 h 123"/>
                <a:gd name="T8" fmla="*/ 13 w 233"/>
                <a:gd name="T9" fmla="*/ 12 h 123"/>
                <a:gd name="T10" fmla="*/ 20 w 233"/>
                <a:gd name="T11" fmla="*/ 12 h 123"/>
                <a:gd name="T12" fmla="*/ 23 w 233"/>
                <a:gd name="T13" fmla="*/ 12 h 123"/>
                <a:gd name="T14" fmla="*/ 27 w 233"/>
                <a:gd name="T15" fmla="*/ 11 h 123"/>
                <a:gd name="T16" fmla="*/ 34 w 233"/>
                <a:gd name="T17" fmla="*/ 7 h 123"/>
                <a:gd name="T18" fmla="*/ 40 w 233"/>
                <a:gd name="T19" fmla="*/ 4 h 123"/>
                <a:gd name="T20" fmla="*/ 48 w 233"/>
                <a:gd name="T21" fmla="*/ 0 h 123"/>
                <a:gd name="T22" fmla="*/ 53 w 233"/>
                <a:gd name="T23" fmla="*/ 3 h 123"/>
                <a:gd name="T24" fmla="*/ 59 w 233"/>
                <a:gd name="T25" fmla="*/ 4 h 123"/>
                <a:gd name="T26" fmla="*/ 62 w 233"/>
                <a:gd name="T27" fmla="*/ 3 h 123"/>
                <a:gd name="T28" fmla="*/ 66 w 233"/>
                <a:gd name="T29" fmla="*/ 2 h 123"/>
                <a:gd name="T30" fmla="*/ 69 w 233"/>
                <a:gd name="T31" fmla="*/ 0 h 123"/>
                <a:gd name="T32" fmla="*/ 76 w 233"/>
                <a:gd name="T33" fmla="*/ 2 h 123"/>
                <a:gd name="T34" fmla="*/ 74 w 233"/>
                <a:gd name="T35" fmla="*/ 6 h 123"/>
                <a:gd name="T36" fmla="*/ 71 w 233"/>
                <a:gd name="T37" fmla="*/ 8 h 123"/>
                <a:gd name="T38" fmla="*/ 68 w 233"/>
                <a:gd name="T39" fmla="*/ 10 h 123"/>
                <a:gd name="T40" fmla="*/ 66 w 233"/>
                <a:gd name="T41" fmla="*/ 14 h 123"/>
                <a:gd name="T42" fmla="*/ 67 w 233"/>
                <a:gd name="T43" fmla="*/ 20 h 123"/>
                <a:gd name="T44" fmla="*/ 60 w 233"/>
                <a:gd name="T45" fmla="*/ 28 h 123"/>
                <a:gd name="T46" fmla="*/ 51 w 233"/>
                <a:gd name="T47" fmla="*/ 31 h 123"/>
                <a:gd name="T48" fmla="*/ 45 w 233"/>
                <a:gd name="T49" fmla="*/ 32 h 123"/>
                <a:gd name="T50" fmla="*/ 38 w 233"/>
                <a:gd name="T51" fmla="*/ 33 h 123"/>
                <a:gd name="T52" fmla="*/ 31 w 233"/>
                <a:gd name="T53" fmla="*/ 34 h 123"/>
                <a:gd name="T54" fmla="*/ 27 w 233"/>
                <a:gd name="T55" fmla="*/ 37 h 123"/>
                <a:gd name="T56" fmla="*/ 22 w 233"/>
                <a:gd name="T57" fmla="*/ 40 h 123"/>
                <a:gd name="T58" fmla="*/ 19 w 233"/>
                <a:gd name="T59" fmla="*/ 40 h 123"/>
                <a:gd name="T60" fmla="*/ 17 w 233"/>
                <a:gd name="T61" fmla="*/ 37 h 123"/>
                <a:gd name="T62" fmla="*/ 16 w 233"/>
                <a:gd name="T63" fmla="*/ 33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75" name="Freeform 425">
              <a:extLst>
                <a:ext uri="{FF2B5EF4-FFF2-40B4-BE49-F238E27FC236}">
                  <a16:creationId xmlns:a16="http://schemas.microsoft.com/office/drawing/2014/main" id="{AD6835F9-4F7D-4FCD-ADB1-821369238494}"/>
                </a:ext>
              </a:extLst>
            </p:cNvPr>
            <p:cNvSpPr>
              <a:spLocks/>
            </p:cNvSpPr>
            <p:nvPr/>
          </p:nvSpPr>
          <p:spPr bwMode="auto">
            <a:xfrm>
              <a:off x="983" y="1236"/>
              <a:ext cx="157" cy="56"/>
            </a:xfrm>
            <a:custGeom>
              <a:avLst/>
              <a:gdLst>
                <a:gd name="T0" fmla="*/ 0 w 484"/>
                <a:gd name="T1" fmla="*/ 48 h 172"/>
                <a:gd name="T2" fmla="*/ 1 w 484"/>
                <a:gd name="T3" fmla="*/ 51 h 172"/>
                <a:gd name="T4" fmla="*/ 3 w 484"/>
                <a:gd name="T5" fmla="*/ 53 h 172"/>
                <a:gd name="T6" fmla="*/ 6 w 484"/>
                <a:gd name="T7" fmla="*/ 54 h 172"/>
                <a:gd name="T8" fmla="*/ 10 w 484"/>
                <a:gd name="T9" fmla="*/ 55 h 172"/>
                <a:gd name="T10" fmla="*/ 17 w 484"/>
                <a:gd name="T11" fmla="*/ 56 h 172"/>
                <a:gd name="T12" fmla="*/ 24 w 484"/>
                <a:gd name="T13" fmla="*/ 56 h 172"/>
                <a:gd name="T14" fmla="*/ 32 w 484"/>
                <a:gd name="T15" fmla="*/ 54 h 172"/>
                <a:gd name="T16" fmla="*/ 45 w 484"/>
                <a:gd name="T17" fmla="*/ 51 h 172"/>
                <a:gd name="T18" fmla="*/ 61 w 484"/>
                <a:gd name="T19" fmla="*/ 44 h 172"/>
                <a:gd name="T20" fmla="*/ 78 w 484"/>
                <a:gd name="T21" fmla="*/ 37 h 172"/>
                <a:gd name="T22" fmla="*/ 93 w 484"/>
                <a:gd name="T23" fmla="*/ 33 h 172"/>
                <a:gd name="T24" fmla="*/ 114 w 484"/>
                <a:gd name="T25" fmla="*/ 28 h 172"/>
                <a:gd name="T26" fmla="*/ 130 w 484"/>
                <a:gd name="T27" fmla="*/ 24 h 172"/>
                <a:gd name="T28" fmla="*/ 141 w 484"/>
                <a:gd name="T29" fmla="*/ 21 h 172"/>
                <a:gd name="T30" fmla="*/ 150 w 484"/>
                <a:gd name="T31" fmla="*/ 17 h 172"/>
                <a:gd name="T32" fmla="*/ 154 w 484"/>
                <a:gd name="T33" fmla="*/ 14 h 172"/>
                <a:gd name="T34" fmla="*/ 156 w 484"/>
                <a:gd name="T35" fmla="*/ 11 h 172"/>
                <a:gd name="T36" fmla="*/ 146 w 484"/>
                <a:gd name="T37" fmla="*/ 8 h 172"/>
                <a:gd name="T38" fmla="*/ 126 w 484"/>
                <a:gd name="T39" fmla="*/ 5 h 172"/>
                <a:gd name="T40" fmla="*/ 107 w 484"/>
                <a:gd name="T41" fmla="*/ 2 h 172"/>
                <a:gd name="T42" fmla="*/ 88 w 484"/>
                <a:gd name="T43" fmla="*/ 0 h 172"/>
                <a:gd name="T44" fmla="*/ 73 w 484"/>
                <a:gd name="T45" fmla="*/ 0 h 172"/>
                <a:gd name="T46" fmla="*/ 66 w 484"/>
                <a:gd name="T47" fmla="*/ 1 h 172"/>
                <a:gd name="T48" fmla="*/ 60 w 484"/>
                <a:gd name="T49" fmla="*/ 3 h 172"/>
                <a:gd name="T50" fmla="*/ 57 w 484"/>
                <a:gd name="T51" fmla="*/ 2 h 172"/>
                <a:gd name="T52" fmla="*/ 55 w 484"/>
                <a:gd name="T53" fmla="*/ 1 h 172"/>
                <a:gd name="T54" fmla="*/ 54 w 484"/>
                <a:gd name="T55" fmla="*/ 3 h 172"/>
                <a:gd name="T56" fmla="*/ 52 w 484"/>
                <a:gd name="T57" fmla="*/ 8 h 172"/>
                <a:gd name="T58" fmla="*/ 50 w 484"/>
                <a:gd name="T59" fmla="*/ 12 h 172"/>
                <a:gd name="T60" fmla="*/ 47 w 484"/>
                <a:gd name="T61" fmla="*/ 15 h 172"/>
                <a:gd name="T62" fmla="*/ 41 w 484"/>
                <a:gd name="T63" fmla="*/ 19 h 172"/>
                <a:gd name="T64" fmla="*/ 31 w 484"/>
                <a:gd name="T65" fmla="*/ 22 h 172"/>
                <a:gd name="T66" fmla="*/ 21 w 484"/>
                <a:gd name="T67" fmla="*/ 25 h 172"/>
                <a:gd name="T68" fmla="*/ 12 w 484"/>
                <a:gd name="T69" fmla="*/ 29 h 172"/>
                <a:gd name="T70" fmla="*/ 6 w 484"/>
                <a:gd name="T71" fmla="*/ 32 h 172"/>
                <a:gd name="T72" fmla="*/ 3 w 484"/>
                <a:gd name="T73" fmla="*/ 35 h 172"/>
                <a:gd name="T74" fmla="*/ 1 w 484"/>
                <a:gd name="T75" fmla="*/ 39 h 172"/>
                <a:gd name="T76" fmla="*/ 0 w 484"/>
                <a:gd name="T77" fmla="*/ 44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76" name="Freeform 426">
              <a:extLst>
                <a:ext uri="{FF2B5EF4-FFF2-40B4-BE49-F238E27FC236}">
                  <a16:creationId xmlns:a16="http://schemas.microsoft.com/office/drawing/2014/main" id="{BE8AEF51-2012-42C0-9E8B-A4D88F4AD7C5}"/>
                </a:ext>
              </a:extLst>
            </p:cNvPr>
            <p:cNvSpPr>
              <a:spLocks/>
            </p:cNvSpPr>
            <p:nvPr/>
          </p:nvSpPr>
          <p:spPr bwMode="auto">
            <a:xfrm>
              <a:off x="1043" y="1255"/>
              <a:ext cx="221" cy="79"/>
            </a:xfrm>
            <a:custGeom>
              <a:avLst/>
              <a:gdLst>
                <a:gd name="T0" fmla="*/ 102 w 684"/>
                <a:gd name="T1" fmla="*/ 2 h 240"/>
                <a:gd name="T2" fmla="*/ 98 w 684"/>
                <a:gd name="T3" fmla="*/ 9 h 240"/>
                <a:gd name="T4" fmla="*/ 96 w 684"/>
                <a:gd name="T5" fmla="*/ 13 h 240"/>
                <a:gd name="T6" fmla="*/ 97 w 684"/>
                <a:gd name="T7" fmla="*/ 14 h 240"/>
                <a:gd name="T8" fmla="*/ 109 w 684"/>
                <a:gd name="T9" fmla="*/ 13 h 240"/>
                <a:gd name="T10" fmla="*/ 120 w 684"/>
                <a:gd name="T11" fmla="*/ 6 h 240"/>
                <a:gd name="T12" fmla="*/ 122 w 684"/>
                <a:gd name="T13" fmla="*/ 13 h 240"/>
                <a:gd name="T14" fmla="*/ 122 w 684"/>
                <a:gd name="T15" fmla="*/ 18 h 240"/>
                <a:gd name="T16" fmla="*/ 131 w 684"/>
                <a:gd name="T17" fmla="*/ 23 h 240"/>
                <a:gd name="T18" fmla="*/ 165 w 684"/>
                <a:gd name="T19" fmla="*/ 17 h 240"/>
                <a:gd name="T20" fmla="*/ 166 w 684"/>
                <a:gd name="T21" fmla="*/ 23 h 240"/>
                <a:gd name="T22" fmla="*/ 175 w 684"/>
                <a:gd name="T23" fmla="*/ 21 h 240"/>
                <a:gd name="T24" fmla="*/ 180 w 684"/>
                <a:gd name="T25" fmla="*/ 15 h 240"/>
                <a:gd name="T26" fmla="*/ 180 w 684"/>
                <a:gd name="T27" fmla="*/ 6 h 240"/>
                <a:gd name="T28" fmla="*/ 182 w 684"/>
                <a:gd name="T29" fmla="*/ 3 h 240"/>
                <a:gd name="T30" fmla="*/ 187 w 684"/>
                <a:gd name="T31" fmla="*/ 0 h 240"/>
                <a:gd name="T32" fmla="*/ 202 w 684"/>
                <a:gd name="T33" fmla="*/ 1 h 240"/>
                <a:gd name="T34" fmla="*/ 208 w 684"/>
                <a:gd name="T35" fmla="*/ 0 h 240"/>
                <a:gd name="T36" fmla="*/ 212 w 684"/>
                <a:gd name="T37" fmla="*/ 13 h 240"/>
                <a:gd name="T38" fmla="*/ 211 w 684"/>
                <a:gd name="T39" fmla="*/ 23 h 240"/>
                <a:gd name="T40" fmla="*/ 206 w 684"/>
                <a:gd name="T41" fmla="*/ 33 h 240"/>
                <a:gd name="T42" fmla="*/ 200 w 684"/>
                <a:gd name="T43" fmla="*/ 41 h 240"/>
                <a:gd name="T44" fmla="*/ 209 w 684"/>
                <a:gd name="T45" fmla="*/ 45 h 240"/>
                <a:gd name="T46" fmla="*/ 217 w 684"/>
                <a:gd name="T47" fmla="*/ 48 h 240"/>
                <a:gd name="T48" fmla="*/ 221 w 684"/>
                <a:gd name="T49" fmla="*/ 59 h 240"/>
                <a:gd name="T50" fmla="*/ 206 w 684"/>
                <a:gd name="T51" fmla="*/ 61 h 240"/>
                <a:gd name="T52" fmla="*/ 196 w 684"/>
                <a:gd name="T53" fmla="*/ 60 h 240"/>
                <a:gd name="T54" fmla="*/ 185 w 684"/>
                <a:gd name="T55" fmla="*/ 59 h 240"/>
                <a:gd name="T56" fmla="*/ 182 w 684"/>
                <a:gd name="T57" fmla="*/ 61 h 240"/>
                <a:gd name="T58" fmla="*/ 175 w 684"/>
                <a:gd name="T59" fmla="*/ 66 h 240"/>
                <a:gd name="T60" fmla="*/ 169 w 684"/>
                <a:gd name="T61" fmla="*/ 69 h 240"/>
                <a:gd name="T62" fmla="*/ 159 w 684"/>
                <a:gd name="T63" fmla="*/ 69 h 240"/>
                <a:gd name="T64" fmla="*/ 146 w 684"/>
                <a:gd name="T65" fmla="*/ 67 h 240"/>
                <a:gd name="T66" fmla="*/ 136 w 684"/>
                <a:gd name="T67" fmla="*/ 65 h 240"/>
                <a:gd name="T68" fmla="*/ 109 w 684"/>
                <a:gd name="T69" fmla="*/ 69 h 240"/>
                <a:gd name="T70" fmla="*/ 75 w 684"/>
                <a:gd name="T71" fmla="*/ 76 h 240"/>
                <a:gd name="T72" fmla="*/ 55 w 684"/>
                <a:gd name="T73" fmla="*/ 78 h 240"/>
                <a:gd name="T74" fmla="*/ 40 w 684"/>
                <a:gd name="T75" fmla="*/ 78 h 240"/>
                <a:gd name="T76" fmla="*/ 32 w 684"/>
                <a:gd name="T77" fmla="*/ 75 h 240"/>
                <a:gd name="T78" fmla="*/ 22 w 684"/>
                <a:gd name="T79" fmla="*/ 68 h 240"/>
                <a:gd name="T80" fmla="*/ 9 w 684"/>
                <a:gd name="T81" fmla="*/ 65 h 240"/>
                <a:gd name="T82" fmla="*/ 0 w 684"/>
                <a:gd name="T83" fmla="*/ 57 h 240"/>
                <a:gd name="T84" fmla="*/ 21 w 684"/>
                <a:gd name="T85" fmla="*/ 52 h 240"/>
                <a:gd name="T86" fmla="*/ 32 w 684"/>
                <a:gd name="T87" fmla="*/ 51 h 240"/>
                <a:gd name="T88" fmla="*/ 50 w 684"/>
                <a:gd name="T89" fmla="*/ 53 h 240"/>
                <a:gd name="T90" fmla="*/ 65 w 684"/>
                <a:gd name="T91" fmla="*/ 54 h 240"/>
                <a:gd name="T92" fmla="*/ 72 w 684"/>
                <a:gd name="T93" fmla="*/ 53 h 240"/>
                <a:gd name="T94" fmla="*/ 8 w 684"/>
                <a:gd name="T95" fmla="*/ 45 h 240"/>
                <a:gd name="T96" fmla="*/ 17 w 684"/>
                <a:gd name="T97" fmla="*/ 42 h 240"/>
                <a:gd name="T98" fmla="*/ 35 w 684"/>
                <a:gd name="T99" fmla="*/ 39 h 240"/>
                <a:gd name="T100" fmla="*/ 53 w 684"/>
                <a:gd name="T101" fmla="*/ 36 h 240"/>
                <a:gd name="T102" fmla="*/ 60 w 684"/>
                <a:gd name="T103" fmla="*/ 33 h 240"/>
                <a:gd name="T104" fmla="*/ 54 w 684"/>
                <a:gd name="T105" fmla="*/ 31 h 240"/>
                <a:gd name="T106" fmla="*/ 40 w 684"/>
                <a:gd name="T107" fmla="*/ 32 h 240"/>
                <a:gd name="T108" fmla="*/ 23 w 684"/>
                <a:gd name="T109" fmla="*/ 36 h 240"/>
                <a:gd name="T110" fmla="*/ 17 w 684"/>
                <a:gd name="T111" fmla="*/ 35 h 240"/>
                <a:gd name="T112" fmla="*/ 18 w 684"/>
                <a:gd name="T113" fmla="*/ 30 h 240"/>
                <a:gd name="T114" fmla="*/ 17 w 684"/>
                <a:gd name="T115" fmla="*/ 27 h 240"/>
                <a:gd name="T116" fmla="*/ 19 w 684"/>
                <a:gd name="T117" fmla="*/ 26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77" name="Freeform 427">
              <a:extLst>
                <a:ext uri="{FF2B5EF4-FFF2-40B4-BE49-F238E27FC236}">
                  <a16:creationId xmlns:a16="http://schemas.microsoft.com/office/drawing/2014/main" id="{9C065716-FC82-469B-98FB-9EE649755B69}"/>
                </a:ext>
              </a:extLst>
            </p:cNvPr>
            <p:cNvSpPr>
              <a:spLocks/>
            </p:cNvSpPr>
            <p:nvPr/>
          </p:nvSpPr>
          <p:spPr bwMode="auto">
            <a:xfrm>
              <a:off x="1645" y="1643"/>
              <a:ext cx="108" cy="93"/>
            </a:xfrm>
            <a:custGeom>
              <a:avLst/>
              <a:gdLst>
                <a:gd name="T0" fmla="*/ 59 w 332"/>
                <a:gd name="T1" fmla="*/ 12 h 287"/>
                <a:gd name="T2" fmla="*/ 66 w 332"/>
                <a:gd name="T3" fmla="*/ 8 h 287"/>
                <a:gd name="T4" fmla="*/ 74 w 332"/>
                <a:gd name="T5" fmla="*/ 2 h 287"/>
                <a:gd name="T6" fmla="*/ 78 w 332"/>
                <a:gd name="T7" fmla="*/ 0 h 287"/>
                <a:gd name="T8" fmla="*/ 80 w 332"/>
                <a:gd name="T9" fmla="*/ 0 h 287"/>
                <a:gd name="T10" fmla="*/ 80 w 332"/>
                <a:gd name="T11" fmla="*/ 4 h 287"/>
                <a:gd name="T12" fmla="*/ 76 w 332"/>
                <a:gd name="T13" fmla="*/ 11 h 287"/>
                <a:gd name="T14" fmla="*/ 71 w 332"/>
                <a:gd name="T15" fmla="*/ 18 h 287"/>
                <a:gd name="T16" fmla="*/ 66 w 332"/>
                <a:gd name="T17" fmla="*/ 22 h 287"/>
                <a:gd name="T18" fmla="*/ 62 w 332"/>
                <a:gd name="T19" fmla="*/ 23 h 287"/>
                <a:gd name="T20" fmla="*/ 62 w 332"/>
                <a:gd name="T21" fmla="*/ 24 h 287"/>
                <a:gd name="T22" fmla="*/ 65 w 332"/>
                <a:gd name="T23" fmla="*/ 24 h 287"/>
                <a:gd name="T24" fmla="*/ 70 w 332"/>
                <a:gd name="T25" fmla="*/ 23 h 287"/>
                <a:gd name="T26" fmla="*/ 73 w 332"/>
                <a:gd name="T27" fmla="*/ 25 h 287"/>
                <a:gd name="T28" fmla="*/ 71 w 332"/>
                <a:gd name="T29" fmla="*/ 29 h 287"/>
                <a:gd name="T30" fmla="*/ 70 w 332"/>
                <a:gd name="T31" fmla="*/ 31 h 287"/>
                <a:gd name="T32" fmla="*/ 71 w 332"/>
                <a:gd name="T33" fmla="*/ 34 h 287"/>
                <a:gd name="T34" fmla="*/ 81 w 332"/>
                <a:gd name="T35" fmla="*/ 37 h 287"/>
                <a:gd name="T36" fmla="*/ 100 w 332"/>
                <a:gd name="T37" fmla="*/ 40 h 287"/>
                <a:gd name="T38" fmla="*/ 105 w 332"/>
                <a:gd name="T39" fmla="*/ 42 h 287"/>
                <a:gd name="T40" fmla="*/ 102 w 332"/>
                <a:gd name="T41" fmla="*/ 45 h 287"/>
                <a:gd name="T42" fmla="*/ 99 w 332"/>
                <a:gd name="T43" fmla="*/ 48 h 287"/>
                <a:gd name="T44" fmla="*/ 97 w 332"/>
                <a:gd name="T45" fmla="*/ 50 h 287"/>
                <a:gd name="T46" fmla="*/ 98 w 332"/>
                <a:gd name="T47" fmla="*/ 52 h 287"/>
                <a:gd name="T48" fmla="*/ 100 w 332"/>
                <a:gd name="T49" fmla="*/ 54 h 287"/>
                <a:gd name="T50" fmla="*/ 104 w 332"/>
                <a:gd name="T51" fmla="*/ 57 h 287"/>
                <a:gd name="T52" fmla="*/ 107 w 332"/>
                <a:gd name="T53" fmla="*/ 60 h 287"/>
                <a:gd name="T54" fmla="*/ 94 w 332"/>
                <a:gd name="T55" fmla="*/ 68 h 287"/>
                <a:gd name="T56" fmla="*/ 78 w 332"/>
                <a:gd name="T57" fmla="*/ 78 h 287"/>
                <a:gd name="T58" fmla="*/ 67 w 332"/>
                <a:gd name="T59" fmla="*/ 87 h 287"/>
                <a:gd name="T60" fmla="*/ 56 w 332"/>
                <a:gd name="T61" fmla="*/ 79 h 287"/>
                <a:gd name="T62" fmla="*/ 59 w 332"/>
                <a:gd name="T63" fmla="*/ 79 h 287"/>
                <a:gd name="T64" fmla="*/ 61 w 332"/>
                <a:gd name="T65" fmla="*/ 78 h 287"/>
                <a:gd name="T66" fmla="*/ 65 w 332"/>
                <a:gd name="T67" fmla="*/ 75 h 287"/>
                <a:gd name="T68" fmla="*/ 48 w 332"/>
                <a:gd name="T69" fmla="*/ 75 h 287"/>
                <a:gd name="T70" fmla="*/ 33 w 332"/>
                <a:gd name="T71" fmla="*/ 75 h 287"/>
                <a:gd name="T72" fmla="*/ 19 w 332"/>
                <a:gd name="T73" fmla="*/ 75 h 287"/>
                <a:gd name="T74" fmla="*/ 9 w 332"/>
                <a:gd name="T75" fmla="*/ 75 h 287"/>
                <a:gd name="T76" fmla="*/ 4 w 332"/>
                <a:gd name="T77" fmla="*/ 74 h 287"/>
                <a:gd name="T78" fmla="*/ 1 w 332"/>
                <a:gd name="T79" fmla="*/ 72 h 287"/>
                <a:gd name="T80" fmla="*/ 0 w 332"/>
                <a:gd name="T81" fmla="*/ 69 h 287"/>
                <a:gd name="T82" fmla="*/ 1 w 332"/>
                <a:gd name="T83" fmla="*/ 66 h 287"/>
                <a:gd name="T84" fmla="*/ 4 w 332"/>
                <a:gd name="T85" fmla="*/ 64 h 287"/>
                <a:gd name="T86" fmla="*/ 13 w 332"/>
                <a:gd name="T87" fmla="*/ 58 h 287"/>
                <a:gd name="T88" fmla="*/ 24 w 332"/>
                <a:gd name="T89" fmla="*/ 52 h 287"/>
                <a:gd name="T90" fmla="*/ 28 w 332"/>
                <a:gd name="T91" fmla="*/ 49 h 287"/>
                <a:gd name="T92" fmla="*/ 30 w 332"/>
                <a:gd name="T93" fmla="*/ 47 h 287"/>
                <a:gd name="T94" fmla="*/ 34 w 332"/>
                <a:gd name="T95" fmla="*/ 42 h 287"/>
                <a:gd name="T96" fmla="*/ 38 w 332"/>
                <a:gd name="T97" fmla="*/ 37 h 287"/>
                <a:gd name="T98" fmla="*/ 42 w 332"/>
                <a:gd name="T99" fmla="*/ 26 h 287"/>
                <a:gd name="T100" fmla="*/ 45 w 332"/>
                <a:gd name="T101" fmla="*/ 21 h 287"/>
                <a:gd name="T102" fmla="*/ 48 w 332"/>
                <a:gd name="T103" fmla="*/ 17 h 287"/>
                <a:gd name="T104" fmla="*/ 51 w 332"/>
                <a:gd name="T105" fmla="*/ 14 h 287"/>
                <a:gd name="T106" fmla="*/ 56 w 332"/>
                <a:gd name="T107" fmla="*/ 13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78" name="Freeform 428">
              <a:extLst>
                <a:ext uri="{FF2B5EF4-FFF2-40B4-BE49-F238E27FC236}">
                  <a16:creationId xmlns:a16="http://schemas.microsoft.com/office/drawing/2014/main" id="{03465B46-213F-4D8F-B0B5-CF9BCA647E3C}"/>
                </a:ext>
              </a:extLst>
            </p:cNvPr>
            <p:cNvSpPr>
              <a:spLocks/>
            </p:cNvSpPr>
            <p:nvPr/>
          </p:nvSpPr>
          <p:spPr bwMode="auto">
            <a:xfrm>
              <a:off x="1102" y="1190"/>
              <a:ext cx="111" cy="27"/>
            </a:xfrm>
            <a:custGeom>
              <a:avLst/>
              <a:gdLst>
                <a:gd name="T0" fmla="*/ 34 w 345"/>
                <a:gd name="T1" fmla="*/ 27 h 86"/>
                <a:gd name="T2" fmla="*/ 38 w 345"/>
                <a:gd name="T3" fmla="*/ 25 h 86"/>
                <a:gd name="T4" fmla="*/ 43 w 345"/>
                <a:gd name="T5" fmla="*/ 24 h 86"/>
                <a:gd name="T6" fmla="*/ 48 w 345"/>
                <a:gd name="T7" fmla="*/ 23 h 86"/>
                <a:gd name="T8" fmla="*/ 53 w 345"/>
                <a:gd name="T9" fmla="*/ 22 h 86"/>
                <a:gd name="T10" fmla="*/ 63 w 345"/>
                <a:gd name="T11" fmla="*/ 20 h 86"/>
                <a:gd name="T12" fmla="*/ 74 w 345"/>
                <a:gd name="T13" fmla="*/ 18 h 86"/>
                <a:gd name="T14" fmla="*/ 79 w 345"/>
                <a:gd name="T15" fmla="*/ 17 h 86"/>
                <a:gd name="T16" fmla="*/ 85 w 345"/>
                <a:gd name="T17" fmla="*/ 16 h 86"/>
                <a:gd name="T18" fmla="*/ 90 w 345"/>
                <a:gd name="T19" fmla="*/ 14 h 86"/>
                <a:gd name="T20" fmla="*/ 95 w 345"/>
                <a:gd name="T21" fmla="*/ 13 h 86"/>
                <a:gd name="T22" fmla="*/ 99 w 345"/>
                <a:gd name="T23" fmla="*/ 11 h 86"/>
                <a:gd name="T24" fmla="*/ 104 w 345"/>
                <a:gd name="T25" fmla="*/ 9 h 86"/>
                <a:gd name="T26" fmla="*/ 107 w 345"/>
                <a:gd name="T27" fmla="*/ 7 h 86"/>
                <a:gd name="T28" fmla="*/ 111 w 345"/>
                <a:gd name="T29" fmla="*/ 4 h 86"/>
                <a:gd name="T30" fmla="*/ 108 w 345"/>
                <a:gd name="T31" fmla="*/ 4 h 86"/>
                <a:gd name="T32" fmla="*/ 105 w 345"/>
                <a:gd name="T33" fmla="*/ 3 h 86"/>
                <a:gd name="T34" fmla="*/ 102 w 345"/>
                <a:gd name="T35" fmla="*/ 3 h 86"/>
                <a:gd name="T36" fmla="*/ 99 w 345"/>
                <a:gd name="T37" fmla="*/ 2 h 86"/>
                <a:gd name="T38" fmla="*/ 97 w 345"/>
                <a:gd name="T39" fmla="*/ 1 h 86"/>
                <a:gd name="T40" fmla="*/ 94 w 345"/>
                <a:gd name="T41" fmla="*/ 1 h 86"/>
                <a:gd name="T42" fmla="*/ 90 w 345"/>
                <a:gd name="T43" fmla="*/ 0 h 86"/>
                <a:gd name="T44" fmla="*/ 88 w 345"/>
                <a:gd name="T45" fmla="*/ 0 h 86"/>
                <a:gd name="T46" fmla="*/ 83 w 345"/>
                <a:gd name="T47" fmla="*/ 0 h 86"/>
                <a:gd name="T48" fmla="*/ 79 w 345"/>
                <a:gd name="T49" fmla="*/ 1 h 86"/>
                <a:gd name="T50" fmla="*/ 73 w 345"/>
                <a:gd name="T51" fmla="*/ 2 h 86"/>
                <a:gd name="T52" fmla="*/ 67 w 345"/>
                <a:gd name="T53" fmla="*/ 3 h 86"/>
                <a:gd name="T54" fmla="*/ 54 w 345"/>
                <a:gd name="T55" fmla="*/ 6 h 86"/>
                <a:gd name="T56" fmla="*/ 41 w 345"/>
                <a:gd name="T57" fmla="*/ 9 h 86"/>
                <a:gd name="T58" fmla="*/ 33 w 345"/>
                <a:gd name="T59" fmla="*/ 11 h 86"/>
                <a:gd name="T60" fmla="*/ 27 w 345"/>
                <a:gd name="T61" fmla="*/ 13 h 86"/>
                <a:gd name="T62" fmla="*/ 21 w 345"/>
                <a:gd name="T63" fmla="*/ 16 h 86"/>
                <a:gd name="T64" fmla="*/ 15 w 345"/>
                <a:gd name="T65" fmla="*/ 18 h 86"/>
                <a:gd name="T66" fmla="*/ 10 w 345"/>
                <a:gd name="T67" fmla="*/ 20 h 86"/>
                <a:gd name="T68" fmla="*/ 6 w 345"/>
                <a:gd name="T69" fmla="*/ 23 h 86"/>
                <a:gd name="T70" fmla="*/ 3 w 345"/>
                <a:gd name="T71" fmla="*/ 25 h 86"/>
                <a:gd name="T72" fmla="*/ 0 w 345"/>
                <a:gd name="T73" fmla="*/ 27 h 86"/>
                <a:gd name="T74" fmla="*/ 34 w 345"/>
                <a:gd name="T75" fmla="*/ 27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79" name="Freeform 429">
              <a:extLst>
                <a:ext uri="{FF2B5EF4-FFF2-40B4-BE49-F238E27FC236}">
                  <a16:creationId xmlns:a16="http://schemas.microsoft.com/office/drawing/2014/main" id="{D2A23FCE-919E-4A47-ACFF-B82DBF4432CB}"/>
                </a:ext>
              </a:extLst>
            </p:cNvPr>
            <p:cNvSpPr>
              <a:spLocks/>
            </p:cNvSpPr>
            <p:nvPr/>
          </p:nvSpPr>
          <p:spPr bwMode="auto">
            <a:xfrm>
              <a:off x="1158" y="1199"/>
              <a:ext cx="149" cy="43"/>
            </a:xfrm>
            <a:custGeom>
              <a:avLst/>
              <a:gdLst>
                <a:gd name="T0" fmla="*/ 6 w 464"/>
                <a:gd name="T1" fmla="*/ 28 h 130"/>
                <a:gd name="T2" fmla="*/ 25 w 464"/>
                <a:gd name="T3" fmla="*/ 27 h 130"/>
                <a:gd name="T4" fmla="*/ 33 w 464"/>
                <a:gd name="T5" fmla="*/ 27 h 130"/>
                <a:gd name="T6" fmla="*/ 30 w 464"/>
                <a:gd name="T7" fmla="*/ 29 h 130"/>
                <a:gd name="T8" fmla="*/ 26 w 464"/>
                <a:gd name="T9" fmla="*/ 33 h 130"/>
                <a:gd name="T10" fmla="*/ 23 w 464"/>
                <a:gd name="T11" fmla="*/ 37 h 130"/>
                <a:gd name="T12" fmla="*/ 23 w 464"/>
                <a:gd name="T13" fmla="*/ 39 h 130"/>
                <a:gd name="T14" fmla="*/ 25 w 464"/>
                <a:gd name="T15" fmla="*/ 41 h 130"/>
                <a:gd name="T16" fmla="*/ 30 w 464"/>
                <a:gd name="T17" fmla="*/ 43 h 130"/>
                <a:gd name="T18" fmla="*/ 35 w 464"/>
                <a:gd name="T19" fmla="*/ 43 h 130"/>
                <a:gd name="T20" fmla="*/ 41 w 464"/>
                <a:gd name="T21" fmla="*/ 42 h 130"/>
                <a:gd name="T22" fmla="*/ 50 w 464"/>
                <a:gd name="T23" fmla="*/ 39 h 130"/>
                <a:gd name="T24" fmla="*/ 63 w 464"/>
                <a:gd name="T25" fmla="*/ 36 h 130"/>
                <a:gd name="T26" fmla="*/ 73 w 464"/>
                <a:gd name="T27" fmla="*/ 33 h 130"/>
                <a:gd name="T28" fmla="*/ 80 w 464"/>
                <a:gd name="T29" fmla="*/ 33 h 130"/>
                <a:gd name="T30" fmla="*/ 85 w 464"/>
                <a:gd name="T31" fmla="*/ 33 h 130"/>
                <a:gd name="T32" fmla="*/ 98 w 464"/>
                <a:gd name="T33" fmla="*/ 33 h 130"/>
                <a:gd name="T34" fmla="*/ 107 w 464"/>
                <a:gd name="T35" fmla="*/ 32 h 130"/>
                <a:gd name="T36" fmla="*/ 121 w 464"/>
                <a:gd name="T37" fmla="*/ 31 h 130"/>
                <a:gd name="T38" fmla="*/ 133 w 464"/>
                <a:gd name="T39" fmla="*/ 27 h 130"/>
                <a:gd name="T40" fmla="*/ 144 w 464"/>
                <a:gd name="T41" fmla="*/ 22 h 130"/>
                <a:gd name="T42" fmla="*/ 146 w 464"/>
                <a:gd name="T43" fmla="*/ 17 h 130"/>
                <a:gd name="T44" fmla="*/ 141 w 464"/>
                <a:gd name="T45" fmla="*/ 16 h 130"/>
                <a:gd name="T46" fmla="*/ 133 w 464"/>
                <a:gd name="T47" fmla="*/ 16 h 130"/>
                <a:gd name="T48" fmla="*/ 127 w 464"/>
                <a:gd name="T49" fmla="*/ 15 h 130"/>
                <a:gd name="T50" fmla="*/ 130 w 464"/>
                <a:gd name="T51" fmla="*/ 12 h 130"/>
                <a:gd name="T52" fmla="*/ 133 w 464"/>
                <a:gd name="T53" fmla="*/ 7 h 130"/>
                <a:gd name="T54" fmla="*/ 134 w 464"/>
                <a:gd name="T55" fmla="*/ 2 h 130"/>
                <a:gd name="T56" fmla="*/ 121 w 464"/>
                <a:gd name="T57" fmla="*/ 0 h 130"/>
                <a:gd name="T58" fmla="*/ 116 w 464"/>
                <a:gd name="T59" fmla="*/ 6 h 130"/>
                <a:gd name="T60" fmla="*/ 110 w 464"/>
                <a:gd name="T61" fmla="*/ 14 h 130"/>
                <a:gd name="T62" fmla="*/ 104 w 464"/>
                <a:gd name="T63" fmla="*/ 20 h 130"/>
                <a:gd name="T64" fmla="*/ 100 w 464"/>
                <a:gd name="T65" fmla="*/ 22 h 130"/>
                <a:gd name="T66" fmla="*/ 96 w 464"/>
                <a:gd name="T67" fmla="*/ 22 h 130"/>
                <a:gd name="T68" fmla="*/ 89 w 464"/>
                <a:gd name="T69" fmla="*/ 22 h 130"/>
                <a:gd name="T70" fmla="*/ 84 w 464"/>
                <a:gd name="T71" fmla="*/ 21 h 130"/>
                <a:gd name="T72" fmla="*/ 77 w 464"/>
                <a:gd name="T73" fmla="*/ 18 h 130"/>
                <a:gd name="T74" fmla="*/ 66 w 464"/>
                <a:gd name="T75" fmla="*/ 10 h 130"/>
                <a:gd name="T76" fmla="*/ 58 w 464"/>
                <a:gd name="T77" fmla="*/ 10 h 130"/>
                <a:gd name="T78" fmla="*/ 48 w 464"/>
                <a:gd name="T79" fmla="*/ 10 h 130"/>
                <a:gd name="T80" fmla="*/ 38 w 464"/>
                <a:gd name="T81" fmla="*/ 12 h 130"/>
                <a:gd name="T82" fmla="*/ 27 w 464"/>
                <a:gd name="T83" fmla="*/ 15 h 130"/>
                <a:gd name="T84" fmla="*/ 17 w 464"/>
                <a:gd name="T85" fmla="*/ 18 h 130"/>
                <a:gd name="T86" fmla="*/ 9 w 464"/>
                <a:gd name="T87" fmla="*/ 22 h 130"/>
                <a:gd name="T88" fmla="*/ 3 w 464"/>
                <a:gd name="T89" fmla="*/ 25 h 130"/>
                <a:gd name="T90" fmla="*/ 0 w 464"/>
                <a:gd name="T91" fmla="*/ 28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80" name="Freeform 430">
              <a:extLst>
                <a:ext uri="{FF2B5EF4-FFF2-40B4-BE49-F238E27FC236}">
                  <a16:creationId xmlns:a16="http://schemas.microsoft.com/office/drawing/2014/main" id="{8C2C4C3B-34D2-4D8B-A5CC-BFBBE9773030}"/>
                </a:ext>
              </a:extLst>
            </p:cNvPr>
            <p:cNvSpPr>
              <a:spLocks/>
            </p:cNvSpPr>
            <p:nvPr/>
          </p:nvSpPr>
          <p:spPr bwMode="auto">
            <a:xfrm>
              <a:off x="1472" y="1205"/>
              <a:ext cx="153" cy="31"/>
            </a:xfrm>
            <a:custGeom>
              <a:avLst/>
              <a:gdLst>
                <a:gd name="T0" fmla="*/ 20 w 472"/>
                <a:gd name="T1" fmla="*/ 0 h 92"/>
                <a:gd name="T2" fmla="*/ 14 w 472"/>
                <a:gd name="T3" fmla="*/ 0 h 92"/>
                <a:gd name="T4" fmla="*/ 8 w 472"/>
                <a:gd name="T5" fmla="*/ 0 h 92"/>
                <a:gd name="T6" fmla="*/ 4 w 472"/>
                <a:gd name="T7" fmla="*/ 1 h 92"/>
                <a:gd name="T8" fmla="*/ 2 w 472"/>
                <a:gd name="T9" fmla="*/ 3 h 92"/>
                <a:gd name="T10" fmla="*/ 2 w 472"/>
                <a:gd name="T11" fmla="*/ 5 h 92"/>
                <a:gd name="T12" fmla="*/ 3 w 472"/>
                <a:gd name="T13" fmla="*/ 8 h 92"/>
                <a:gd name="T14" fmla="*/ 5 w 472"/>
                <a:gd name="T15" fmla="*/ 11 h 92"/>
                <a:gd name="T16" fmla="*/ 5 w 472"/>
                <a:gd name="T17" fmla="*/ 14 h 92"/>
                <a:gd name="T18" fmla="*/ 1 w 472"/>
                <a:gd name="T19" fmla="*/ 17 h 92"/>
                <a:gd name="T20" fmla="*/ 0 w 472"/>
                <a:gd name="T21" fmla="*/ 19 h 92"/>
                <a:gd name="T22" fmla="*/ 1 w 472"/>
                <a:gd name="T23" fmla="*/ 22 h 92"/>
                <a:gd name="T24" fmla="*/ 5 w 472"/>
                <a:gd name="T25" fmla="*/ 23 h 92"/>
                <a:gd name="T26" fmla="*/ 16 w 472"/>
                <a:gd name="T27" fmla="*/ 26 h 92"/>
                <a:gd name="T28" fmla="*/ 35 w 472"/>
                <a:gd name="T29" fmla="*/ 29 h 92"/>
                <a:gd name="T30" fmla="*/ 54 w 472"/>
                <a:gd name="T31" fmla="*/ 31 h 92"/>
                <a:gd name="T32" fmla="*/ 118 w 472"/>
                <a:gd name="T33" fmla="*/ 31 h 92"/>
                <a:gd name="T34" fmla="*/ 121 w 472"/>
                <a:gd name="T35" fmla="*/ 27 h 92"/>
                <a:gd name="T36" fmla="*/ 125 w 472"/>
                <a:gd name="T37" fmla="*/ 25 h 92"/>
                <a:gd name="T38" fmla="*/ 129 w 472"/>
                <a:gd name="T39" fmla="*/ 25 h 92"/>
                <a:gd name="T40" fmla="*/ 133 w 472"/>
                <a:gd name="T41" fmla="*/ 25 h 92"/>
                <a:gd name="T42" fmla="*/ 143 w 472"/>
                <a:gd name="T43" fmla="*/ 26 h 92"/>
                <a:gd name="T44" fmla="*/ 148 w 472"/>
                <a:gd name="T45" fmla="*/ 26 h 92"/>
                <a:gd name="T46" fmla="*/ 153 w 472"/>
                <a:gd name="T47" fmla="*/ 25 h 92"/>
                <a:gd name="T48" fmla="*/ 151 w 472"/>
                <a:gd name="T49" fmla="*/ 11 h 92"/>
                <a:gd name="T50" fmla="*/ 147 w 472"/>
                <a:gd name="T51" fmla="*/ 9 h 92"/>
                <a:gd name="T52" fmla="*/ 144 w 472"/>
                <a:gd name="T53" fmla="*/ 6 h 92"/>
                <a:gd name="T54" fmla="*/ 140 w 472"/>
                <a:gd name="T55" fmla="*/ 4 h 92"/>
                <a:gd name="T56" fmla="*/ 135 w 472"/>
                <a:gd name="T57" fmla="*/ 4 h 92"/>
                <a:gd name="T58" fmla="*/ 128 w 472"/>
                <a:gd name="T59" fmla="*/ 5 h 92"/>
                <a:gd name="T60" fmla="*/ 119 w 472"/>
                <a:gd name="T61" fmla="*/ 7 h 92"/>
                <a:gd name="T62" fmla="*/ 106 w 472"/>
                <a:gd name="T63" fmla="*/ 11 h 92"/>
                <a:gd name="T64" fmla="*/ 97 w 472"/>
                <a:gd name="T65" fmla="*/ 13 h 92"/>
                <a:gd name="T66" fmla="*/ 89 w 472"/>
                <a:gd name="T67" fmla="*/ 14 h 92"/>
                <a:gd name="T68" fmla="*/ 77 w 472"/>
                <a:gd name="T69" fmla="*/ 14 h 92"/>
                <a:gd name="T70" fmla="*/ 62 w 472"/>
                <a:gd name="T71" fmla="*/ 14 h 92"/>
                <a:gd name="T72" fmla="*/ 51 w 472"/>
                <a:gd name="T73" fmla="*/ 14 h 92"/>
                <a:gd name="T74" fmla="*/ 39 w 472"/>
                <a:gd name="T75" fmla="*/ 14 h 92"/>
                <a:gd name="T76" fmla="*/ 29 w 472"/>
                <a:gd name="T77" fmla="*/ 14 h 92"/>
                <a:gd name="T78" fmla="*/ 25 w 472"/>
                <a:gd name="T79" fmla="*/ 12 h 92"/>
                <a:gd name="T80" fmla="*/ 23 w 472"/>
                <a:gd name="T81" fmla="*/ 9 h 92"/>
                <a:gd name="T82" fmla="*/ 22 w 472"/>
                <a:gd name="T83" fmla="*/ 6 h 92"/>
                <a:gd name="T84" fmla="*/ 22 w 472"/>
                <a:gd name="T85" fmla="*/ 3 h 92"/>
                <a:gd name="T86" fmla="*/ 24 w 472"/>
                <a:gd name="T87" fmla="*/ 1 h 92"/>
                <a:gd name="T88" fmla="*/ 24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81" name="Freeform 431">
              <a:extLst>
                <a:ext uri="{FF2B5EF4-FFF2-40B4-BE49-F238E27FC236}">
                  <a16:creationId xmlns:a16="http://schemas.microsoft.com/office/drawing/2014/main" id="{3D19DE5A-16EC-428C-ABA2-8962448E0917}"/>
                </a:ext>
              </a:extLst>
            </p:cNvPr>
            <p:cNvSpPr>
              <a:spLocks/>
            </p:cNvSpPr>
            <p:nvPr/>
          </p:nvSpPr>
          <p:spPr bwMode="auto">
            <a:xfrm>
              <a:off x="1513" y="1136"/>
              <a:ext cx="106" cy="45"/>
            </a:xfrm>
            <a:custGeom>
              <a:avLst/>
              <a:gdLst>
                <a:gd name="T0" fmla="*/ 47 w 326"/>
                <a:gd name="T1" fmla="*/ 36 h 135"/>
                <a:gd name="T2" fmla="*/ 66 w 326"/>
                <a:gd name="T3" fmla="*/ 32 h 135"/>
                <a:gd name="T4" fmla="*/ 85 w 326"/>
                <a:gd name="T5" fmla="*/ 28 h 135"/>
                <a:gd name="T6" fmla="*/ 98 w 326"/>
                <a:gd name="T7" fmla="*/ 25 h 135"/>
                <a:gd name="T8" fmla="*/ 103 w 326"/>
                <a:gd name="T9" fmla="*/ 22 h 135"/>
                <a:gd name="T10" fmla="*/ 105 w 326"/>
                <a:gd name="T11" fmla="*/ 19 h 135"/>
                <a:gd name="T12" fmla="*/ 101 w 326"/>
                <a:gd name="T13" fmla="*/ 16 h 135"/>
                <a:gd name="T14" fmla="*/ 98 w 326"/>
                <a:gd name="T15" fmla="*/ 14 h 135"/>
                <a:gd name="T16" fmla="*/ 93 w 326"/>
                <a:gd name="T17" fmla="*/ 12 h 135"/>
                <a:gd name="T18" fmla="*/ 86 w 326"/>
                <a:gd name="T19" fmla="*/ 11 h 135"/>
                <a:gd name="T20" fmla="*/ 75 w 326"/>
                <a:gd name="T21" fmla="*/ 10 h 135"/>
                <a:gd name="T22" fmla="*/ 68 w 326"/>
                <a:gd name="T23" fmla="*/ 10 h 135"/>
                <a:gd name="T24" fmla="*/ 66 w 326"/>
                <a:gd name="T25" fmla="*/ 8 h 135"/>
                <a:gd name="T26" fmla="*/ 64 w 326"/>
                <a:gd name="T27" fmla="*/ 6 h 135"/>
                <a:gd name="T28" fmla="*/ 62 w 326"/>
                <a:gd name="T29" fmla="*/ 3 h 135"/>
                <a:gd name="T30" fmla="*/ 59 w 326"/>
                <a:gd name="T31" fmla="*/ 2 h 135"/>
                <a:gd name="T32" fmla="*/ 53 w 326"/>
                <a:gd name="T33" fmla="*/ 0 h 135"/>
                <a:gd name="T34" fmla="*/ 44 w 326"/>
                <a:gd name="T35" fmla="*/ 0 h 135"/>
                <a:gd name="T36" fmla="*/ 28 w 326"/>
                <a:gd name="T37" fmla="*/ 3 h 135"/>
                <a:gd name="T38" fmla="*/ 16 w 326"/>
                <a:gd name="T39" fmla="*/ 6 h 135"/>
                <a:gd name="T40" fmla="*/ 9 w 326"/>
                <a:gd name="T41" fmla="*/ 9 h 135"/>
                <a:gd name="T42" fmla="*/ 4 w 326"/>
                <a:gd name="T43" fmla="*/ 12 h 135"/>
                <a:gd name="T44" fmla="*/ 1 w 326"/>
                <a:gd name="T45" fmla="*/ 15 h 135"/>
                <a:gd name="T46" fmla="*/ 0 w 326"/>
                <a:gd name="T47" fmla="*/ 17 h 135"/>
                <a:gd name="T48" fmla="*/ 11 w 326"/>
                <a:gd name="T49" fmla="*/ 25 h 135"/>
                <a:gd name="T50" fmla="*/ 18 w 326"/>
                <a:gd name="T51" fmla="*/ 27 h 135"/>
                <a:gd name="T52" fmla="*/ 13 w 326"/>
                <a:gd name="T53" fmla="*/ 30 h 135"/>
                <a:gd name="T54" fmla="*/ 12 w 326"/>
                <a:gd name="T55" fmla="*/ 33 h 135"/>
                <a:gd name="T56" fmla="*/ 14 w 326"/>
                <a:gd name="T57" fmla="*/ 38 h 135"/>
                <a:gd name="T58" fmla="*/ 16 w 326"/>
                <a:gd name="T59" fmla="*/ 43 h 135"/>
                <a:gd name="T60" fmla="*/ 18 w 326"/>
                <a:gd name="T61" fmla="*/ 45 h 135"/>
                <a:gd name="T62" fmla="*/ 22 w 326"/>
                <a:gd name="T63" fmla="*/ 45 h 135"/>
                <a:gd name="T64" fmla="*/ 28 w 326"/>
                <a:gd name="T65" fmla="*/ 44 h 135"/>
                <a:gd name="T66" fmla="*/ 33 w 326"/>
                <a:gd name="T67" fmla="*/ 42 h 135"/>
                <a:gd name="T68" fmla="*/ 38 w 326"/>
                <a:gd name="T69" fmla="*/ 41 h 135"/>
                <a:gd name="T70" fmla="*/ 39 w 326"/>
                <a:gd name="T71" fmla="*/ 37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82" name="Freeform 432">
              <a:extLst>
                <a:ext uri="{FF2B5EF4-FFF2-40B4-BE49-F238E27FC236}">
                  <a16:creationId xmlns:a16="http://schemas.microsoft.com/office/drawing/2014/main" id="{7F372CE7-3B96-45CF-9243-7DB007223131}"/>
                </a:ext>
              </a:extLst>
            </p:cNvPr>
            <p:cNvSpPr>
              <a:spLocks/>
            </p:cNvSpPr>
            <p:nvPr/>
          </p:nvSpPr>
          <p:spPr bwMode="auto">
            <a:xfrm>
              <a:off x="1584" y="1245"/>
              <a:ext cx="51" cy="18"/>
            </a:xfrm>
            <a:custGeom>
              <a:avLst/>
              <a:gdLst>
                <a:gd name="T0" fmla="*/ 15 w 159"/>
                <a:gd name="T1" fmla="*/ 17 h 56"/>
                <a:gd name="T2" fmla="*/ 13 w 159"/>
                <a:gd name="T3" fmla="*/ 17 h 56"/>
                <a:gd name="T4" fmla="*/ 11 w 159"/>
                <a:gd name="T5" fmla="*/ 16 h 56"/>
                <a:gd name="T6" fmla="*/ 8 w 159"/>
                <a:gd name="T7" fmla="*/ 14 h 56"/>
                <a:gd name="T8" fmla="*/ 6 w 159"/>
                <a:gd name="T9" fmla="*/ 12 h 56"/>
                <a:gd name="T10" fmla="*/ 3 w 159"/>
                <a:gd name="T11" fmla="*/ 10 h 56"/>
                <a:gd name="T12" fmla="*/ 2 w 159"/>
                <a:gd name="T13" fmla="*/ 8 h 56"/>
                <a:gd name="T14" fmla="*/ 1 w 159"/>
                <a:gd name="T15" fmla="*/ 7 h 56"/>
                <a:gd name="T16" fmla="*/ 0 w 159"/>
                <a:gd name="T17" fmla="*/ 5 h 56"/>
                <a:gd name="T18" fmla="*/ 0 w 159"/>
                <a:gd name="T19" fmla="*/ 4 h 56"/>
                <a:gd name="T20" fmla="*/ 0 w 159"/>
                <a:gd name="T21" fmla="*/ 3 h 56"/>
                <a:gd name="T22" fmla="*/ 7 w 159"/>
                <a:gd name="T23" fmla="*/ 3 h 56"/>
                <a:gd name="T24" fmla="*/ 13 w 159"/>
                <a:gd name="T25" fmla="*/ 3 h 56"/>
                <a:gd name="T26" fmla="*/ 17 w 159"/>
                <a:gd name="T27" fmla="*/ 3 h 56"/>
                <a:gd name="T28" fmla="*/ 19 w 159"/>
                <a:gd name="T29" fmla="*/ 3 h 56"/>
                <a:gd name="T30" fmla="*/ 27 w 159"/>
                <a:gd name="T31" fmla="*/ 2 h 56"/>
                <a:gd name="T32" fmla="*/ 38 w 159"/>
                <a:gd name="T33" fmla="*/ 0 h 56"/>
                <a:gd name="T34" fmla="*/ 40 w 159"/>
                <a:gd name="T35" fmla="*/ 0 h 56"/>
                <a:gd name="T36" fmla="*/ 42 w 159"/>
                <a:gd name="T37" fmla="*/ 0 h 56"/>
                <a:gd name="T38" fmla="*/ 45 w 159"/>
                <a:gd name="T39" fmla="*/ 0 h 56"/>
                <a:gd name="T40" fmla="*/ 47 w 159"/>
                <a:gd name="T41" fmla="*/ 1 h 56"/>
                <a:gd name="T42" fmla="*/ 48 w 159"/>
                <a:gd name="T43" fmla="*/ 2 h 56"/>
                <a:gd name="T44" fmla="*/ 50 w 159"/>
                <a:gd name="T45" fmla="*/ 3 h 56"/>
                <a:gd name="T46" fmla="*/ 51 w 159"/>
                <a:gd name="T47" fmla="*/ 5 h 56"/>
                <a:gd name="T48" fmla="*/ 51 w 159"/>
                <a:gd name="T49" fmla="*/ 7 h 56"/>
                <a:gd name="T50" fmla="*/ 51 w 159"/>
                <a:gd name="T51" fmla="*/ 10 h 56"/>
                <a:gd name="T52" fmla="*/ 50 w 159"/>
                <a:gd name="T53" fmla="*/ 12 h 56"/>
                <a:gd name="T54" fmla="*/ 48 w 159"/>
                <a:gd name="T55" fmla="*/ 14 h 56"/>
                <a:gd name="T56" fmla="*/ 47 w 159"/>
                <a:gd name="T57" fmla="*/ 15 h 56"/>
                <a:gd name="T58" fmla="*/ 45 w 159"/>
                <a:gd name="T59" fmla="*/ 17 h 56"/>
                <a:gd name="T60" fmla="*/ 42 w 159"/>
                <a:gd name="T61" fmla="*/ 17 h 56"/>
                <a:gd name="T62" fmla="*/ 40 w 159"/>
                <a:gd name="T63" fmla="*/ 18 h 56"/>
                <a:gd name="T64" fmla="*/ 37 w 159"/>
                <a:gd name="T65" fmla="*/ 18 h 56"/>
                <a:gd name="T66" fmla="*/ 25 w 159"/>
                <a:gd name="T67" fmla="*/ 18 h 56"/>
                <a:gd name="T68" fmla="*/ 15 w 159"/>
                <a:gd name="T69" fmla="*/ 17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83" name="Freeform 433">
              <a:extLst>
                <a:ext uri="{FF2B5EF4-FFF2-40B4-BE49-F238E27FC236}">
                  <a16:creationId xmlns:a16="http://schemas.microsoft.com/office/drawing/2014/main" id="{41E45326-C384-4679-915A-E3BE4F2DB300}"/>
                </a:ext>
              </a:extLst>
            </p:cNvPr>
            <p:cNvSpPr>
              <a:spLocks/>
            </p:cNvSpPr>
            <p:nvPr/>
          </p:nvSpPr>
          <p:spPr bwMode="auto">
            <a:xfrm>
              <a:off x="534" y="1280"/>
              <a:ext cx="1205" cy="539"/>
            </a:xfrm>
            <a:custGeom>
              <a:avLst/>
              <a:gdLst>
                <a:gd name="T0" fmla="*/ 946 w 3734"/>
                <a:gd name="T1" fmla="*/ 447 h 1644"/>
                <a:gd name="T2" fmla="*/ 825 w 3734"/>
                <a:gd name="T3" fmla="*/ 499 h 1644"/>
                <a:gd name="T4" fmla="*/ 746 w 3734"/>
                <a:gd name="T5" fmla="*/ 522 h 1644"/>
                <a:gd name="T6" fmla="*/ 740 w 3734"/>
                <a:gd name="T7" fmla="*/ 536 h 1644"/>
                <a:gd name="T8" fmla="*/ 703 w 3734"/>
                <a:gd name="T9" fmla="*/ 527 h 1644"/>
                <a:gd name="T10" fmla="*/ 735 w 3734"/>
                <a:gd name="T11" fmla="*/ 496 h 1644"/>
                <a:gd name="T12" fmla="*/ 699 w 3734"/>
                <a:gd name="T13" fmla="*/ 464 h 1644"/>
                <a:gd name="T14" fmla="*/ 676 w 3734"/>
                <a:gd name="T15" fmla="*/ 425 h 1644"/>
                <a:gd name="T16" fmla="*/ 628 w 3734"/>
                <a:gd name="T17" fmla="*/ 432 h 1644"/>
                <a:gd name="T18" fmla="*/ 572 w 3734"/>
                <a:gd name="T19" fmla="*/ 420 h 1644"/>
                <a:gd name="T20" fmla="*/ 84 w 3734"/>
                <a:gd name="T21" fmla="*/ 405 h 1644"/>
                <a:gd name="T22" fmla="*/ 41 w 3734"/>
                <a:gd name="T23" fmla="*/ 369 h 1644"/>
                <a:gd name="T24" fmla="*/ 49 w 3734"/>
                <a:gd name="T25" fmla="*/ 341 h 1644"/>
                <a:gd name="T26" fmla="*/ 47 w 3734"/>
                <a:gd name="T27" fmla="*/ 304 h 1644"/>
                <a:gd name="T28" fmla="*/ 84 w 3734"/>
                <a:gd name="T29" fmla="*/ 282 h 1644"/>
                <a:gd name="T30" fmla="*/ 81 w 3734"/>
                <a:gd name="T31" fmla="*/ 245 h 1644"/>
                <a:gd name="T32" fmla="*/ 41 w 3734"/>
                <a:gd name="T33" fmla="*/ 218 h 1644"/>
                <a:gd name="T34" fmla="*/ 194 w 3734"/>
                <a:gd name="T35" fmla="*/ 37 h 1644"/>
                <a:gd name="T36" fmla="*/ 370 w 3734"/>
                <a:gd name="T37" fmla="*/ 34 h 1644"/>
                <a:gd name="T38" fmla="*/ 418 w 3734"/>
                <a:gd name="T39" fmla="*/ 38 h 1644"/>
                <a:gd name="T40" fmla="*/ 530 w 3734"/>
                <a:gd name="T41" fmla="*/ 54 h 1644"/>
                <a:gd name="T42" fmla="*/ 572 w 3734"/>
                <a:gd name="T43" fmla="*/ 68 h 1644"/>
                <a:gd name="T44" fmla="*/ 670 w 3734"/>
                <a:gd name="T45" fmla="*/ 63 h 1644"/>
                <a:gd name="T46" fmla="*/ 738 w 3734"/>
                <a:gd name="T47" fmla="*/ 71 h 1644"/>
                <a:gd name="T48" fmla="*/ 763 w 3734"/>
                <a:gd name="T49" fmla="*/ 71 h 1644"/>
                <a:gd name="T50" fmla="*/ 813 w 3734"/>
                <a:gd name="T51" fmla="*/ 40 h 1644"/>
                <a:gd name="T52" fmla="*/ 835 w 3734"/>
                <a:gd name="T53" fmla="*/ 1 h 1644"/>
                <a:gd name="T54" fmla="*/ 853 w 3734"/>
                <a:gd name="T55" fmla="*/ 34 h 1644"/>
                <a:gd name="T56" fmla="*/ 860 w 3734"/>
                <a:gd name="T57" fmla="*/ 54 h 1644"/>
                <a:gd name="T58" fmla="*/ 876 w 3734"/>
                <a:gd name="T59" fmla="*/ 64 h 1644"/>
                <a:gd name="T60" fmla="*/ 933 w 3734"/>
                <a:gd name="T61" fmla="*/ 40 h 1644"/>
                <a:gd name="T62" fmla="*/ 980 w 3734"/>
                <a:gd name="T63" fmla="*/ 44 h 1644"/>
                <a:gd name="T64" fmla="*/ 930 w 3734"/>
                <a:gd name="T65" fmla="*/ 89 h 1644"/>
                <a:gd name="T66" fmla="*/ 900 w 3734"/>
                <a:gd name="T67" fmla="*/ 95 h 1644"/>
                <a:gd name="T68" fmla="*/ 829 w 3734"/>
                <a:gd name="T69" fmla="*/ 100 h 1644"/>
                <a:gd name="T70" fmla="*/ 807 w 3734"/>
                <a:gd name="T71" fmla="*/ 132 h 1644"/>
                <a:gd name="T72" fmla="*/ 753 w 3734"/>
                <a:gd name="T73" fmla="*/ 154 h 1644"/>
                <a:gd name="T74" fmla="*/ 673 w 3734"/>
                <a:gd name="T75" fmla="*/ 205 h 1644"/>
                <a:gd name="T76" fmla="*/ 680 w 3734"/>
                <a:gd name="T77" fmla="*/ 260 h 1644"/>
                <a:gd name="T78" fmla="*/ 762 w 3734"/>
                <a:gd name="T79" fmla="*/ 297 h 1644"/>
                <a:gd name="T80" fmla="*/ 788 w 3734"/>
                <a:gd name="T81" fmla="*/ 347 h 1644"/>
                <a:gd name="T82" fmla="*/ 844 w 3734"/>
                <a:gd name="T83" fmla="*/ 324 h 1644"/>
                <a:gd name="T84" fmla="*/ 919 w 3734"/>
                <a:gd name="T85" fmla="*/ 257 h 1644"/>
                <a:gd name="T86" fmla="*/ 935 w 3734"/>
                <a:gd name="T87" fmla="*/ 196 h 1644"/>
                <a:gd name="T88" fmla="*/ 1018 w 3734"/>
                <a:gd name="T89" fmla="*/ 164 h 1644"/>
                <a:gd name="T90" fmla="*/ 1057 w 3734"/>
                <a:gd name="T91" fmla="*/ 194 h 1644"/>
                <a:gd name="T92" fmla="*/ 1041 w 3734"/>
                <a:gd name="T93" fmla="*/ 241 h 1644"/>
                <a:gd name="T94" fmla="*/ 1127 w 3734"/>
                <a:gd name="T95" fmla="*/ 201 h 1644"/>
                <a:gd name="T96" fmla="*/ 1144 w 3734"/>
                <a:gd name="T97" fmla="*/ 254 h 1644"/>
                <a:gd name="T98" fmla="*/ 1182 w 3734"/>
                <a:gd name="T99" fmla="*/ 303 h 1644"/>
                <a:gd name="T100" fmla="*/ 1167 w 3734"/>
                <a:gd name="T101" fmla="*/ 315 h 1644"/>
                <a:gd name="T102" fmla="*/ 1192 w 3734"/>
                <a:gd name="T103" fmla="*/ 337 h 1644"/>
                <a:gd name="T104" fmla="*/ 1148 w 3734"/>
                <a:gd name="T105" fmla="*/ 363 h 1644"/>
                <a:gd name="T106" fmla="*/ 1017 w 3734"/>
                <a:gd name="T107" fmla="*/ 383 h 1644"/>
                <a:gd name="T108" fmla="*/ 921 w 3734"/>
                <a:gd name="T109" fmla="*/ 438 h 1644"/>
                <a:gd name="T110" fmla="*/ 937 w 3734"/>
                <a:gd name="T111" fmla="*/ 438 h 1644"/>
                <a:gd name="T112" fmla="*/ 1038 w 3734"/>
                <a:gd name="T113" fmla="*/ 412 h 1644"/>
                <a:gd name="T114" fmla="*/ 989 w 3734"/>
                <a:gd name="T115" fmla="*/ 426 h 1644"/>
                <a:gd name="T116" fmla="*/ 1013 w 3734"/>
                <a:gd name="T117" fmla="*/ 456 h 1644"/>
                <a:gd name="T118" fmla="*/ 1048 w 3734"/>
                <a:gd name="T119" fmla="*/ 483 h 1644"/>
                <a:gd name="T120" fmla="*/ 974 w 3734"/>
                <a:gd name="T121" fmla="*/ 513 h 1644"/>
                <a:gd name="T122" fmla="*/ 1029 w 3734"/>
                <a:gd name="T123" fmla="*/ 481 h 1644"/>
                <a:gd name="T124" fmla="*/ 973 w 3734"/>
                <a:gd name="T125" fmla="*/ 487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grpSp>
      <p:sp>
        <p:nvSpPr>
          <p:cNvPr id="984" name="Freeform 434">
            <a:extLst>
              <a:ext uri="{FF2B5EF4-FFF2-40B4-BE49-F238E27FC236}">
                <a16:creationId xmlns:a16="http://schemas.microsoft.com/office/drawing/2014/main" id="{798CA9FF-63D5-4079-8FE1-D81D35B7B357}"/>
              </a:ext>
            </a:extLst>
          </p:cNvPr>
          <p:cNvSpPr>
            <a:spLocks/>
          </p:cNvSpPr>
          <p:nvPr>
            <p:custDataLst>
              <p:tags r:id="rId275"/>
            </p:custDataLst>
          </p:nvPr>
        </p:nvSpPr>
        <p:spPr bwMode="auto">
          <a:xfrm>
            <a:off x="9236905" y="7335843"/>
            <a:ext cx="269470" cy="336838"/>
          </a:xfrm>
          <a:custGeom>
            <a:avLst/>
            <a:gdLst>
              <a:gd name="T0" fmla="*/ 115257 w 292"/>
              <a:gd name="T1" fmla="*/ 5154 h 308"/>
              <a:gd name="T2" fmla="*/ 120041 w 292"/>
              <a:gd name="T3" fmla="*/ 19071 h 308"/>
              <a:gd name="T4" fmla="*/ 124390 w 292"/>
              <a:gd name="T5" fmla="*/ 46903 h 308"/>
              <a:gd name="T6" fmla="*/ 127000 w 292"/>
              <a:gd name="T7" fmla="*/ 74221 h 308"/>
              <a:gd name="T8" fmla="*/ 126565 w 292"/>
              <a:gd name="T9" fmla="*/ 82983 h 308"/>
              <a:gd name="T10" fmla="*/ 124390 w 292"/>
              <a:gd name="T11" fmla="*/ 92261 h 308"/>
              <a:gd name="T12" fmla="*/ 116997 w 292"/>
              <a:gd name="T13" fmla="*/ 106177 h 308"/>
              <a:gd name="T14" fmla="*/ 100469 w 292"/>
              <a:gd name="T15" fmla="*/ 95353 h 308"/>
              <a:gd name="T16" fmla="*/ 71764 w 292"/>
              <a:gd name="T17" fmla="*/ 132979 h 308"/>
              <a:gd name="T18" fmla="*/ 57411 w 292"/>
              <a:gd name="T19" fmla="*/ 143287 h 308"/>
              <a:gd name="T20" fmla="*/ 25661 w 292"/>
              <a:gd name="T21" fmla="*/ 152565 h 308"/>
              <a:gd name="T22" fmla="*/ 13918 w 292"/>
              <a:gd name="T23" fmla="*/ 158750 h 308"/>
              <a:gd name="T24" fmla="*/ 2610 w 292"/>
              <a:gd name="T25" fmla="*/ 158750 h 308"/>
              <a:gd name="T26" fmla="*/ 3914 w 292"/>
              <a:gd name="T27" fmla="*/ 153080 h 308"/>
              <a:gd name="T28" fmla="*/ 4784 w 292"/>
              <a:gd name="T29" fmla="*/ 147411 h 308"/>
              <a:gd name="T30" fmla="*/ 3045 w 292"/>
              <a:gd name="T31" fmla="*/ 136587 h 308"/>
              <a:gd name="T32" fmla="*/ 870 w 292"/>
              <a:gd name="T33" fmla="*/ 126794 h 308"/>
              <a:gd name="T34" fmla="*/ 0 w 292"/>
              <a:gd name="T35" fmla="*/ 117516 h 308"/>
              <a:gd name="T36" fmla="*/ 1305 w 292"/>
              <a:gd name="T37" fmla="*/ 105662 h 308"/>
              <a:gd name="T38" fmla="*/ 5219 w 292"/>
              <a:gd name="T39" fmla="*/ 96899 h 308"/>
              <a:gd name="T40" fmla="*/ 11308 w 292"/>
              <a:gd name="T41" fmla="*/ 89683 h 308"/>
              <a:gd name="T42" fmla="*/ 18267 w 292"/>
              <a:gd name="T43" fmla="*/ 82983 h 308"/>
              <a:gd name="T44" fmla="*/ 33490 w 292"/>
              <a:gd name="T45" fmla="*/ 69582 h 308"/>
              <a:gd name="T46" fmla="*/ 40449 w 292"/>
              <a:gd name="T47" fmla="*/ 61335 h 308"/>
              <a:gd name="T48" fmla="*/ 45668 w 292"/>
              <a:gd name="T49" fmla="*/ 50511 h 308"/>
              <a:gd name="T50" fmla="*/ 42623 w 292"/>
              <a:gd name="T51" fmla="*/ 49481 h 308"/>
              <a:gd name="T52" fmla="*/ 40014 w 292"/>
              <a:gd name="T53" fmla="*/ 46903 h 308"/>
              <a:gd name="T54" fmla="*/ 35664 w 292"/>
              <a:gd name="T55" fmla="*/ 37626 h 308"/>
              <a:gd name="T56" fmla="*/ 32185 w 292"/>
              <a:gd name="T57" fmla="*/ 25771 h 308"/>
              <a:gd name="T58" fmla="*/ 31315 w 292"/>
              <a:gd name="T59" fmla="*/ 12370 h 308"/>
              <a:gd name="T60" fmla="*/ 39144 w 292"/>
              <a:gd name="T61" fmla="*/ 9793 h 308"/>
              <a:gd name="T62" fmla="*/ 45668 w 292"/>
              <a:gd name="T63" fmla="*/ 10308 h 308"/>
              <a:gd name="T64" fmla="*/ 57411 w 292"/>
              <a:gd name="T65" fmla="*/ 12370 h 308"/>
              <a:gd name="T66" fmla="*/ 73503 w 292"/>
              <a:gd name="T67" fmla="*/ 10824 h 308"/>
              <a:gd name="T68" fmla="*/ 91336 w 292"/>
              <a:gd name="T69" fmla="*/ 6185 h 308"/>
              <a:gd name="T70" fmla="*/ 112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985" name="Freeform 435">
            <a:extLst>
              <a:ext uri="{FF2B5EF4-FFF2-40B4-BE49-F238E27FC236}">
                <a16:creationId xmlns:a16="http://schemas.microsoft.com/office/drawing/2014/main" id="{9FD24ACD-F116-4A50-86DA-C2793A4ABCBE}"/>
              </a:ext>
            </a:extLst>
          </p:cNvPr>
          <p:cNvSpPr>
            <a:spLocks/>
          </p:cNvSpPr>
          <p:nvPr>
            <p:custDataLst>
              <p:tags r:id="rId276"/>
            </p:custDataLst>
          </p:nvPr>
        </p:nvSpPr>
        <p:spPr bwMode="auto">
          <a:xfrm>
            <a:off x="9462585" y="7655838"/>
            <a:ext cx="13474" cy="121262"/>
          </a:xfrm>
          <a:custGeom>
            <a:avLst/>
            <a:gdLst>
              <a:gd name="T0" fmla="*/ 4989 w 14"/>
              <a:gd name="T1" fmla="*/ 0 h 7"/>
              <a:gd name="T2" fmla="*/ 5896 w 14"/>
              <a:gd name="T3" fmla="*/ 24493 h 7"/>
              <a:gd name="T4" fmla="*/ 6350 w 14"/>
              <a:gd name="T5" fmla="*/ 57150 h 7"/>
              <a:gd name="T6" fmla="*/ 0 w 14"/>
              <a:gd name="T7" fmla="*/ 57150 h 7"/>
              <a:gd name="T8" fmla="*/ 4989 w 1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7">
                <a:moveTo>
                  <a:pt x="11" y="0"/>
                </a:moveTo>
                <a:lnTo>
                  <a:pt x="13" y="3"/>
                </a:lnTo>
                <a:lnTo>
                  <a:pt x="14" y="7"/>
                </a:lnTo>
                <a:lnTo>
                  <a:pt x="0" y="7"/>
                </a:lnTo>
                <a:lnTo>
                  <a:pt x="11"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986" name="Freeform 436">
            <a:extLst>
              <a:ext uri="{FF2B5EF4-FFF2-40B4-BE49-F238E27FC236}">
                <a16:creationId xmlns:a16="http://schemas.microsoft.com/office/drawing/2014/main" id="{963C8AB4-AC71-44EF-88ED-364A7965345D}"/>
              </a:ext>
            </a:extLst>
          </p:cNvPr>
          <p:cNvSpPr>
            <a:spLocks/>
          </p:cNvSpPr>
          <p:nvPr>
            <p:custDataLst>
              <p:tags r:id="rId277"/>
            </p:custDataLst>
          </p:nvPr>
        </p:nvSpPr>
        <p:spPr bwMode="auto">
          <a:xfrm>
            <a:off x="8381338" y="6035650"/>
            <a:ext cx="528834" cy="1061037"/>
          </a:xfrm>
          <a:custGeom>
            <a:avLst/>
            <a:gdLst>
              <a:gd name="T0" fmla="*/ 34747 w 581"/>
              <a:gd name="T1" fmla="*/ 60217 h 955"/>
              <a:gd name="T2" fmla="*/ 44614 w 581"/>
              <a:gd name="T3" fmla="*/ 79591 h 955"/>
              <a:gd name="T4" fmla="*/ 47617 w 581"/>
              <a:gd name="T5" fmla="*/ 94253 h 955"/>
              <a:gd name="T6" fmla="*/ 40753 w 581"/>
              <a:gd name="T7" fmla="*/ 122528 h 955"/>
              <a:gd name="T8" fmla="*/ 41182 w 581"/>
              <a:gd name="T9" fmla="*/ 170178 h 955"/>
              <a:gd name="T10" fmla="*/ 39895 w 581"/>
              <a:gd name="T11" fmla="*/ 190076 h 955"/>
              <a:gd name="T12" fmla="*/ 35176 w 581"/>
              <a:gd name="T13" fmla="*/ 207356 h 955"/>
              <a:gd name="T14" fmla="*/ 25310 w 581"/>
              <a:gd name="T15" fmla="*/ 224635 h 955"/>
              <a:gd name="T16" fmla="*/ 13298 w 581"/>
              <a:gd name="T17" fmla="*/ 241391 h 955"/>
              <a:gd name="T18" fmla="*/ 7293 w 581"/>
              <a:gd name="T19" fmla="*/ 251864 h 955"/>
              <a:gd name="T20" fmla="*/ 858 w 581"/>
              <a:gd name="T21" fmla="*/ 283805 h 955"/>
              <a:gd name="T22" fmla="*/ 29600 w 581"/>
              <a:gd name="T23" fmla="*/ 322553 h 955"/>
              <a:gd name="T24" fmla="*/ 29600 w 581"/>
              <a:gd name="T25" fmla="*/ 331978 h 955"/>
              <a:gd name="T26" fmla="*/ 31744 w 581"/>
              <a:gd name="T27" fmla="*/ 348211 h 955"/>
              <a:gd name="T28" fmla="*/ 31744 w 581"/>
              <a:gd name="T29" fmla="*/ 364443 h 955"/>
              <a:gd name="T30" fmla="*/ 33460 w 581"/>
              <a:gd name="T31" fmla="*/ 383817 h 955"/>
              <a:gd name="T32" fmla="*/ 40324 w 581"/>
              <a:gd name="T33" fmla="*/ 407380 h 955"/>
              <a:gd name="T34" fmla="*/ 45043 w 581"/>
              <a:gd name="T35" fmla="*/ 414711 h 955"/>
              <a:gd name="T36" fmla="*/ 29171 w 581"/>
              <a:gd name="T37" fmla="*/ 415758 h 955"/>
              <a:gd name="T38" fmla="*/ 18017 w 581"/>
              <a:gd name="T39" fmla="*/ 419947 h 955"/>
              <a:gd name="T40" fmla="*/ 15443 w 581"/>
              <a:gd name="T41" fmla="*/ 425184 h 955"/>
              <a:gd name="T42" fmla="*/ 18017 w 581"/>
              <a:gd name="T43" fmla="*/ 440892 h 955"/>
              <a:gd name="T44" fmla="*/ 29600 w 581"/>
              <a:gd name="T45" fmla="*/ 458696 h 955"/>
              <a:gd name="T46" fmla="*/ 37321 w 581"/>
              <a:gd name="T47" fmla="*/ 470739 h 955"/>
              <a:gd name="T48" fmla="*/ 42898 w 581"/>
              <a:gd name="T49" fmla="*/ 485400 h 955"/>
              <a:gd name="T50" fmla="*/ 66921 w 581"/>
              <a:gd name="T51" fmla="*/ 500062 h 955"/>
              <a:gd name="T52" fmla="*/ 81077 w 581"/>
              <a:gd name="T53" fmla="*/ 493255 h 955"/>
              <a:gd name="T54" fmla="*/ 106387 w 581"/>
              <a:gd name="T55" fmla="*/ 486448 h 955"/>
              <a:gd name="T56" fmla="*/ 119685 w 581"/>
              <a:gd name="T57" fmla="*/ 482259 h 955"/>
              <a:gd name="T58" fmla="*/ 127407 w 581"/>
              <a:gd name="T59" fmla="*/ 473357 h 955"/>
              <a:gd name="T60" fmla="*/ 129552 w 581"/>
              <a:gd name="T61" fmla="*/ 467074 h 955"/>
              <a:gd name="T62" fmla="*/ 129552 w 581"/>
              <a:gd name="T63" fmla="*/ 454507 h 955"/>
              <a:gd name="T64" fmla="*/ 144995 w 581"/>
              <a:gd name="T65" fmla="*/ 456077 h 955"/>
              <a:gd name="T66" fmla="*/ 157435 w 581"/>
              <a:gd name="T67" fmla="*/ 453459 h 955"/>
              <a:gd name="T68" fmla="*/ 166873 w 581"/>
              <a:gd name="T69" fmla="*/ 448223 h 955"/>
              <a:gd name="T70" fmla="*/ 173737 w 581"/>
              <a:gd name="T71" fmla="*/ 440892 h 955"/>
              <a:gd name="T72" fmla="*/ 185319 w 581"/>
              <a:gd name="T73" fmla="*/ 422565 h 955"/>
              <a:gd name="T74" fmla="*/ 197330 w 581"/>
              <a:gd name="T75" fmla="*/ 404762 h 955"/>
              <a:gd name="T76" fmla="*/ 204623 w 581"/>
              <a:gd name="T77" fmla="*/ 397955 h 955"/>
              <a:gd name="T78" fmla="*/ 215348 w 581"/>
              <a:gd name="T79" fmla="*/ 393766 h 955"/>
              <a:gd name="T80" fmla="*/ 223498 w 581"/>
              <a:gd name="T81" fmla="*/ 390101 h 955"/>
              <a:gd name="T82" fmla="*/ 214061 w 581"/>
              <a:gd name="T83" fmla="*/ 364967 h 955"/>
              <a:gd name="T84" fmla="*/ 207626 w 581"/>
              <a:gd name="T85" fmla="*/ 341927 h 955"/>
              <a:gd name="T86" fmla="*/ 202478 w 581"/>
              <a:gd name="T87" fmla="*/ 326218 h 955"/>
              <a:gd name="T88" fmla="*/ 206339 w 581"/>
              <a:gd name="T89" fmla="*/ 319411 h 955"/>
              <a:gd name="T90" fmla="*/ 208913 w 581"/>
              <a:gd name="T91" fmla="*/ 303179 h 955"/>
              <a:gd name="T92" fmla="*/ 211916 w 581"/>
              <a:gd name="T93" fmla="*/ 283281 h 955"/>
              <a:gd name="T94" fmla="*/ 216635 w 581"/>
              <a:gd name="T95" fmla="*/ 271761 h 955"/>
              <a:gd name="T96" fmla="*/ 228217 w 581"/>
              <a:gd name="T97" fmla="*/ 254482 h 955"/>
              <a:gd name="T98" fmla="*/ 244518 w 581"/>
              <a:gd name="T99" fmla="*/ 241391 h 955"/>
              <a:gd name="T100" fmla="*/ 55338 w 581"/>
              <a:gd name="T101" fmla="*/ 0 h 955"/>
              <a:gd name="T102" fmla="*/ 42040 w 581"/>
              <a:gd name="T103" fmla="*/ 2618 h 955"/>
              <a:gd name="T104" fmla="*/ 29600 w 581"/>
              <a:gd name="T105" fmla="*/ 1256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grpSp>
        <p:nvGrpSpPr>
          <p:cNvPr id="987" name="Group 438">
            <a:extLst>
              <a:ext uri="{FF2B5EF4-FFF2-40B4-BE49-F238E27FC236}">
                <a16:creationId xmlns:a16="http://schemas.microsoft.com/office/drawing/2014/main" id="{931E2729-A94E-498D-9AFE-11FD7DE11411}"/>
              </a:ext>
            </a:extLst>
          </p:cNvPr>
          <p:cNvGrpSpPr>
            <a:grpSpLocks/>
          </p:cNvGrpSpPr>
          <p:nvPr>
            <p:custDataLst>
              <p:tags r:id="rId278"/>
            </p:custDataLst>
          </p:nvPr>
        </p:nvGrpSpPr>
        <p:grpSpPr bwMode="auto">
          <a:xfrm>
            <a:off x="4086659" y="9097502"/>
            <a:ext cx="815147" cy="2189444"/>
            <a:chOff x="1589" y="3126"/>
            <a:chExt cx="290" cy="657"/>
          </a:xfrm>
          <a:solidFill>
            <a:schemeClr val="bg2">
              <a:lumMod val="50000"/>
              <a:alpha val="18000"/>
            </a:schemeClr>
          </a:solidFill>
        </p:grpSpPr>
        <p:sp>
          <p:nvSpPr>
            <p:cNvPr id="988" name="Freeform 439">
              <a:extLst>
                <a:ext uri="{FF2B5EF4-FFF2-40B4-BE49-F238E27FC236}">
                  <a16:creationId xmlns:a16="http://schemas.microsoft.com/office/drawing/2014/main" id="{F95DDBBA-250A-448B-9FE0-3BD4519FB0A6}"/>
                </a:ext>
              </a:extLst>
            </p:cNvPr>
            <p:cNvSpPr>
              <a:spLocks/>
            </p:cNvSpPr>
            <p:nvPr/>
          </p:nvSpPr>
          <p:spPr bwMode="auto">
            <a:xfrm>
              <a:off x="1748" y="3531"/>
              <a:ext cx="15" cy="17"/>
            </a:xfrm>
            <a:custGeom>
              <a:avLst/>
              <a:gdLst>
                <a:gd name="T0" fmla="*/ 15 w 46"/>
                <a:gd name="T1" fmla="*/ 4 h 51"/>
                <a:gd name="T2" fmla="*/ 6 w 46"/>
                <a:gd name="T3" fmla="*/ 0 h 51"/>
                <a:gd name="T4" fmla="*/ 4 w 46"/>
                <a:gd name="T5" fmla="*/ 2 h 51"/>
                <a:gd name="T6" fmla="*/ 2 w 46"/>
                <a:gd name="T7" fmla="*/ 3 h 51"/>
                <a:gd name="T8" fmla="*/ 1 w 46"/>
                <a:gd name="T9" fmla="*/ 4 h 51"/>
                <a:gd name="T10" fmla="*/ 1 w 46"/>
                <a:gd name="T11" fmla="*/ 5 h 51"/>
                <a:gd name="T12" fmla="*/ 0 w 46"/>
                <a:gd name="T13" fmla="*/ 5 h 51"/>
                <a:gd name="T14" fmla="*/ 0 w 46"/>
                <a:gd name="T15" fmla="*/ 6 h 51"/>
                <a:gd name="T16" fmla="*/ 0 w 46"/>
                <a:gd name="T17" fmla="*/ 8 h 51"/>
                <a:gd name="T18" fmla="*/ 1 w 46"/>
                <a:gd name="T19" fmla="*/ 10 h 51"/>
                <a:gd name="T20" fmla="*/ 1 w 46"/>
                <a:gd name="T21" fmla="*/ 12 h 51"/>
                <a:gd name="T22" fmla="*/ 2 w 46"/>
                <a:gd name="T23" fmla="*/ 14 h 51"/>
                <a:gd name="T24" fmla="*/ 3 w 46"/>
                <a:gd name="T25" fmla="*/ 15 h 51"/>
                <a:gd name="T26" fmla="*/ 4 w 46"/>
                <a:gd name="T27" fmla="*/ 16 h 51"/>
                <a:gd name="T28" fmla="*/ 5 w 46"/>
                <a:gd name="T29" fmla="*/ 17 h 51"/>
                <a:gd name="T30" fmla="*/ 5 w 46"/>
                <a:gd name="T31" fmla="*/ 17 h 51"/>
                <a:gd name="T32" fmla="*/ 6 w 46"/>
                <a:gd name="T33" fmla="*/ 17 h 51"/>
                <a:gd name="T34" fmla="*/ 6 w 46"/>
                <a:gd name="T35" fmla="*/ 17 h 51"/>
                <a:gd name="T36" fmla="*/ 11 w 46"/>
                <a:gd name="T37" fmla="*/ 17 h 51"/>
                <a:gd name="T38" fmla="*/ 15 w 46"/>
                <a:gd name="T39" fmla="*/ 17 h 51"/>
                <a:gd name="T40" fmla="*/ 15 w 46"/>
                <a:gd name="T41" fmla="*/ 12 h 51"/>
                <a:gd name="T42" fmla="*/ 15 w 46"/>
                <a:gd name="T43" fmla="*/ 9 h 51"/>
                <a:gd name="T44" fmla="*/ 15 w 46"/>
                <a:gd name="T45" fmla="*/ 6 h 51"/>
                <a:gd name="T46" fmla="*/ 15 w 46"/>
                <a:gd name="T47" fmla="*/ 4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89" name="Freeform 440">
              <a:extLst>
                <a:ext uri="{FF2B5EF4-FFF2-40B4-BE49-F238E27FC236}">
                  <a16:creationId xmlns:a16="http://schemas.microsoft.com/office/drawing/2014/main" id="{2549F5C0-076A-4F37-8D1A-34962F74DF41}"/>
                </a:ext>
              </a:extLst>
            </p:cNvPr>
            <p:cNvSpPr>
              <a:spLocks/>
            </p:cNvSpPr>
            <p:nvPr/>
          </p:nvSpPr>
          <p:spPr bwMode="auto">
            <a:xfrm>
              <a:off x="1759" y="3730"/>
              <a:ext cx="63" cy="53"/>
            </a:xfrm>
            <a:custGeom>
              <a:avLst/>
              <a:gdLst>
                <a:gd name="T0" fmla="*/ 0 w 192"/>
                <a:gd name="T1" fmla="*/ 0 h 158"/>
                <a:gd name="T2" fmla="*/ 0 w 192"/>
                <a:gd name="T3" fmla="*/ 5 h 158"/>
                <a:gd name="T4" fmla="*/ 1 w 192"/>
                <a:gd name="T5" fmla="*/ 9 h 158"/>
                <a:gd name="T6" fmla="*/ 1 w 192"/>
                <a:gd name="T7" fmla="*/ 13 h 158"/>
                <a:gd name="T8" fmla="*/ 2 w 192"/>
                <a:gd name="T9" fmla="*/ 17 h 158"/>
                <a:gd name="T10" fmla="*/ 4 w 192"/>
                <a:gd name="T11" fmla="*/ 20 h 158"/>
                <a:gd name="T12" fmla="*/ 5 w 192"/>
                <a:gd name="T13" fmla="*/ 24 h 158"/>
                <a:gd name="T14" fmla="*/ 7 w 192"/>
                <a:gd name="T15" fmla="*/ 27 h 158"/>
                <a:gd name="T16" fmla="*/ 8 w 192"/>
                <a:gd name="T17" fmla="*/ 30 h 158"/>
                <a:gd name="T18" fmla="*/ 15 w 192"/>
                <a:gd name="T19" fmla="*/ 41 h 158"/>
                <a:gd name="T20" fmla="*/ 22 w 192"/>
                <a:gd name="T21" fmla="*/ 50 h 158"/>
                <a:gd name="T22" fmla="*/ 24 w 192"/>
                <a:gd name="T23" fmla="*/ 51 h 158"/>
                <a:gd name="T24" fmla="*/ 26 w 192"/>
                <a:gd name="T25" fmla="*/ 51 h 158"/>
                <a:gd name="T26" fmla="*/ 28 w 192"/>
                <a:gd name="T27" fmla="*/ 52 h 158"/>
                <a:gd name="T28" fmla="*/ 30 w 192"/>
                <a:gd name="T29" fmla="*/ 52 h 158"/>
                <a:gd name="T30" fmla="*/ 34 w 192"/>
                <a:gd name="T31" fmla="*/ 53 h 158"/>
                <a:gd name="T32" fmla="*/ 39 w 192"/>
                <a:gd name="T33" fmla="*/ 53 h 158"/>
                <a:gd name="T34" fmla="*/ 50 w 192"/>
                <a:gd name="T35" fmla="*/ 52 h 158"/>
                <a:gd name="T36" fmla="*/ 63 w 192"/>
                <a:gd name="T37" fmla="*/ 52 h 158"/>
                <a:gd name="T38" fmla="*/ 60 w 192"/>
                <a:gd name="T39" fmla="*/ 51 h 158"/>
                <a:gd name="T40" fmla="*/ 58 w 192"/>
                <a:gd name="T41" fmla="*/ 51 h 158"/>
                <a:gd name="T42" fmla="*/ 55 w 192"/>
                <a:gd name="T43" fmla="*/ 51 h 158"/>
                <a:gd name="T44" fmla="*/ 53 w 192"/>
                <a:gd name="T45" fmla="*/ 50 h 158"/>
                <a:gd name="T46" fmla="*/ 48 w 192"/>
                <a:gd name="T47" fmla="*/ 48 h 158"/>
                <a:gd name="T48" fmla="*/ 42 w 192"/>
                <a:gd name="T49" fmla="*/ 46 h 158"/>
                <a:gd name="T50" fmla="*/ 38 w 192"/>
                <a:gd name="T51" fmla="*/ 44 h 158"/>
                <a:gd name="T52" fmla="*/ 33 w 192"/>
                <a:gd name="T53" fmla="*/ 40 h 158"/>
                <a:gd name="T54" fmla="*/ 29 w 192"/>
                <a:gd name="T55" fmla="*/ 37 h 158"/>
                <a:gd name="T56" fmla="*/ 25 w 192"/>
                <a:gd name="T57" fmla="*/ 33 h 158"/>
                <a:gd name="T58" fmla="*/ 21 w 192"/>
                <a:gd name="T59" fmla="*/ 29 h 158"/>
                <a:gd name="T60" fmla="*/ 17 w 192"/>
                <a:gd name="T61" fmla="*/ 25 h 158"/>
                <a:gd name="T62" fmla="*/ 14 w 192"/>
                <a:gd name="T63" fmla="*/ 21 h 158"/>
                <a:gd name="T64" fmla="*/ 11 w 192"/>
                <a:gd name="T65" fmla="*/ 17 h 158"/>
                <a:gd name="T66" fmla="*/ 9 w 192"/>
                <a:gd name="T67" fmla="*/ 13 h 158"/>
                <a:gd name="T68" fmla="*/ 7 w 192"/>
                <a:gd name="T69" fmla="*/ 9 h 158"/>
                <a:gd name="T70" fmla="*/ 5 w 192"/>
                <a:gd name="T71" fmla="*/ 5 h 158"/>
                <a:gd name="T72" fmla="*/ 4 w 192"/>
                <a:gd name="T73" fmla="*/ 2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90" name="Freeform 441">
              <a:extLst>
                <a:ext uri="{FF2B5EF4-FFF2-40B4-BE49-F238E27FC236}">
                  <a16:creationId xmlns:a16="http://schemas.microsoft.com/office/drawing/2014/main" id="{304CC868-1CB6-47B5-8F21-F7FD2BE1AF6A}"/>
                </a:ext>
              </a:extLst>
            </p:cNvPr>
            <p:cNvSpPr>
              <a:spLocks/>
            </p:cNvSpPr>
            <p:nvPr/>
          </p:nvSpPr>
          <p:spPr bwMode="auto">
            <a:xfrm>
              <a:off x="1589" y="3126"/>
              <a:ext cx="290" cy="606"/>
            </a:xfrm>
            <a:custGeom>
              <a:avLst/>
              <a:gdLst>
                <a:gd name="T0" fmla="*/ 253 w 884"/>
                <a:gd name="T1" fmla="*/ 138 h 1818"/>
                <a:gd name="T2" fmla="*/ 286 w 884"/>
                <a:gd name="T3" fmla="*/ 114 h 1818"/>
                <a:gd name="T4" fmla="*/ 290 w 884"/>
                <a:gd name="T5" fmla="*/ 77 h 1818"/>
                <a:gd name="T6" fmla="*/ 276 w 884"/>
                <a:gd name="T7" fmla="*/ 64 h 1818"/>
                <a:gd name="T8" fmla="*/ 276 w 884"/>
                <a:gd name="T9" fmla="*/ 87 h 1818"/>
                <a:gd name="T10" fmla="*/ 254 w 884"/>
                <a:gd name="T11" fmla="*/ 109 h 1818"/>
                <a:gd name="T12" fmla="*/ 219 w 884"/>
                <a:gd name="T13" fmla="*/ 110 h 1818"/>
                <a:gd name="T14" fmla="*/ 205 w 884"/>
                <a:gd name="T15" fmla="*/ 97 h 1818"/>
                <a:gd name="T16" fmla="*/ 216 w 884"/>
                <a:gd name="T17" fmla="*/ 72 h 1818"/>
                <a:gd name="T18" fmla="*/ 178 w 884"/>
                <a:gd name="T19" fmla="*/ 49 h 1818"/>
                <a:gd name="T20" fmla="*/ 139 w 884"/>
                <a:gd name="T21" fmla="*/ 29 h 1818"/>
                <a:gd name="T22" fmla="*/ 122 w 884"/>
                <a:gd name="T23" fmla="*/ 3 h 1818"/>
                <a:gd name="T24" fmla="*/ 94 w 884"/>
                <a:gd name="T25" fmla="*/ 7 h 1818"/>
                <a:gd name="T26" fmla="*/ 77 w 884"/>
                <a:gd name="T27" fmla="*/ 8 h 1818"/>
                <a:gd name="T28" fmla="*/ 56 w 884"/>
                <a:gd name="T29" fmla="*/ 3 h 1818"/>
                <a:gd name="T30" fmla="*/ 32 w 884"/>
                <a:gd name="T31" fmla="*/ 18 h 1818"/>
                <a:gd name="T32" fmla="*/ 22 w 884"/>
                <a:gd name="T33" fmla="*/ 39 h 1818"/>
                <a:gd name="T34" fmla="*/ 9 w 884"/>
                <a:gd name="T35" fmla="*/ 60 h 1818"/>
                <a:gd name="T36" fmla="*/ 18 w 884"/>
                <a:gd name="T37" fmla="*/ 84 h 1818"/>
                <a:gd name="T38" fmla="*/ 17 w 884"/>
                <a:gd name="T39" fmla="*/ 106 h 1818"/>
                <a:gd name="T40" fmla="*/ 0 w 884"/>
                <a:gd name="T41" fmla="*/ 144 h 1818"/>
                <a:gd name="T42" fmla="*/ 4 w 884"/>
                <a:gd name="T43" fmla="*/ 203 h 1818"/>
                <a:gd name="T44" fmla="*/ 25 w 884"/>
                <a:gd name="T45" fmla="*/ 232 h 1818"/>
                <a:gd name="T46" fmla="*/ 20 w 884"/>
                <a:gd name="T47" fmla="*/ 251 h 1818"/>
                <a:gd name="T48" fmla="*/ 20 w 884"/>
                <a:gd name="T49" fmla="*/ 269 h 1818"/>
                <a:gd name="T50" fmla="*/ 27 w 884"/>
                <a:gd name="T51" fmla="*/ 283 h 1818"/>
                <a:gd name="T52" fmla="*/ 17 w 884"/>
                <a:gd name="T53" fmla="*/ 300 h 1818"/>
                <a:gd name="T54" fmla="*/ 27 w 884"/>
                <a:gd name="T55" fmla="*/ 328 h 1818"/>
                <a:gd name="T56" fmla="*/ 27 w 884"/>
                <a:gd name="T57" fmla="*/ 352 h 1818"/>
                <a:gd name="T58" fmla="*/ 26 w 884"/>
                <a:gd name="T59" fmla="*/ 384 h 1818"/>
                <a:gd name="T60" fmla="*/ 45 w 884"/>
                <a:gd name="T61" fmla="*/ 422 h 1818"/>
                <a:gd name="T62" fmla="*/ 65 w 884"/>
                <a:gd name="T63" fmla="*/ 465 h 1818"/>
                <a:gd name="T64" fmla="*/ 71 w 884"/>
                <a:gd name="T65" fmla="*/ 488 h 1818"/>
                <a:gd name="T66" fmla="*/ 75 w 884"/>
                <a:gd name="T67" fmla="*/ 509 h 1818"/>
                <a:gd name="T68" fmla="*/ 70 w 884"/>
                <a:gd name="T69" fmla="*/ 530 h 1818"/>
                <a:gd name="T70" fmla="*/ 66 w 884"/>
                <a:gd name="T71" fmla="*/ 548 h 1818"/>
                <a:gd name="T72" fmla="*/ 75 w 884"/>
                <a:gd name="T73" fmla="*/ 573 h 1818"/>
                <a:gd name="T74" fmla="*/ 102 w 884"/>
                <a:gd name="T75" fmla="*/ 591 h 1818"/>
                <a:gd name="T76" fmla="*/ 129 w 884"/>
                <a:gd name="T77" fmla="*/ 599 h 1818"/>
                <a:gd name="T78" fmla="*/ 148 w 884"/>
                <a:gd name="T79" fmla="*/ 595 h 1818"/>
                <a:gd name="T80" fmla="*/ 149 w 884"/>
                <a:gd name="T81" fmla="*/ 568 h 1818"/>
                <a:gd name="T82" fmla="*/ 154 w 884"/>
                <a:gd name="T83" fmla="*/ 537 h 1818"/>
                <a:gd name="T84" fmla="*/ 162 w 884"/>
                <a:gd name="T85" fmla="*/ 503 h 1818"/>
                <a:gd name="T86" fmla="*/ 138 w 884"/>
                <a:gd name="T87" fmla="*/ 495 h 1818"/>
                <a:gd name="T88" fmla="*/ 132 w 884"/>
                <a:gd name="T89" fmla="*/ 477 h 1818"/>
                <a:gd name="T90" fmla="*/ 149 w 884"/>
                <a:gd name="T91" fmla="*/ 465 h 1818"/>
                <a:gd name="T92" fmla="*/ 159 w 884"/>
                <a:gd name="T93" fmla="*/ 444 h 1818"/>
                <a:gd name="T94" fmla="*/ 149 w 884"/>
                <a:gd name="T95" fmla="*/ 408 h 1818"/>
                <a:gd name="T96" fmla="*/ 139 w 884"/>
                <a:gd name="T97" fmla="*/ 380 h 1818"/>
                <a:gd name="T98" fmla="*/ 170 w 884"/>
                <a:gd name="T99" fmla="*/ 389 h 1818"/>
                <a:gd name="T100" fmla="*/ 186 w 884"/>
                <a:gd name="T101" fmla="*/ 384 h 1818"/>
                <a:gd name="T102" fmla="*/ 183 w 884"/>
                <a:gd name="T103" fmla="*/ 359 h 1818"/>
                <a:gd name="T104" fmla="*/ 185 w 884"/>
                <a:gd name="T105" fmla="*/ 343 h 1818"/>
                <a:gd name="T106" fmla="*/ 222 w 884"/>
                <a:gd name="T107" fmla="*/ 341 h 1818"/>
                <a:gd name="T108" fmla="*/ 261 w 884"/>
                <a:gd name="T109" fmla="*/ 324 h 1818"/>
                <a:gd name="T110" fmla="*/ 268 w 884"/>
                <a:gd name="T111" fmla="*/ 294 h 1818"/>
                <a:gd name="T112" fmla="*/ 256 w 884"/>
                <a:gd name="T113" fmla="*/ 284 h 1818"/>
                <a:gd name="T114" fmla="*/ 249 w 884"/>
                <a:gd name="T115" fmla="*/ 270 h 1818"/>
                <a:gd name="T116" fmla="*/ 227 w 884"/>
                <a:gd name="T117" fmla="*/ 251 h 1818"/>
                <a:gd name="T118" fmla="*/ 230 w 884"/>
                <a:gd name="T119" fmla="*/ 177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grpSp>
      <p:sp>
        <p:nvSpPr>
          <p:cNvPr id="991" name="Freeform 442">
            <a:extLst>
              <a:ext uri="{FF2B5EF4-FFF2-40B4-BE49-F238E27FC236}">
                <a16:creationId xmlns:a16="http://schemas.microsoft.com/office/drawing/2014/main" id="{D43595EF-9379-4B32-82D4-C0F39B9F7AB7}"/>
              </a:ext>
            </a:extLst>
          </p:cNvPr>
          <p:cNvSpPr>
            <a:spLocks/>
          </p:cNvSpPr>
          <p:nvPr>
            <p:custDataLst>
              <p:tags r:id="rId279"/>
            </p:custDataLst>
          </p:nvPr>
        </p:nvSpPr>
        <p:spPr bwMode="auto">
          <a:xfrm>
            <a:off x="9836476" y="4752298"/>
            <a:ext cx="262733" cy="232419"/>
          </a:xfrm>
          <a:custGeom>
            <a:avLst/>
            <a:gdLst>
              <a:gd name="T0" fmla="*/ 14646 w 279"/>
              <a:gd name="T1" fmla="*/ 46715 h 204"/>
              <a:gd name="T2" fmla="*/ 26185 w 279"/>
              <a:gd name="T3" fmla="*/ 76247 h 204"/>
              <a:gd name="T4" fmla="*/ 26185 w 279"/>
              <a:gd name="T5" fmla="*/ 96114 h 204"/>
              <a:gd name="T6" fmla="*/ 45269 w 279"/>
              <a:gd name="T7" fmla="*/ 105242 h 204"/>
              <a:gd name="T8" fmla="*/ 54146 w 279"/>
              <a:gd name="T9" fmla="*/ 108464 h 204"/>
              <a:gd name="T10" fmla="*/ 61691 w 279"/>
              <a:gd name="T11" fmla="*/ 109538 h 204"/>
              <a:gd name="T12" fmla="*/ 64797 w 279"/>
              <a:gd name="T13" fmla="*/ 107927 h 204"/>
              <a:gd name="T14" fmla="*/ 67016 w 279"/>
              <a:gd name="T15" fmla="*/ 104168 h 204"/>
              <a:gd name="T16" fmla="*/ 71011 w 279"/>
              <a:gd name="T17" fmla="*/ 92356 h 204"/>
              <a:gd name="T18" fmla="*/ 76337 w 279"/>
              <a:gd name="T19" fmla="*/ 80006 h 204"/>
              <a:gd name="T20" fmla="*/ 80331 w 279"/>
              <a:gd name="T21" fmla="*/ 75710 h 204"/>
              <a:gd name="T22" fmla="*/ 85213 w 279"/>
              <a:gd name="T23" fmla="*/ 73025 h 204"/>
              <a:gd name="T24" fmla="*/ 92758 w 279"/>
              <a:gd name="T25" fmla="*/ 74099 h 204"/>
              <a:gd name="T26" fmla="*/ 97640 w 279"/>
              <a:gd name="T27" fmla="*/ 76247 h 204"/>
              <a:gd name="T28" fmla="*/ 101190 w 279"/>
              <a:gd name="T29" fmla="*/ 79469 h 204"/>
              <a:gd name="T30" fmla="*/ 102522 w 279"/>
              <a:gd name="T31" fmla="*/ 82690 h 204"/>
              <a:gd name="T32" fmla="*/ 103853 w 279"/>
              <a:gd name="T33" fmla="*/ 88060 h 204"/>
              <a:gd name="T34" fmla="*/ 102522 w 279"/>
              <a:gd name="T35" fmla="*/ 89671 h 204"/>
              <a:gd name="T36" fmla="*/ 103853 w 279"/>
              <a:gd name="T37" fmla="*/ 82154 h 204"/>
              <a:gd name="T38" fmla="*/ 105628 w 279"/>
              <a:gd name="T39" fmla="*/ 75173 h 204"/>
              <a:gd name="T40" fmla="*/ 108735 w 279"/>
              <a:gd name="T41" fmla="*/ 62823 h 204"/>
              <a:gd name="T42" fmla="*/ 112730 w 279"/>
              <a:gd name="T43" fmla="*/ 61749 h 204"/>
              <a:gd name="T44" fmla="*/ 117168 w 279"/>
              <a:gd name="T45" fmla="*/ 59065 h 204"/>
              <a:gd name="T46" fmla="*/ 123825 w 279"/>
              <a:gd name="T47" fmla="*/ 53158 h 204"/>
              <a:gd name="T48" fmla="*/ 111842 w 279"/>
              <a:gd name="T49" fmla="*/ 40271 h 204"/>
              <a:gd name="T50" fmla="*/ 100747 w 279"/>
              <a:gd name="T51" fmla="*/ 31143 h 204"/>
              <a:gd name="T52" fmla="*/ 90539 w 279"/>
              <a:gd name="T53" fmla="*/ 23626 h 204"/>
              <a:gd name="T54" fmla="*/ 82106 w 279"/>
              <a:gd name="T55" fmla="*/ 16645 h 204"/>
              <a:gd name="T56" fmla="*/ 64797 w 279"/>
              <a:gd name="T57" fmla="*/ 36513 h 204"/>
              <a:gd name="T58" fmla="*/ 35062 w 279"/>
              <a:gd name="T59" fmla="*/ 13424 h 204"/>
              <a:gd name="T60" fmla="*/ 23078 w 279"/>
              <a:gd name="T61" fmla="*/ 6443 h 204"/>
              <a:gd name="T62" fmla="*/ 20416 w 279"/>
              <a:gd name="T63" fmla="*/ 33291 h 204"/>
              <a:gd name="T64" fmla="*/ 0 w 279"/>
              <a:gd name="T65" fmla="*/ 30069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992" name="Freeform 443">
            <a:extLst>
              <a:ext uri="{FF2B5EF4-FFF2-40B4-BE49-F238E27FC236}">
                <a16:creationId xmlns:a16="http://schemas.microsoft.com/office/drawing/2014/main" id="{F6FE7564-8CCE-4298-AFA5-F2D0CD699D92}"/>
              </a:ext>
            </a:extLst>
          </p:cNvPr>
          <p:cNvSpPr>
            <a:spLocks/>
          </p:cNvSpPr>
          <p:nvPr>
            <p:custDataLst>
              <p:tags r:id="rId280"/>
            </p:custDataLst>
          </p:nvPr>
        </p:nvSpPr>
        <p:spPr bwMode="auto">
          <a:xfrm>
            <a:off x="8704702" y="3846207"/>
            <a:ext cx="444626" cy="319995"/>
          </a:xfrm>
          <a:custGeom>
            <a:avLst/>
            <a:gdLst>
              <a:gd name="T0" fmla="*/ 108880 w 485"/>
              <a:gd name="T1" fmla="*/ 10365 h 291"/>
              <a:gd name="T2" fmla="*/ 129619 w 485"/>
              <a:gd name="T3" fmla="*/ 22803 h 291"/>
              <a:gd name="T4" fmla="*/ 160727 w 485"/>
              <a:gd name="T5" fmla="*/ 22803 h 291"/>
              <a:gd name="T6" fmla="*/ 183626 w 485"/>
              <a:gd name="T7" fmla="*/ 67891 h 291"/>
              <a:gd name="T8" fmla="*/ 209550 w 485"/>
              <a:gd name="T9" fmla="*/ 86548 h 291"/>
              <a:gd name="T10" fmla="*/ 178009 w 485"/>
              <a:gd name="T11" fmla="*/ 89658 h 291"/>
              <a:gd name="T12" fmla="*/ 187083 w 485"/>
              <a:gd name="T13" fmla="*/ 108833 h 291"/>
              <a:gd name="T14" fmla="*/ 169368 w 485"/>
              <a:gd name="T15" fmla="*/ 124899 h 291"/>
              <a:gd name="T16" fmla="*/ 166344 w 485"/>
              <a:gd name="T17" fmla="*/ 150812 h 291"/>
              <a:gd name="T18" fmla="*/ 123138 w 485"/>
              <a:gd name="T19" fmla="*/ 137856 h 291"/>
              <a:gd name="T20" fmla="*/ 74747 w 485"/>
              <a:gd name="T21" fmla="*/ 131637 h 291"/>
              <a:gd name="T22" fmla="*/ 25924 w 485"/>
              <a:gd name="T23" fmla="*/ 137856 h 291"/>
              <a:gd name="T24" fmla="*/ 6481 w 485"/>
              <a:gd name="T25" fmla="*/ 140447 h 291"/>
              <a:gd name="T26" fmla="*/ 3456 w 485"/>
              <a:gd name="T27" fmla="*/ 133191 h 291"/>
              <a:gd name="T28" fmla="*/ 1296 w 485"/>
              <a:gd name="T29" fmla="*/ 126454 h 291"/>
              <a:gd name="T30" fmla="*/ 0 w 485"/>
              <a:gd name="T31" fmla="*/ 118680 h 291"/>
              <a:gd name="T32" fmla="*/ 2160 w 485"/>
              <a:gd name="T33" fmla="*/ 113498 h 291"/>
              <a:gd name="T34" fmla="*/ 6049 w 485"/>
              <a:gd name="T35" fmla="*/ 107279 h 291"/>
              <a:gd name="T36" fmla="*/ 9937 w 485"/>
              <a:gd name="T37" fmla="*/ 97950 h 291"/>
              <a:gd name="T38" fmla="*/ 13394 w 485"/>
              <a:gd name="T39" fmla="*/ 86030 h 291"/>
              <a:gd name="T40" fmla="*/ 17715 w 485"/>
              <a:gd name="T41" fmla="*/ 71001 h 291"/>
              <a:gd name="T42" fmla="*/ 20739 w 485"/>
              <a:gd name="T43" fmla="*/ 65300 h 291"/>
              <a:gd name="T44" fmla="*/ 25924 w 485"/>
              <a:gd name="T45" fmla="*/ 61672 h 291"/>
              <a:gd name="T46" fmla="*/ 37589 w 485"/>
              <a:gd name="T47" fmla="*/ 57526 h 291"/>
              <a:gd name="T48" fmla="*/ 38454 w 485"/>
              <a:gd name="T49" fmla="*/ 54935 h 291"/>
              <a:gd name="T50" fmla="*/ 40614 w 485"/>
              <a:gd name="T51" fmla="*/ 51825 h 291"/>
              <a:gd name="T52" fmla="*/ 43638 w 485"/>
              <a:gd name="T53" fmla="*/ 49234 h 291"/>
              <a:gd name="T54" fmla="*/ 45799 w 485"/>
              <a:gd name="T55" fmla="*/ 48198 h 291"/>
              <a:gd name="T56" fmla="*/ 45799 w 485"/>
              <a:gd name="T57" fmla="*/ 39387 h 291"/>
              <a:gd name="T58" fmla="*/ 47095 w 485"/>
              <a:gd name="T59" fmla="*/ 36278 h 291"/>
              <a:gd name="T60" fmla="*/ 48823 w 485"/>
              <a:gd name="T61" fmla="*/ 34723 h 291"/>
              <a:gd name="T62" fmla="*/ 52712 w 485"/>
              <a:gd name="T63" fmla="*/ 35760 h 291"/>
              <a:gd name="T64" fmla="*/ 55304 w 485"/>
              <a:gd name="T65" fmla="*/ 35760 h 291"/>
              <a:gd name="T66" fmla="*/ 57032 w 485"/>
              <a:gd name="T67" fmla="*/ 34205 h 291"/>
              <a:gd name="T68" fmla="*/ 57896 w 485"/>
              <a:gd name="T69" fmla="*/ 29022 h 291"/>
              <a:gd name="T70" fmla="*/ 60057 w 485"/>
              <a:gd name="T71" fmla="*/ 22803 h 291"/>
              <a:gd name="T72" fmla="*/ 62217 w 485"/>
              <a:gd name="T73" fmla="*/ 20212 h 291"/>
              <a:gd name="T74" fmla="*/ 92029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993" name="Freeform 444">
            <a:extLst>
              <a:ext uri="{FF2B5EF4-FFF2-40B4-BE49-F238E27FC236}">
                <a16:creationId xmlns:a16="http://schemas.microsoft.com/office/drawing/2014/main" id="{AB7789D0-6260-441E-9E43-F62D5AD0D653}"/>
              </a:ext>
            </a:extLst>
          </p:cNvPr>
          <p:cNvSpPr>
            <a:spLocks/>
          </p:cNvSpPr>
          <p:nvPr>
            <p:custDataLst>
              <p:tags r:id="rId281"/>
            </p:custDataLst>
          </p:nvPr>
        </p:nvSpPr>
        <p:spPr bwMode="auto">
          <a:xfrm>
            <a:off x="8401548" y="4550196"/>
            <a:ext cx="175156" cy="185262"/>
          </a:xfrm>
          <a:custGeom>
            <a:avLst/>
            <a:gdLst>
              <a:gd name="T0" fmla="*/ 38168 w 186"/>
              <a:gd name="T1" fmla="*/ 77319 h 166"/>
              <a:gd name="T2" fmla="*/ 36837 w 186"/>
              <a:gd name="T3" fmla="*/ 71534 h 166"/>
              <a:gd name="T4" fmla="*/ 34618 w 186"/>
              <a:gd name="T5" fmla="*/ 66800 h 166"/>
              <a:gd name="T6" fmla="*/ 32842 w 186"/>
              <a:gd name="T7" fmla="*/ 62066 h 166"/>
              <a:gd name="T8" fmla="*/ 31067 w 186"/>
              <a:gd name="T9" fmla="*/ 57858 h 166"/>
              <a:gd name="T10" fmla="*/ 26629 w 186"/>
              <a:gd name="T11" fmla="*/ 49968 h 166"/>
              <a:gd name="T12" fmla="*/ 21747 w 186"/>
              <a:gd name="T13" fmla="*/ 43131 h 166"/>
              <a:gd name="T14" fmla="*/ 16421 w 186"/>
              <a:gd name="T15" fmla="*/ 36819 h 166"/>
              <a:gd name="T16" fmla="*/ 11095 w 186"/>
              <a:gd name="T17" fmla="*/ 29455 h 166"/>
              <a:gd name="T18" fmla="*/ 5770 w 186"/>
              <a:gd name="T19" fmla="*/ 19987 h 166"/>
              <a:gd name="T20" fmla="*/ 0 w 186"/>
              <a:gd name="T21" fmla="*/ 9468 h 166"/>
              <a:gd name="T22" fmla="*/ 0 w 186"/>
              <a:gd name="T23" fmla="*/ 0 h 166"/>
              <a:gd name="T24" fmla="*/ 3107 w 186"/>
              <a:gd name="T25" fmla="*/ 1052 h 166"/>
              <a:gd name="T26" fmla="*/ 6213 w 186"/>
              <a:gd name="T27" fmla="*/ 1578 h 166"/>
              <a:gd name="T28" fmla="*/ 8876 w 186"/>
              <a:gd name="T29" fmla="*/ 2104 h 166"/>
              <a:gd name="T30" fmla="*/ 11983 w 186"/>
              <a:gd name="T31" fmla="*/ 2104 h 166"/>
              <a:gd name="T32" fmla="*/ 14646 w 186"/>
              <a:gd name="T33" fmla="*/ 2104 h 166"/>
              <a:gd name="T34" fmla="*/ 17753 w 186"/>
              <a:gd name="T35" fmla="*/ 1578 h 166"/>
              <a:gd name="T36" fmla="*/ 20859 w 186"/>
              <a:gd name="T37" fmla="*/ 1052 h 166"/>
              <a:gd name="T38" fmla="*/ 23522 w 186"/>
              <a:gd name="T39" fmla="*/ 0 h 166"/>
              <a:gd name="T40" fmla="*/ 62134 w 186"/>
              <a:gd name="T41" fmla="*/ 6312 h 166"/>
              <a:gd name="T42" fmla="*/ 82550 w 186"/>
              <a:gd name="T43" fmla="*/ 47864 h 166"/>
              <a:gd name="T44" fmla="*/ 75893 w 186"/>
              <a:gd name="T45" fmla="*/ 58910 h 166"/>
              <a:gd name="T46" fmla="*/ 68792 w 186"/>
              <a:gd name="T47" fmla="*/ 67852 h 166"/>
              <a:gd name="T48" fmla="*/ 66129 w 186"/>
              <a:gd name="T49" fmla="*/ 72060 h 166"/>
              <a:gd name="T50" fmla="*/ 63910 w 186"/>
              <a:gd name="T51" fmla="*/ 76267 h 166"/>
              <a:gd name="T52" fmla="*/ 63022 w 186"/>
              <a:gd name="T53" fmla="*/ 78897 h 166"/>
              <a:gd name="T54" fmla="*/ 62578 w 186"/>
              <a:gd name="T55" fmla="*/ 82053 h 166"/>
              <a:gd name="T56" fmla="*/ 62134 w 186"/>
              <a:gd name="T57" fmla="*/ 84683 h 166"/>
              <a:gd name="T58" fmla="*/ 62134 w 186"/>
              <a:gd name="T59" fmla="*/ 87313 h 166"/>
              <a:gd name="T60" fmla="*/ 38168 w 186"/>
              <a:gd name="T61" fmla="*/ 77319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994" name="Freeform 445">
            <a:extLst>
              <a:ext uri="{FF2B5EF4-FFF2-40B4-BE49-F238E27FC236}">
                <a16:creationId xmlns:a16="http://schemas.microsoft.com/office/drawing/2014/main" id="{82418854-08EF-4875-A404-448EEBCF0AF1}"/>
              </a:ext>
            </a:extLst>
          </p:cNvPr>
          <p:cNvSpPr>
            <a:spLocks/>
          </p:cNvSpPr>
          <p:nvPr>
            <p:custDataLst>
              <p:tags r:id="rId282"/>
            </p:custDataLst>
          </p:nvPr>
        </p:nvSpPr>
        <p:spPr bwMode="auto">
          <a:xfrm>
            <a:off x="4932122" y="7598576"/>
            <a:ext cx="175156" cy="121262"/>
          </a:xfrm>
          <a:custGeom>
            <a:avLst/>
            <a:gdLst>
              <a:gd name="T0" fmla="*/ 67904 w 186"/>
              <a:gd name="T1" fmla="*/ 11540 h 104"/>
              <a:gd name="T2" fmla="*/ 64797 w 186"/>
              <a:gd name="T3" fmla="*/ 11540 h 104"/>
              <a:gd name="T4" fmla="*/ 62578 w 186"/>
              <a:gd name="T5" fmla="*/ 10990 h 104"/>
              <a:gd name="T6" fmla="*/ 60359 w 186"/>
              <a:gd name="T7" fmla="*/ 9891 h 104"/>
              <a:gd name="T8" fmla="*/ 59028 w 186"/>
              <a:gd name="T9" fmla="*/ 8243 h 104"/>
              <a:gd name="T10" fmla="*/ 57696 w 186"/>
              <a:gd name="T11" fmla="*/ 7144 h 104"/>
              <a:gd name="T12" fmla="*/ 55477 w 186"/>
              <a:gd name="T13" fmla="*/ 6045 h 104"/>
              <a:gd name="T14" fmla="*/ 53258 w 186"/>
              <a:gd name="T15" fmla="*/ 5495 h 104"/>
              <a:gd name="T16" fmla="*/ 50151 w 186"/>
              <a:gd name="T17" fmla="*/ 4946 h 104"/>
              <a:gd name="T18" fmla="*/ 44382 w 186"/>
              <a:gd name="T19" fmla="*/ 4396 h 104"/>
              <a:gd name="T20" fmla="*/ 39056 w 186"/>
              <a:gd name="T21" fmla="*/ 3297 h 104"/>
              <a:gd name="T22" fmla="*/ 33286 w 186"/>
              <a:gd name="T23" fmla="*/ 1649 h 104"/>
              <a:gd name="T24" fmla="*/ 28404 w 186"/>
              <a:gd name="T25" fmla="*/ 550 h 104"/>
              <a:gd name="T26" fmla="*/ 26629 w 186"/>
              <a:gd name="T27" fmla="*/ 0 h 104"/>
              <a:gd name="T28" fmla="*/ 23966 w 186"/>
              <a:gd name="T29" fmla="*/ 0 h 104"/>
              <a:gd name="T30" fmla="*/ 22635 w 186"/>
              <a:gd name="T31" fmla="*/ 550 h 104"/>
              <a:gd name="T32" fmla="*/ 20416 w 186"/>
              <a:gd name="T33" fmla="*/ 1099 h 104"/>
              <a:gd name="T34" fmla="*/ 19528 w 186"/>
              <a:gd name="T35" fmla="*/ 2198 h 104"/>
              <a:gd name="T36" fmla="*/ 18640 w 186"/>
              <a:gd name="T37" fmla="*/ 3297 h 104"/>
              <a:gd name="T38" fmla="*/ 18197 w 186"/>
              <a:gd name="T39" fmla="*/ 5495 h 104"/>
              <a:gd name="T40" fmla="*/ 17753 w 186"/>
              <a:gd name="T41" fmla="*/ 8243 h 104"/>
              <a:gd name="T42" fmla="*/ 15090 w 186"/>
              <a:gd name="T43" fmla="*/ 14837 h 104"/>
              <a:gd name="T44" fmla="*/ 8876 w 186"/>
              <a:gd name="T45" fmla="*/ 25827 h 104"/>
              <a:gd name="T46" fmla="*/ 3107 w 186"/>
              <a:gd name="T47" fmla="*/ 36268 h 104"/>
              <a:gd name="T48" fmla="*/ 0 w 186"/>
              <a:gd name="T49" fmla="*/ 42313 h 104"/>
              <a:gd name="T50" fmla="*/ 3551 w 186"/>
              <a:gd name="T51" fmla="*/ 42313 h 104"/>
              <a:gd name="T52" fmla="*/ 7101 w 186"/>
              <a:gd name="T53" fmla="*/ 42862 h 104"/>
              <a:gd name="T54" fmla="*/ 9320 w 186"/>
              <a:gd name="T55" fmla="*/ 43412 h 104"/>
              <a:gd name="T56" fmla="*/ 11095 w 186"/>
              <a:gd name="T57" fmla="*/ 44511 h 104"/>
              <a:gd name="T58" fmla="*/ 14646 w 186"/>
              <a:gd name="T59" fmla="*/ 46709 h 104"/>
              <a:gd name="T60" fmla="*/ 17753 w 186"/>
              <a:gd name="T61" fmla="*/ 48907 h 104"/>
              <a:gd name="T62" fmla="*/ 19972 w 186"/>
              <a:gd name="T63" fmla="*/ 51655 h 104"/>
              <a:gd name="T64" fmla="*/ 23078 w 186"/>
              <a:gd name="T65" fmla="*/ 53853 h 104"/>
              <a:gd name="T66" fmla="*/ 24854 w 186"/>
              <a:gd name="T67" fmla="*/ 54952 h 104"/>
              <a:gd name="T68" fmla="*/ 27073 w 186"/>
              <a:gd name="T69" fmla="*/ 55501 h 104"/>
              <a:gd name="T70" fmla="*/ 29292 w 186"/>
              <a:gd name="T71" fmla="*/ 56051 h 104"/>
              <a:gd name="T72" fmla="*/ 32842 w 186"/>
              <a:gd name="T73" fmla="*/ 56051 h 104"/>
              <a:gd name="T74" fmla="*/ 47488 w 186"/>
              <a:gd name="T75" fmla="*/ 56600 h 104"/>
              <a:gd name="T76" fmla="*/ 58140 w 186"/>
              <a:gd name="T77" fmla="*/ 57150 h 104"/>
              <a:gd name="T78" fmla="*/ 59915 w 186"/>
              <a:gd name="T79" fmla="*/ 56600 h 104"/>
              <a:gd name="T80" fmla="*/ 61691 w 186"/>
              <a:gd name="T81" fmla="*/ 56051 h 104"/>
              <a:gd name="T82" fmla="*/ 63022 w 186"/>
              <a:gd name="T83" fmla="*/ 54952 h 104"/>
              <a:gd name="T84" fmla="*/ 64353 w 186"/>
              <a:gd name="T85" fmla="*/ 53303 h 104"/>
              <a:gd name="T86" fmla="*/ 65241 w 186"/>
              <a:gd name="T87" fmla="*/ 51655 h 104"/>
              <a:gd name="T88" fmla="*/ 66573 w 186"/>
              <a:gd name="T89" fmla="*/ 48358 h 104"/>
              <a:gd name="T90" fmla="*/ 67460 w 186"/>
              <a:gd name="T91" fmla="*/ 45610 h 104"/>
              <a:gd name="T92" fmla="*/ 67904 w 186"/>
              <a:gd name="T93" fmla="*/ 42313 h 104"/>
              <a:gd name="T94" fmla="*/ 82550 w 186"/>
              <a:gd name="T95" fmla="*/ 14837 h 104"/>
              <a:gd name="T96" fmla="*/ 67904 w 186"/>
              <a:gd name="T97" fmla="*/ 1154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995" name="Freeform 446">
            <a:extLst>
              <a:ext uri="{FF2B5EF4-FFF2-40B4-BE49-F238E27FC236}">
                <a16:creationId xmlns:a16="http://schemas.microsoft.com/office/drawing/2014/main" id="{9811163E-B44B-493E-B2BD-FCDBCD8D0556}"/>
              </a:ext>
            </a:extLst>
          </p:cNvPr>
          <p:cNvSpPr>
            <a:spLocks/>
          </p:cNvSpPr>
          <p:nvPr>
            <p:custDataLst>
              <p:tags r:id="rId283"/>
            </p:custDataLst>
          </p:nvPr>
        </p:nvSpPr>
        <p:spPr bwMode="auto">
          <a:xfrm>
            <a:off x="8738386" y="4624300"/>
            <a:ext cx="282944" cy="205472"/>
          </a:xfrm>
          <a:custGeom>
            <a:avLst/>
            <a:gdLst>
              <a:gd name="T0" fmla="*/ 33873 w 311"/>
              <a:gd name="T1" fmla="*/ 20558 h 179"/>
              <a:gd name="T2" fmla="*/ 49309 w 311"/>
              <a:gd name="T3" fmla="*/ 14066 h 179"/>
              <a:gd name="T4" fmla="*/ 63459 w 311"/>
              <a:gd name="T5" fmla="*/ 7574 h 179"/>
              <a:gd name="T6" fmla="*/ 76323 w 311"/>
              <a:gd name="T7" fmla="*/ 2164 h 179"/>
              <a:gd name="T8" fmla="*/ 90472 w 311"/>
              <a:gd name="T9" fmla="*/ 0 h 179"/>
              <a:gd name="T10" fmla="*/ 101192 w 311"/>
              <a:gd name="T11" fmla="*/ 1082 h 179"/>
              <a:gd name="T12" fmla="*/ 109767 w 311"/>
              <a:gd name="T13" fmla="*/ 3246 h 179"/>
              <a:gd name="T14" fmla="*/ 125203 w 311"/>
              <a:gd name="T15" fmla="*/ 6492 h 179"/>
              <a:gd name="T16" fmla="*/ 123059 w 311"/>
              <a:gd name="T17" fmla="*/ 15148 h 179"/>
              <a:gd name="T18" fmla="*/ 119200 w 311"/>
              <a:gd name="T19" fmla="*/ 22722 h 179"/>
              <a:gd name="T20" fmla="*/ 115341 w 311"/>
              <a:gd name="T21" fmla="*/ 28673 h 179"/>
              <a:gd name="T22" fmla="*/ 113626 w 311"/>
              <a:gd name="T23" fmla="*/ 33542 h 179"/>
              <a:gd name="T24" fmla="*/ 114055 w 311"/>
              <a:gd name="T25" fmla="*/ 35706 h 179"/>
              <a:gd name="T26" fmla="*/ 116199 w 311"/>
              <a:gd name="T27" fmla="*/ 38411 h 179"/>
              <a:gd name="T28" fmla="*/ 122202 w 311"/>
              <a:gd name="T29" fmla="*/ 42739 h 179"/>
              <a:gd name="T30" fmla="*/ 133350 w 311"/>
              <a:gd name="T31" fmla="*/ 50312 h 179"/>
              <a:gd name="T32" fmla="*/ 123059 w 311"/>
              <a:gd name="T33" fmla="*/ 57886 h 179"/>
              <a:gd name="T34" fmla="*/ 120487 w 311"/>
              <a:gd name="T35" fmla="*/ 62214 h 179"/>
              <a:gd name="T36" fmla="*/ 119200 w 311"/>
              <a:gd name="T37" fmla="*/ 69788 h 179"/>
              <a:gd name="T38" fmla="*/ 108052 w 311"/>
              <a:gd name="T39" fmla="*/ 73575 h 179"/>
              <a:gd name="T40" fmla="*/ 90472 w 311"/>
              <a:gd name="T41" fmla="*/ 80067 h 179"/>
              <a:gd name="T42" fmla="*/ 81897 w 311"/>
              <a:gd name="T43" fmla="*/ 90887 h 179"/>
              <a:gd name="T44" fmla="*/ 76323 w 311"/>
              <a:gd name="T45" fmla="*/ 95215 h 179"/>
              <a:gd name="T46" fmla="*/ 70748 w 311"/>
              <a:gd name="T47" fmla="*/ 96838 h 179"/>
              <a:gd name="T48" fmla="*/ 64745 w 311"/>
              <a:gd name="T49" fmla="*/ 94674 h 179"/>
              <a:gd name="T50" fmla="*/ 58743 w 311"/>
              <a:gd name="T51" fmla="*/ 90346 h 179"/>
              <a:gd name="T52" fmla="*/ 51453 w 311"/>
              <a:gd name="T53" fmla="*/ 85477 h 179"/>
              <a:gd name="T54" fmla="*/ 42020 w 311"/>
              <a:gd name="T55" fmla="*/ 83854 h 179"/>
              <a:gd name="T56" fmla="*/ 28299 w 311"/>
              <a:gd name="T57" fmla="*/ 83854 h 179"/>
              <a:gd name="T58" fmla="*/ 21868 w 311"/>
              <a:gd name="T59" fmla="*/ 84936 h 179"/>
              <a:gd name="T60" fmla="*/ 16722 w 311"/>
              <a:gd name="T61" fmla="*/ 87100 h 179"/>
              <a:gd name="T62" fmla="*/ 15436 w 311"/>
              <a:gd name="T63" fmla="*/ 76821 h 179"/>
              <a:gd name="T64" fmla="*/ 13721 w 311"/>
              <a:gd name="T65" fmla="*/ 66542 h 179"/>
              <a:gd name="T66" fmla="*/ 9004 w 311"/>
              <a:gd name="T67" fmla="*/ 69247 h 179"/>
              <a:gd name="T68" fmla="*/ 5574 w 311"/>
              <a:gd name="T69" fmla="*/ 69788 h 179"/>
              <a:gd name="T70" fmla="*/ 3001 w 311"/>
              <a:gd name="T71" fmla="*/ 68165 h 179"/>
              <a:gd name="T72" fmla="*/ 1286 w 311"/>
              <a:gd name="T73" fmla="*/ 65460 h 179"/>
              <a:gd name="T74" fmla="*/ 0 w 311"/>
              <a:gd name="T75" fmla="*/ 56804 h 179"/>
              <a:gd name="T76" fmla="*/ 0 w 311"/>
              <a:gd name="T77" fmla="*/ 47067 h 179"/>
              <a:gd name="T78" fmla="*/ 1286 w 311"/>
              <a:gd name="T79" fmla="*/ 44362 h 179"/>
              <a:gd name="T80" fmla="*/ 5574 w 311"/>
              <a:gd name="T81" fmla="*/ 42198 h 179"/>
              <a:gd name="T82" fmla="*/ 9004 w 311"/>
              <a:gd name="T83" fmla="*/ 38952 h 179"/>
              <a:gd name="T84" fmla="*/ 10719 w 311"/>
              <a:gd name="T85" fmla="*/ 36788 h 179"/>
              <a:gd name="T86" fmla="*/ 11148 w 311"/>
              <a:gd name="T87" fmla="*/ 33542 h 179"/>
              <a:gd name="T88" fmla="*/ 10291 w 311"/>
              <a:gd name="T89" fmla="*/ 27591 h 179"/>
              <a:gd name="T90" fmla="*/ 8147 w 311"/>
              <a:gd name="T91" fmla="*/ 23263 h 179"/>
              <a:gd name="T92" fmla="*/ 3430 w 311"/>
              <a:gd name="T93" fmla="*/ 15689 h 179"/>
              <a:gd name="T94" fmla="*/ 429 w 311"/>
              <a:gd name="T95" fmla="*/ 9738 h 179"/>
              <a:gd name="T96" fmla="*/ 429 w 311"/>
              <a:gd name="T97" fmla="*/ 7033 h 179"/>
              <a:gd name="T98" fmla="*/ 2573 w 311"/>
              <a:gd name="T99" fmla="*/ 3246 h 179"/>
              <a:gd name="T100" fmla="*/ 0 w 311"/>
              <a:gd name="T101" fmla="*/ 3246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996" name="Freeform 447">
            <a:extLst>
              <a:ext uri="{FF2B5EF4-FFF2-40B4-BE49-F238E27FC236}">
                <a16:creationId xmlns:a16="http://schemas.microsoft.com/office/drawing/2014/main" id="{859AC576-8F7D-448D-9BDC-4AEE0DF6619C}"/>
              </a:ext>
            </a:extLst>
          </p:cNvPr>
          <p:cNvSpPr>
            <a:spLocks/>
          </p:cNvSpPr>
          <p:nvPr>
            <p:custDataLst>
              <p:tags r:id="rId284"/>
            </p:custDataLst>
          </p:nvPr>
        </p:nvSpPr>
        <p:spPr bwMode="auto">
          <a:xfrm>
            <a:off x="7370826" y="6591431"/>
            <a:ext cx="377258" cy="350311"/>
          </a:xfrm>
          <a:custGeom>
            <a:avLst/>
            <a:gdLst>
              <a:gd name="T0" fmla="*/ 2634 w 405"/>
              <a:gd name="T1" fmla="*/ 136707 h 314"/>
              <a:gd name="T2" fmla="*/ 5707 w 405"/>
              <a:gd name="T3" fmla="*/ 124614 h 314"/>
              <a:gd name="T4" fmla="*/ 7463 w 405"/>
              <a:gd name="T5" fmla="*/ 106211 h 314"/>
              <a:gd name="T6" fmla="*/ 10097 w 405"/>
              <a:gd name="T7" fmla="*/ 90963 h 314"/>
              <a:gd name="T8" fmla="*/ 14048 w 405"/>
              <a:gd name="T9" fmla="*/ 85179 h 314"/>
              <a:gd name="T10" fmla="*/ 21073 w 405"/>
              <a:gd name="T11" fmla="*/ 78869 h 314"/>
              <a:gd name="T12" fmla="*/ 31609 w 405"/>
              <a:gd name="T13" fmla="*/ 74137 h 314"/>
              <a:gd name="T14" fmla="*/ 40828 w 405"/>
              <a:gd name="T15" fmla="*/ 70457 h 314"/>
              <a:gd name="T16" fmla="*/ 45657 w 405"/>
              <a:gd name="T17" fmla="*/ 65725 h 314"/>
              <a:gd name="T18" fmla="*/ 49608 w 405"/>
              <a:gd name="T19" fmla="*/ 59941 h 314"/>
              <a:gd name="T20" fmla="*/ 53999 w 405"/>
              <a:gd name="T21" fmla="*/ 48899 h 314"/>
              <a:gd name="T22" fmla="*/ 59706 w 405"/>
              <a:gd name="T23" fmla="*/ 36280 h 314"/>
              <a:gd name="T24" fmla="*/ 64535 w 405"/>
              <a:gd name="T25" fmla="*/ 28919 h 314"/>
              <a:gd name="T26" fmla="*/ 68047 w 405"/>
              <a:gd name="T27" fmla="*/ 26816 h 314"/>
              <a:gd name="T28" fmla="*/ 74632 w 405"/>
              <a:gd name="T29" fmla="*/ 26816 h 314"/>
              <a:gd name="T30" fmla="*/ 82973 w 405"/>
              <a:gd name="T31" fmla="*/ 25238 h 314"/>
              <a:gd name="T32" fmla="*/ 93510 w 405"/>
              <a:gd name="T33" fmla="*/ 18403 h 314"/>
              <a:gd name="T34" fmla="*/ 104046 w 405"/>
              <a:gd name="T35" fmla="*/ 10516 h 314"/>
              <a:gd name="T36" fmla="*/ 112826 w 405"/>
              <a:gd name="T37" fmla="*/ 5784 h 314"/>
              <a:gd name="T38" fmla="*/ 123801 w 405"/>
              <a:gd name="T39" fmla="*/ 2103 h 314"/>
              <a:gd name="T40" fmla="*/ 137850 w 405"/>
              <a:gd name="T41" fmla="*/ 0 h 314"/>
              <a:gd name="T42" fmla="*/ 145752 w 405"/>
              <a:gd name="T43" fmla="*/ 7361 h 314"/>
              <a:gd name="T44" fmla="*/ 147947 w 405"/>
              <a:gd name="T45" fmla="*/ 17877 h 314"/>
              <a:gd name="T46" fmla="*/ 150581 w 405"/>
              <a:gd name="T47" fmla="*/ 26290 h 314"/>
              <a:gd name="T48" fmla="*/ 154532 w 405"/>
              <a:gd name="T49" fmla="*/ 32599 h 314"/>
              <a:gd name="T50" fmla="*/ 161557 w 405"/>
              <a:gd name="T51" fmla="*/ 38909 h 314"/>
              <a:gd name="T52" fmla="*/ 167703 w 405"/>
              <a:gd name="T53" fmla="*/ 44693 h 314"/>
              <a:gd name="T54" fmla="*/ 171215 w 405"/>
              <a:gd name="T55" fmla="*/ 48899 h 314"/>
              <a:gd name="T56" fmla="*/ 173849 w 405"/>
              <a:gd name="T57" fmla="*/ 60467 h 314"/>
              <a:gd name="T58" fmla="*/ 174727 w 405"/>
              <a:gd name="T59" fmla="*/ 75189 h 314"/>
              <a:gd name="T60" fmla="*/ 174727 w 405"/>
              <a:gd name="T61" fmla="*/ 89385 h 314"/>
              <a:gd name="T62" fmla="*/ 176483 w 405"/>
              <a:gd name="T63" fmla="*/ 103056 h 314"/>
              <a:gd name="T64" fmla="*/ 174727 w 405"/>
              <a:gd name="T65" fmla="*/ 114098 h 314"/>
              <a:gd name="T66" fmla="*/ 167703 w 405"/>
              <a:gd name="T67" fmla="*/ 118830 h 314"/>
              <a:gd name="T68" fmla="*/ 160240 w 405"/>
              <a:gd name="T69" fmla="*/ 126717 h 314"/>
              <a:gd name="T70" fmla="*/ 159361 w 405"/>
              <a:gd name="T71" fmla="*/ 124614 h 314"/>
              <a:gd name="T72" fmla="*/ 157166 w 405"/>
              <a:gd name="T73" fmla="*/ 122511 h 314"/>
              <a:gd name="T74" fmla="*/ 150142 w 405"/>
              <a:gd name="T75" fmla="*/ 119356 h 314"/>
              <a:gd name="T76" fmla="*/ 140045 w 405"/>
              <a:gd name="T77" fmla="*/ 117253 h 314"/>
              <a:gd name="T78" fmla="*/ 66730 w 405"/>
              <a:gd name="T79" fmla="*/ 126717 h 314"/>
              <a:gd name="T80" fmla="*/ 65852 w 405"/>
              <a:gd name="T81" fmla="*/ 135130 h 314"/>
              <a:gd name="T82" fmla="*/ 65852 w 405"/>
              <a:gd name="T83" fmla="*/ 144068 h 314"/>
              <a:gd name="T84" fmla="*/ 66730 w 405"/>
              <a:gd name="T85" fmla="*/ 165100 h 314"/>
              <a:gd name="T86" fmla="*/ 61023 w 405"/>
              <a:gd name="T87" fmla="*/ 164048 h 314"/>
              <a:gd name="T88" fmla="*/ 55316 w 405"/>
              <a:gd name="T89" fmla="*/ 160368 h 314"/>
              <a:gd name="T90" fmla="*/ 43901 w 405"/>
              <a:gd name="T91" fmla="*/ 152481 h 314"/>
              <a:gd name="T92" fmla="*/ 39072 w 405"/>
              <a:gd name="T93" fmla="*/ 161419 h 314"/>
              <a:gd name="T94" fmla="*/ 35999 w 405"/>
              <a:gd name="T95" fmla="*/ 164048 h 314"/>
              <a:gd name="T96" fmla="*/ 32048 w 405"/>
              <a:gd name="T97" fmla="*/ 165100 h 314"/>
              <a:gd name="T98" fmla="*/ 26341 w 405"/>
              <a:gd name="T99" fmla="*/ 163523 h 314"/>
              <a:gd name="T100" fmla="*/ 20634 w 405"/>
              <a:gd name="T101" fmla="*/ 158790 h 314"/>
              <a:gd name="T102" fmla="*/ 12292 w 405"/>
              <a:gd name="T103" fmla="*/ 153007 h 314"/>
              <a:gd name="T104" fmla="*/ 0 w 405"/>
              <a:gd name="T105" fmla="*/ 149326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997" name="Freeform 448">
            <a:extLst>
              <a:ext uri="{FF2B5EF4-FFF2-40B4-BE49-F238E27FC236}">
                <a16:creationId xmlns:a16="http://schemas.microsoft.com/office/drawing/2014/main" id="{C75A9981-43EE-483F-9112-3F71B9622216}"/>
              </a:ext>
            </a:extLst>
          </p:cNvPr>
          <p:cNvSpPr>
            <a:spLocks/>
          </p:cNvSpPr>
          <p:nvPr>
            <p:custDataLst>
              <p:tags r:id="rId285"/>
            </p:custDataLst>
          </p:nvPr>
        </p:nvSpPr>
        <p:spPr bwMode="auto">
          <a:xfrm>
            <a:off x="8108499" y="6736272"/>
            <a:ext cx="410942" cy="741043"/>
          </a:xfrm>
          <a:custGeom>
            <a:avLst/>
            <a:gdLst>
              <a:gd name="T0" fmla="*/ 143225 w 453"/>
              <a:gd name="T1" fmla="*/ 19021 h 661"/>
              <a:gd name="T2" fmla="*/ 137240 w 453"/>
              <a:gd name="T3" fmla="*/ 51780 h 661"/>
              <a:gd name="T4" fmla="*/ 118428 w 453"/>
              <a:gd name="T5" fmla="*/ 85595 h 661"/>
              <a:gd name="T6" fmla="*/ 108167 w 453"/>
              <a:gd name="T7" fmla="*/ 115712 h 661"/>
              <a:gd name="T8" fmla="*/ 99189 w 453"/>
              <a:gd name="T9" fmla="*/ 143716 h 661"/>
              <a:gd name="T10" fmla="*/ 89356 w 453"/>
              <a:gd name="T11" fmla="*/ 173832 h 661"/>
              <a:gd name="T12" fmla="*/ 83798 w 453"/>
              <a:gd name="T13" fmla="*/ 191269 h 661"/>
              <a:gd name="T14" fmla="*/ 76957 w 453"/>
              <a:gd name="T15" fmla="*/ 200779 h 661"/>
              <a:gd name="T16" fmla="*/ 71399 w 453"/>
              <a:gd name="T17" fmla="*/ 206063 h 661"/>
              <a:gd name="T18" fmla="*/ 60283 w 453"/>
              <a:gd name="T19" fmla="*/ 201836 h 661"/>
              <a:gd name="T20" fmla="*/ 51732 w 453"/>
              <a:gd name="T21" fmla="*/ 195495 h 661"/>
              <a:gd name="T22" fmla="*/ 40189 w 453"/>
              <a:gd name="T23" fmla="*/ 193910 h 661"/>
              <a:gd name="T24" fmla="*/ 27362 w 453"/>
              <a:gd name="T25" fmla="*/ 200779 h 661"/>
              <a:gd name="T26" fmla="*/ 18812 w 453"/>
              <a:gd name="T27" fmla="*/ 212932 h 661"/>
              <a:gd name="T28" fmla="*/ 8978 w 453"/>
              <a:gd name="T29" fmla="*/ 239878 h 661"/>
              <a:gd name="T30" fmla="*/ 2993 w 453"/>
              <a:gd name="T31" fmla="*/ 254672 h 661"/>
              <a:gd name="T32" fmla="*/ 428 w 453"/>
              <a:gd name="T33" fmla="*/ 264183 h 661"/>
              <a:gd name="T34" fmla="*/ 3420 w 453"/>
              <a:gd name="T35" fmla="*/ 273165 h 661"/>
              <a:gd name="T36" fmla="*/ 8551 w 453"/>
              <a:gd name="T37" fmla="*/ 277921 h 661"/>
              <a:gd name="T38" fmla="*/ 23515 w 453"/>
              <a:gd name="T39" fmla="*/ 277921 h 661"/>
              <a:gd name="T40" fmla="*/ 30355 w 453"/>
              <a:gd name="T41" fmla="*/ 289545 h 661"/>
              <a:gd name="T42" fmla="*/ 31210 w 453"/>
              <a:gd name="T43" fmla="*/ 311736 h 661"/>
              <a:gd name="T44" fmla="*/ 28645 w 453"/>
              <a:gd name="T45" fmla="*/ 332871 h 661"/>
              <a:gd name="T46" fmla="*/ 185124 w 453"/>
              <a:gd name="T47" fmla="*/ 349250 h 661"/>
              <a:gd name="T48" fmla="*/ 188972 w 453"/>
              <a:gd name="T49" fmla="*/ 307509 h 661"/>
              <a:gd name="T50" fmla="*/ 177429 w 453"/>
              <a:gd name="T51" fmla="*/ 300112 h 661"/>
              <a:gd name="T52" fmla="*/ 159472 w 453"/>
              <a:gd name="T53" fmla="*/ 294300 h 661"/>
              <a:gd name="T54" fmla="*/ 150921 w 453"/>
              <a:gd name="T55" fmla="*/ 290073 h 661"/>
              <a:gd name="T56" fmla="*/ 145363 w 453"/>
              <a:gd name="T57" fmla="*/ 283733 h 661"/>
              <a:gd name="T58" fmla="*/ 142370 w 453"/>
              <a:gd name="T59" fmla="*/ 272109 h 661"/>
              <a:gd name="T60" fmla="*/ 142370 w 453"/>
              <a:gd name="T61" fmla="*/ 245162 h 661"/>
              <a:gd name="T62" fmla="*/ 144081 w 453"/>
              <a:gd name="T63" fmla="*/ 226141 h 661"/>
              <a:gd name="T64" fmla="*/ 150066 w 453"/>
              <a:gd name="T65" fmla="*/ 209761 h 661"/>
              <a:gd name="T66" fmla="*/ 159472 w 453"/>
              <a:gd name="T67" fmla="*/ 192325 h 661"/>
              <a:gd name="T68" fmla="*/ 167595 w 453"/>
              <a:gd name="T69" fmla="*/ 174361 h 661"/>
              <a:gd name="T70" fmla="*/ 170588 w 453"/>
              <a:gd name="T71" fmla="*/ 156925 h 661"/>
              <a:gd name="T72" fmla="*/ 166313 w 453"/>
              <a:gd name="T73" fmla="*/ 141074 h 661"/>
              <a:gd name="T74" fmla="*/ 159472 w 453"/>
              <a:gd name="T75" fmla="*/ 129978 h 661"/>
              <a:gd name="T76" fmla="*/ 146646 w 453"/>
              <a:gd name="T77" fmla="*/ 114655 h 661"/>
              <a:gd name="T78" fmla="*/ 142370 w 453"/>
              <a:gd name="T79" fmla="*/ 101446 h 661"/>
              <a:gd name="T80" fmla="*/ 143225 w 453"/>
              <a:gd name="T81" fmla="*/ 91407 h 661"/>
              <a:gd name="T82" fmla="*/ 150921 w 453"/>
              <a:gd name="T83" fmla="*/ 86652 h 661"/>
              <a:gd name="T84" fmla="*/ 173581 w 453"/>
              <a:gd name="T85" fmla="*/ 85595 h 661"/>
              <a:gd name="T86" fmla="*/ 168878 w 453"/>
              <a:gd name="T87" fmla="*/ 79783 h 661"/>
              <a:gd name="T88" fmla="*/ 162037 w 453"/>
              <a:gd name="T89" fmla="*/ 61819 h 661"/>
              <a:gd name="T90" fmla="*/ 158617 w 453"/>
              <a:gd name="T91" fmla="*/ 38571 h 661"/>
              <a:gd name="T92" fmla="*/ 159472 w 453"/>
              <a:gd name="T93" fmla="*/ 23776 h 661"/>
              <a:gd name="T94" fmla="*/ 156907 w 453"/>
              <a:gd name="T95" fmla="*/ 5812 h 661"/>
              <a:gd name="T96" fmla="*/ 148356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998" name="Freeform 449">
            <a:extLst>
              <a:ext uri="{FF2B5EF4-FFF2-40B4-BE49-F238E27FC236}">
                <a16:creationId xmlns:a16="http://schemas.microsoft.com/office/drawing/2014/main" id="{16BE26C2-2369-484D-BC77-3613627C3801}"/>
              </a:ext>
            </a:extLst>
          </p:cNvPr>
          <p:cNvSpPr>
            <a:spLocks/>
          </p:cNvSpPr>
          <p:nvPr>
            <p:custDataLst>
              <p:tags r:id="rId286"/>
            </p:custDataLst>
          </p:nvPr>
        </p:nvSpPr>
        <p:spPr bwMode="auto">
          <a:xfrm>
            <a:off x="13309270" y="6224279"/>
            <a:ext cx="117894" cy="121262"/>
          </a:xfrm>
          <a:custGeom>
            <a:avLst/>
            <a:gdLst>
              <a:gd name="T0" fmla="*/ 0 w 126"/>
              <a:gd name="T1" fmla="*/ 30480 h 105"/>
              <a:gd name="T2" fmla="*/ 1764 w 126"/>
              <a:gd name="T3" fmla="*/ 26670 h 105"/>
              <a:gd name="T4" fmla="*/ 4410 w 126"/>
              <a:gd name="T5" fmla="*/ 22316 h 105"/>
              <a:gd name="T6" fmla="*/ 7056 w 126"/>
              <a:gd name="T7" fmla="*/ 17961 h 105"/>
              <a:gd name="T8" fmla="*/ 10583 w 126"/>
              <a:gd name="T9" fmla="*/ 13607 h 105"/>
              <a:gd name="T10" fmla="*/ 16316 w 126"/>
              <a:gd name="T11" fmla="*/ 5987 h 105"/>
              <a:gd name="T12" fmla="*/ 20726 w 126"/>
              <a:gd name="T13" fmla="*/ 0 h 105"/>
              <a:gd name="T14" fmla="*/ 49830 w 126"/>
              <a:gd name="T15" fmla="*/ 0 h 105"/>
              <a:gd name="T16" fmla="*/ 50271 w 126"/>
              <a:gd name="T17" fmla="*/ 2177 h 105"/>
              <a:gd name="T18" fmla="*/ 50712 w 126"/>
              <a:gd name="T19" fmla="*/ 4354 h 105"/>
              <a:gd name="T20" fmla="*/ 51594 w 126"/>
              <a:gd name="T21" fmla="*/ 6531 h 105"/>
              <a:gd name="T22" fmla="*/ 52476 w 126"/>
              <a:gd name="T23" fmla="*/ 7620 h 105"/>
              <a:gd name="T24" fmla="*/ 54681 w 126"/>
              <a:gd name="T25" fmla="*/ 10886 h 105"/>
              <a:gd name="T26" fmla="*/ 55563 w 126"/>
              <a:gd name="T27" fmla="*/ 13063 h 105"/>
              <a:gd name="T28" fmla="*/ 55563 w 126"/>
              <a:gd name="T29" fmla="*/ 17417 h 105"/>
              <a:gd name="T30" fmla="*/ 55122 w 126"/>
              <a:gd name="T31" fmla="*/ 22316 h 105"/>
              <a:gd name="T32" fmla="*/ 54681 w 126"/>
              <a:gd name="T33" fmla="*/ 26126 h 105"/>
              <a:gd name="T34" fmla="*/ 53799 w 126"/>
              <a:gd name="T35" fmla="*/ 29936 h 105"/>
              <a:gd name="T36" fmla="*/ 52476 w 126"/>
              <a:gd name="T37" fmla="*/ 33746 h 105"/>
              <a:gd name="T38" fmla="*/ 51153 w 126"/>
              <a:gd name="T39" fmla="*/ 37556 h 105"/>
              <a:gd name="T40" fmla="*/ 49389 w 126"/>
              <a:gd name="T41" fmla="*/ 40821 h 105"/>
              <a:gd name="T42" fmla="*/ 47625 w 126"/>
              <a:gd name="T43" fmla="*/ 44087 h 105"/>
              <a:gd name="T44" fmla="*/ 45862 w 126"/>
              <a:gd name="T45" fmla="*/ 46809 h 105"/>
              <a:gd name="T46" fmla="*/ 43657 w 126"/>
              <a:gd name="T47" fmla="*/ 48986 h 105"/>
              <a:gd name="T48" fmla="*/ 41011 w 126"/>
              <a:gd name="T49" fmla="*/ 51163 h 105"/>
              <a:gd name="T50" fmla="*/ 38806 w 126"/>
              <a:gd name="T51" fmla="*/ 53884 h 105"/>
              <a:gd name="T52" fmla="*/ 35719 w 126"/>
              <a:gd name="T53" fmla="*/ 54973 h 105"/>
              <a:gd name="T54" fmla="*/ 32632 w 126"/>
              <a:gd name="T55" fmla="*/ 56061 h 105"/>
              <a:gd name="T56" fmla="*/ 29545 w 126"/>
              <a:gd name="T57" fmla="*/ 57150 h 105"/>
              <a:gd name="T58" fmla="*/ 26459 w 126"/>
              <a:gd name="T59" fmla="*/ 57150 h 105"/>
              <a:gd name="T60" fmla="*/ 21167 w 126"/>
              <a:gd name="T61" fmla="*/ 56606 h 105"/>
              <a:gd name="T62" fmla="*/ 16757 w 126"/>
              <a:gd name="T63" fmla="*/ 55517 h 105"/>
              <a:gd name="T64" fmla="*/ 13670 w 126"/>
              <a:gd name="T65" fmla="*/ 53340 h 105"/>
              <a:gd name="T66" fmla="*/ 10583 w 126"/>
              <a:gd name="T67" fmla="*/ 50074 h 105"/>
              <a:gd name="T68" fmla="*/ 8820 w 126"/>
              <a:gd name="T69" fmla="*/ 46809 h 105"/>
              <a:gd name="T70" fmla="*/ 7056 w 126"/>
              <a:gd name="T71" fmla="*/ 42454 h 105"/>
              <a:gd name="T72" fmla="*/ 6174 w 126"/>
              <a:gd name="T73" fmla="*/ 38100 h 105"/>
              <a:gd name="T74" fmla="*/ 5733 w 126"/>
              <a:gd name="T75" fmla="*/ 33746 h 105"/>
              <a:gd name="T76" fmla="*/ 0 w 126"/>
              <a:gd name="T77" fmla="*/ 3048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999" name="Freeform 450">
            <a:extLst>
              <a:ext uri="{FF2B5EF4-FFF2-40B4-BE49-F238E27FC236}">
                <a16:creationId xmlns:a16="http://schemas.microsoft.com/office/drawing/2014/main" id="{2FC657AB-9D4B-4CB7-AB25-2A0C7783420D}"/>
              </a:ext>
            </a:extLst>
          </p:cNvPr>
          <p:cNvSpPr>
            <a:spLocks/>
          </p:cNvSpPr>
          <p:nvPr>
            <p:custDataLst>
              <p:tags r:id="rId287"/>
            </p:custDataLst>
          </p:nvPr>
        </p:nvSpPr>
        <p:spPr bwMode="auto">
          <a:xfrm>
            <a:off x="3453404" y="6783430"/>
            <a:ext cx="633255" cy="1111564"/>
          </a:xfrm>
          <a:custGeom>
            <a:avLst/>
            <a:gdLst>
              <a:gd name="T0" fmla="*/ 292778 w 684"/>
              <a:gd name="T1" fmla="*/ 300782 h 998"/>
              <a:gd name="T2" fmla="*/ 296705 w 684"/>
              <a:gd name="T3" fmla="*/ 288709 h 998"/>
              <a:gd name="T4" fmla="*/ 292778 w 684"/>
              <a:gd name="T5" fmla="*/ 257738 h 998"/>
              <a:gd name="T6" fmla="*/ 287542 w 684"/>
              <a:gd name="T7" fmla="*/ 222043 h 998"/>
              <a:gd name="T8" fmla="*/ 295832 w 684"/>
              <a:gd name="T9" fmla="*/ 204196 h 998"/>
              <a:gd name="T10" fmla="*/ 243036 w 684"/>
              <a:gd name="T11" fmla="*/ 189498 h 998"/>
              <a:gd name="T12" fmla="*/ 232564 w 684"/>
              <a:gd name="T13" fmla="*/ 171126 h 998"/>
              <a:gd name="T14" fmla="*/ 201585 w 684"/>
              <a:gd name="T15" fmla="*/ 162727 h 998"/>
              <a:gd name="T16" fmla="*/ 175405 w 684"/>
              <a:gd name="T17" fmla="*/ 141730 h 998"/>
              <a:gd name="T18" fmla="*/ 163624 w 684"/>
              <a:gd name="T19" fmla="*/ 105510 h 998"/>
              <a:gd name="T20" fmla="*/ 163624 w 684"/>
              <a:gd name="T21" fmla="*/ 69815 h 998"/>
              <a:gd name="T22" fmla="*/ 172351 w 684"/>
              <a:gd name="T23" fmla="*/ 44094 h 998"/>
              <a:gd name="T24" fmla="*/ 189804 w 684"/>
              <a:gd name="T25" fmla="*/ 25196 h 998"/>
              <a:gd name="T26" fmla="*/ 202021 w 684"/>
              <a:gd name="T27" fmla="*/ 5774 h 998"/>
              <a:gd name="T28" fmla="*/ 169733 w 684"/>
              <a:gd name="T29" fmla="*/ 20472 h 998"/>
              <a:gd name="T30" fmla="*/ 146171 w 684"/>
              <a:gd name="T31" fmla="*/ 35695 h 998"/>
              <a:gd name="T32" fmla="*/ 132644 w 684"/>
              <a:gd name="T33" fmla="*/ 40944 h 998"/>
              <a:gd name="T34" fmla="*/ 121300 w 684"/>
              <a:gd name="T35" fmla="*/ 44094 h 998"/>
              <a:gd name="T36" fmla="*/ 105156 w 684"/>
              <a:gd name="T37" fmla="*/ 42519 h 998"/>
              <a:gd name="T38" fmla="*/ 94684 w 684"/>
              <a:gd name="T39" fmla="*/ 56692 h 998"/>
              <a:gd name="T40" fmla="*/ 85521 w 684"/>
              <a:gd name="T41" fmla="*/ 91862 h 998"/>
              <a:gd name="T42" fmla="*/ 68504 w 684"/>
              <a:gd name="T43" fmla="*/ 119158 h 998"/>
              <a:gd name="T44" fmla="*/ 46687 w 684"/>
              <a:gd name="T45" fmla="*/ 149079 h 998"/>
              <a:gd name="T46" fmla="*/ 39270 w 684"/>
              <a:gd name="T47" fmla="*/ 166401 h 998"/>
              <a:gd name="T48" fmla="*/ 37524 w 684"/>
              <a:gd name="T49" fmla="*/ 186873 h 998"/>
              <a:gd name="T50" fmla="*/ 42324 w 684"/>
              <a:gd name="T51" fmla="*/ 200521 h 998"/>
              <a:gd name="T52" fmla="*/ 42324 w 684"/>
              <a:gd name="T53" fmla="*/ 236741 h 998"/>
              <a:gd name="T54" fmla="*/ 41451 w 684"/>
              <a:gd name="T55" fmla="*/ 275586 h 998"/>
              <a:gd name="T56" fmla="*/ 31416 w 684"/>
              <a:gd name="T57" fmla="*/ 295533 h 998"/>
              <a:gd name="T58" fmla="*/ 16144 w 684"/>
              <a:gd name="T59" fmla="*/ 310756 h 998"/>
              <a:gd name="T60" fmla="*/ 4800 w 684"/>
              <a:gd name="T61" fmla="*/ 321254 h 998"/>
              <a:gd name="T62" fmla="*/ 13090 w 684"/>
              <a:gd name="T63" fmla="*/ 350650 h 998"/>
              <a:gd name="T64" fmla="*/ 53669 w 684"/>
              <a:gd name="T65" fmla="*/ 380571 h 998"/>
              <a:gd name="T66" fmla="*/ 76358 w 684"/>
              <a:gd name="T67" fmla="*/ 382145 h 998"/>
              <a:gd name="T68" fmla="*/ 102101 w 684"/>
              <a:gd name="T69" fmla="*/ 391594 h 998"/>
              <a:gd name="T70" fmla="*/ 130463 w 684"/>
              <a:gd name="T71" fmla="*/ 417315 h 998"/>
              <a:gd name="T72" fmla="*/ 147043 w 684"/>
              <a:gd name="T73" fmla="*/ 446186 h 998"/>
              <a:gd name="T74" fmla="*/ 160133 w 684"/>
              <a:gd name="T75" fmla="*/ 462459 h 998"/>
              <a:gd name="T76" fmla="*/ 179768 w 684"/>
              <a:gd name="T77" fmla="*/ 465083 h 998"/>
              <a:gd name="T78" fmla="*/ 201585 w 684"/>
              <a:gd name="T79" fmla="*/ 459834 h 998"/>
              <a:gd name="T80" fmla="*/ 214675 w 684"/>
              <a:gd name="T81" fmla="*/ 460884 h 998"/>
              <a:gd name="T82" fmla="*/ 224710 w 684"/>
              <a:gd name="T83" fmla="*/ 474532 h 998"/>
              <a:gd name="T84" fmla="*/ 223838 w 684"/>
              <a:gd name="T85" fmla="*/ 483981 h 998"/>
              <a:gd name="T86" fmla="*/ 212929 w 684"/>
              <a:gd name="T87" fmla="*/ 491855 h 998"/>
              <a:gd name="T88" fmla="*/ 212929 w 684"/>
              <a:gd name="T89" fmla="*/ 505503 h 998"/>
              <a:gd name="T90" fmla="*/ 222965 w 684"/>
              <a:gd name="T91" fmla="*/ 521775 h 998"/>
              <a:gd name="T92" fmla="*/ 236491 w 684"/>
              <a:gd name="T93" fmla="*/ 504978 h 998"/>
              <a:gd name="T94" fmla="*/ 246963 w 684"/>
              <a:gd name="T95" fmla="*/ 451960 h 998"/>
              <a:gd name="T96" fmla="*/ 249145 w 684"/>
              <a:gd name="T97" fmla="*/ 421515 h 998"/>
              <a:gd name="T98" fmla="*/ 242163 w 684"/>
              <a:gd name="T99" fmla="*/ 404717 h 998"/>
              <a:gd name="T100" fmla="*/ 228201 w 684"/>
              <a:gd name="T101" fmla="*/ 393169 h 998"/>
              <a:gd name="T102" fmla="*/ 227328 w 684"/>
              <a:gd name="T103" fmla="*/ 379521 h 998"/>
              <a:gd name="T104" fmla="*/ 246963 w 684"/>
              <a:gd name="T105" fmla="*/ 367447 h 998"/>
              <a:gd name="T106" fmla="*/ 242600 w 684"/>
              <a:gd name="T107" fmla="*/ 349075 h 998"/>
              <a:gd name="T108" fmla="*/ 242600 w 684"/>
              <a:gd name="T109" fmla="*/ 340676 h 998"/>
              <a:gd name="T110" fmla="*/ 285796 w 684"/>
              <a:gd name="T111" fmla="*/ 329653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00" name="Freeform 451">
            <a:extLst>
              <a:ext uri="{FF2B5EF4-FFF2-40B4-BE49-F238E27FC236}">
                <a16:creationId xmlns:a16="http://schemas.microsoft.com/office/drawing/2014/main" id="{90490463-25E8-402C-B9DE-AB82F6622A84}"/>
              </a:ext>
            </a:extLst>
          </p:cNvPr>
          <p:cNvSpPr>
            <a:spLocks/>
          </p:cNvSpPr>
          <p:nvPr>
            <p:custDataLst>
              <p:tags r:id="rId288"/>
            </p:custDataLst>
          </p:nvPr>
        </p:nvSpPr>
        <p:spPr bwMode="auto">
          <a:xfrm>
            <a:off x="8233130" y="7352684"/>
            <a:ext cx="397468" cy="582730"/>
          </a:xfrm>
          <a:custGeom>
            <a:avLst/>
            <a:gdLst>
              <a:gd name="T0" fmla="*/ 187325 w 429"/>
              <a:gd name="T1" fmla="*/ 11531 h 524"/>
              <a:gd name="T2" fmla="*/ 186888 w 429"/>
              <a:gd name="T3" fmla="*/ 22537 h 524"/>
              <a:gd name="T4" fmla="*/ 185142 w 429"/>
              <a:gd name="T5" fmla="*/ 28302 h 524"/>
              <a:gd name="T6" fmla="*/ 181212 w 429"/>
              <a:gd name="T7" fmla="*/ 35116 h 524"/>
              <a:gd name="T8" fmla="*/ 180339 w 429"/>
              <a:gd name="T9" fmla="*/ 42454 h 524"/>
              <a:gd name="T10" fmla="*/ 180775 w 429"/>
              <a:gd name="T11" fmla="*/ 83859 h 524"/>
              <a:gd name="T12" fmla="*/ 178155 w 429"/>
              <a:gd name="T13" fmla="*/ 108492 h 524"/>
              <a:gd name="T14" fmla="*/ 172915 w 429"/>
              <a:gd name="T15" fmla="*/ 126313 h 524"/>
              <a:gd name="T16" fmla="*/ 162436 w 429"/>
              <a:gd name="T17" fmla="*/ 145705 h 524"/>
              <a:gd name="T18" fmla="*/ 147589 w 429"/>
              <a:gd name="T19" fmla="*/ 161953 h 524"/>
              <a:gd name="T20" fmla="*/ 139293 w 429"/>
              <a:gd name="T21" fmla="*/ 174531 h 524"/>
              <a:gd name="T22" fmla="*/ 136236 w 429"/>
              <a:gd name="T23" fmla="*/ 215937 h 524"/>
              <a:gd name="T24" fmla="*/ 132743 w 429"/>
              <a:gd name="T25" fmla="*/ 230088 h 524"/>
              <a:gd name="T26" fmla="*/ 126630 w 429"/>
              <a:gd name="T27" fmla="*/ 234805 h 524"/>
              <a:gd name="T28" fmla="*/ 117460 w 429"/>
              <a:gd name="T29" fmla="*/ 238474 h 524"/>
              <a:gd name="T30" fmla="*/ 110474 w 429"/>
              <a:gd name="T31" fmla="*/ 247384 h 524"/>
              <a:gd name="T32" fmla="*/ 102177 w 429"/>
              <a:gd name="T33" fmla="*/ 262059 h 524"/>
              <a:gd name="T34" fmla="*/ 97374 w 429"/>
              <a:gd name="T35" fmla="*/ 264680 h 524"/>
              <a:gd name="T36" fmla="*/ 87768 w 429"/>
              <a:gd name="T37" fmla="*/ 264156 h 524"/>
              <a:gd name="T38" fmla="*/ 82528 w 429"/>
              <a:gd name="T39" fmla="*/ 261011 h 524"/>
              <a:gd name="T40" fmla="*/ 63315 w 429"/>
              <a:gd name="T41" fmla="*/ 262059 h 524"/>
              <a:gd name="T42" fmla="*/ 53709 w 429"/>
              <a:gd name="T43" fmla="*/ 262059 h 524"/>
              <a:gd name="T44" fmla="*/ 49342 w 429"/>
              <a:gd name="T45" fmla="*/ 258914 h 524"/>
              <a:gd name="T46" fmla="*/ 41482 w 429"/>
              <a:gd name="T47" fmla="*/ 258390 h 524"/>
              <a:gd name="T48" fmla="*/ 34059 w 429"/>
              <a:gd name="T49" fmla="*/ 263107 h 524"/>
              <a:gd name="T50" fmla="*/ 27073 w 429"/>
              <a:gd name="T51" fmla="*/ 272017 h 524"/>
              <a:gd name="T52" fmla="*/ 11790 w 429"/>
              <a:gd name="T53" fmla="*/ 257342 h 524"/>
              <a:gd name="T54" fmla="*/ 2620 w 429"/>
              <a:gd name="T55" fmla="*/ 234281 h 524"/>
              <a:gd name="T56" fmla="*/ 10916 w 429"/>
              <a:gd name="T57" fmla="*/ 225371 h 524"/>
              <a:gd name="T58" fmla="*/ 18340 w 429"/>
              <a:gd name="T59" fmla="*/ 222226 h 524"/>
              <a:gd name="T60" fmla="*/ 26636 w 429"/>
              <a:gd name="T61" fmla="*/ 224323 h 524"/>
              <a:gd name="T62" fmla="*/ 25326 w 429"/>
              <a:gd name="T63" fmla="*/ 219081 h 524"/>
              <a:gd name="T64" fmla="*/ 19649 w 429"/>
              <a:gd name="T65" fmla="*/ 202310 h 524"/>
              <a:gd name="T66" fmla="*/ 20523 w 429"/>
              <a:gd name="T67" fmla="*/ 191827 h 524"/>
              <a:gd name="T68" fmla="*/ 24889 w 429"/>
              <a:gd name="T69" fmla="*/ 186586 h 524"/>
              <a:gd name="T70" fmla="*/ 31003 w 429"/>
              <a:gd name="T71" fmla="*/ 184490 h 524"/>
              <a:gd name="T72" fmla="*/ 38862 w 429"/>
              <a:gd name="T73" fmla="*/ 176628 h 524"/>
              <a:gd name="T74" fmla="*/ 45412 w 429"/>
              <a:gd name="T75" fmla="*/ 174531 h 524"/>
              <a:gd name="T76" fmla="*/ 50215 w 429"/>
              <a:gd name="T77" fmla="*/ 179248 h 524"/>
              <a:gd name="T78" fmla="*/ 58948 w 429"/>
              <a:gd name="T79" fmla="*/ 188158 h 524"/>
              <a:gd name="T80" fmla="*/ 67245 w 429"/>
              <a:gd name="T81" fmla="*/ 183966 h 524"/>
              <a:gd name="T82" fmla="*/ 79035 w 429"/>
              <a:gd name="T83" fmla="*/ 185014 h 524"/>
              <a:gd name="T84" fmla="*/ 86894 w 429"/>
              <a:gd name="T85" fmla="*/ 178200 h 524"/>
              <a:gd name="T86" fmla="*/ 91698 w 429"/>
              <a:gd name="T87" fmla="*/ 165097 h 524"/>
              <a:gd name="T88" fmla="*/ 93008 w 429"/>
              <a:gd name="T89" fmla="*/ 151994 h 524"/>
              <a:gd name="T90" fmla="*/ 93881 w 429"/>
              <a:gd name="T91" fmla="*/ 140988 h 524"/>
              <a:gd name="T92" fmla="*/ 87768 w 429"/>
              <a:gd name="T93" fmla="*/ 123692 h 524"/>
              <a:gd name="T94" fmla="*/ 82091 w 429"/>
              <a:gd name="T95" fmla="*/ 106396 h 524"/>
              <a:gd name="T96" fmla="*/ 90388 w 429"/>
              <a:gd name="T97" fmla="*/ 92769 h 524"/>
              <a:gd name="T98" fmla="*/ 91698 w 429"/>
              <a:gd name="T99" fmla="*/ 85955 h 524"/>
              <a:gd name="T100" fmla="*/ 87331 w 429"/>
              <a:gd name="T101" fmla="*/ 81238 h 524"/>
              <a:gd name="T102" fmla="*/ 86021 w 429"/>
              <a:gd name="T103" fmla="*/ 71804 h 524"/>
              <a:gd name="T104" fmla="*/ 82091 w 429"/>
              <a:gd name="T105" fmla="*/ 67611 h 524"/>
              <a:gd name="T106" fmla="*/ 70301 w 429"/>
              <a:gd name="T107" fmla="*/ 69184 h 524"/>
              <a:gd name="T108" fmla="*/ 59822 w 429"/>
              <a:gd name="T109" fmla="*/ 68660 h 524"/>
              <a:gd name="T110" fmla="*/ 54582 w 429"/>
              <a:gd name="T111" fmla="*/ 62370 h 524"/>
              <a:gd name="T112" fmla="*/ 53709 w 429"/>
              <a:gd name="T113" fmla="*/ 53984 h 524"/>
              <a:gd name="T114" fmla="*/ 57638 w 429"/>
              <a:gd name="T115" fmla="*/ 39833 h 524"/>
              <a:gd name="T116" fmla="*/ 133616 w 429"/>
              <a:gd name="T117" fmla="*/ 19916 h 524"/>
              <a:gd name="T118" fmla="*/ 141040 w 429"/>
              <a:gd name="T119" fmla="*/ 8910 h 524"/>
              <a:gd name="T120" fmla="*/ 149773 w 429"/>
              <a:gd name="T121" fmla="*/ 3669 h 524"/>
              <a:gd name="T122" fmla="*/ 163309 w 429"/>
              <a:gd name="T123" fmla="*/ 2621 h 524"/>
              <a:gd name="T124" fmla="*/ 178155 w 429"/>
              <a:gd name="T125" fmla="*/ 2096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1001" name="Freeform 452">
            <a:extLst>
              <a:ext uri="{FF2B5EF4-FFF2-40B4-BE49-F238E27FC236}">
                <a16:creationId xmlns:a16="http://schemas.microsoft.com/office/drawing/2014/main" id="{B94D3FAF-AC05-4111-B98B-AA81EB10ECC7}"/>
              </a:ext>
            </a:extLst>
          </p:cNvPr>
          <p:cNvSpPr>
            <a:spLocks/>
          </p:cNvSpPr>
          <p:nvPr>
            <p:custDataLst>
              <p:tags r:id="rId289"/>
            </p:custDataLst>
          </p:nvPr>
        </p:nvSpPr>
        <p:spPr bwMode="auto">
          <a:xfrm>
            <a:off x="8300497" y="4472724"/>
            <a:ext cx="269470" cy="242523"/>
          </a:xfrm>
          <a:custGeom>
            <a:avLst/>
            <a:gdLst>
              <a:gd name="T0" fmla="*/ 112647 w 292"/>
              <a:gd name="T1" fmla="*/ 47668 h 223"/>
              <a:gd name="T2" fmla="*/ 72199 w 292"/>
              <a:gd name="T3" fmla="*/ 39467 h 223"/>
              <a:gd name="T4" fmla="*/ 66110 w 292"/>
              <a:gd name="T5" fmla="*/ 40492 h 223"/>
              <a:gd name="T6" fmla="*/ 60455 w 292"/>
              <a:gd name="T7" fmla="*/ 40492 h 223"/>
              <a:gd name="T8" fmla="*/ 54801 w 292"/>
              <a:gd name="T9" fmla="*/ 39467 h 223"/>
              <a:gd name="T10" fmla="*/ 51757 w 292"/>
              <a:gd name="T11" fmla="*/ 47668 h 223"/>
              <a:gd name="T12" fmla="*/ 62630 w 292"/>
              <a:gd name="T13" fmla="*/ 67145 h 223"/>
              <a:gd name="T14" fmla="*/ 73068 w 292"/>
              <a:gd name="T15" fmla="*/ 80471 h 223"/>
              <a:gd name="T16" fmla="*/ 82202 w 292"/>
              <a:gd name="T17" fmla="*/ 94823 h 223"/>
              <a:gd name="T18" fmla="*/ 85682 w 292"/>
              <a:gd name="T19" fmla="*/ 103536 h 223"/>
              <a:gd name="T20" fmla="*/ 89161 w 292"/>
              <a:gd name="T21" fmla="*/ 113787 h 223"/>
              <a:gd name="T22" fmla="*/ 76113 w 292"/>
              <a:gd name="T23" fmla="*/ 114300 h 223"/>
              <a:gd name="T24" fmla="*/ 70024 w 292"/>
              <a:gd name="T25" fmla="*/ 113787 h 223"/>
              <a:gd name="T26" fmla="*/ 63500 w 292"/>
              <a:gd name="T27" fmla="*/ 110712 h 223"/>
              <a:gd name="T28" fmla="*/ 58281 w 292"/>
              <a:gd name="T29" fmla="*/ 107124 h 223"/>
              <a:gd name="T30" fmla="*/ 55236 w 292"/>
              <a:gd name="T31" fmla="*/ 101486 h 223"/>
              <a:gd name="T32" fmla="*/ 52627 w 292"/>
              <a:gd name="T33" fmla="*/ 95848 h 223"/>
              <a:gd name="T34" fmla="*/ 49147 w 292"/>
              <a:gd name="T35" fmla="*/ 92260 h 223"/>
              <a:gd name="T36" fmla="*/ 39579 w 292"/>
              <a:gd name="T37" fmla="*/ 74321 h 223"/>
              <a:gd name="T38" fmla="*/ 29575 w 292"/>
              <a:gd name="T39" fmla="*/ 57919 h 223"/>
              <a:gd name="T40" fmla="*/ 23921 w 292"/>
              <a:gd name="T41" fmla="*/ 50743 h 223"/>
              <a:gd name="T42" fmla="*/ 18267 w 292"/>
              <a:gd name="T43" fmla="*/ 44592 h 223"/>
              <a:gd name="T44" fmla="*/ 11743 w 292"/>
              <a:gd name="T45" fmla="*/ 40492 h 223"/>
              <a:gd name="T46" fmla="*/ 5654 w 292"/>
              <a:gd name="T47" fmla="*/ 38442 h 223"/>
              <a:gd name="T48" fmla="*/ 1740 w 292"/>
              <a:gd name="T49" fmla="*/ 33316 h 223"/>
              <a:gd name="T50" fmla="*/ 435 w 292"/>
              <a:gd name="T51" fmla="*/ 29728 h 223"/>
              <a:gd name="T52" fmla="*/ 0 w 292"/>
              <a:gd name="T53" fmla="*/ 25115 h 223"/>
              <a:gd name="T54" fmla="*/ 17397 w 292"/>
              <a:gd name="T55" fmla="*/ 28191 h 223"/>
              <a:gd name="T56" fmla="*/ 30445 w 292"/>
              <a:gd name="T57" fmla="*/ 28191 h 223"/>
              <a:gd name="T58" fmla="*/ 39579 w 292"/>
              <a:gd name="T59" fmla="*/ 25628 h 223"/>
              <a:gd name="T60" fmla="*/ 46103 w 292"/>
              <a:gd name="T61" fmla="*/ 21015 h 223"/>
              <a:gd name="T62" fmla="*/ 55236 w 292"/>
              <a:gd name="T63" fmla="*/ 10251 h 223"/>
              <a:gd name="T64" fmla="*/ 60021 w 292"/>
              <a:gd name="T65" fmla="*/ 4613 h 223"/>
              <a:gd name="T66" fmla="*/ 66110 w 292"/>
              <a:gd name="T67" fmla="*/ 0 h 223"/>
              <a:gd name="T68" fmla="*/ 74808 w 292"/>
              <a:gd name="T69" fmla="*/ 7176 h 223"/>
              <a:gd name="T70" fmla="*/ 84377 w 292"/>
              <a:gd name="T71" fmla="*/ 13326 h 223"/>
              <a:gd name="T72" fmla="*/ 94815 w 292"/>
              <a:gd name="T73" fmla="*/ 17427 h 223"/>
              <a:gd name="T74" fmla="*/ 106993 w 292"/>
              <a:gd name="T75" fmla="*/ 18965 h 223"/>
              <a:gd name="T76" fmla="*/ 113952 w 292"/>
              <a:gd name="T77" fmla="*/ 17427 h 223"/>
              <a:gd name="T78" fmla="*/ 121346 w 292"/>
              <a:gd name="T79" fmla="*/ 15889 h 223"/>
              <a:gd name="T80" fmla="*/ 123955 w 292"/>
              <a:gd name="T81" fmla="*/ 24090 h 223"/>
              <a:gd name="T82" fmla="*/ 124825 w 292"/>
              <a:gd name="T83" fmla="*/ 25115 h 223"/>
              <a:gd name="T84" fmla="*/ 127000 w 292"/>
              <a:gd name="T85" fmla="*/ 35366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02" name="Freeform 453">
            <a:extLst>
              <a:ext uri="{FF2B5EF4-FFF2-40B4-BE49-F238E27FC236}">
                <a16:creationId xmlns:a16="http://schemas.microsoft.com/office/drawing/2014/main" id="{5D90E416-DEA3-46EA-BEA0-862743D47C41}"/>
              </a:ext>
            </a:extLst>
          </p:cNvPr>
          <p:cNvSpPr>
            <a:spLocks/>
          </p:cNvSpPr>
          <p:nvPr>
            <p:custDataLst>
              <p:tags r:id="rId290"/>
            </p:custDataLst>
          </p:nvPr>
        </p:nvSpPr>
        <p:spPr bwMode="auto">
          <a:xfrm>
            <a:off x="8196076" y="4172938"/>
            <a:ext cx="357048" cy="165051"/>
          </a:xfrm>
          <a:custGeom>
            <a:avLst/>
            <a:gdLst>
              <a:gd name="T0" fmla="*/ 166499 w 379"/>
              <a:gd name="T1" fmla="*/ 49742 h 147"/>
              <a:gd name="T2" fmla="*/ 159839 w 379"/>
              <a:gd name="T3" fmla="*/ 53446 h 147"/>
              <a:gd name="T4" fmla="*/ 157175 w 379"/>
              <a:gd name="T5" fmla="*/ 57150 h 147"/>
              <a:gd name="T6" fmla="*/ 154067 w 379"/>
              <a:gd name="T7" fmla="*/ 61913 h 147"/>
              <a:gd name="T8" fmla="*/ 147851 w 379"/>
              <a:gd name="T9" fmla="*/ 67205 h 147"/>
              <a:gd name="T10" fmla="*/ 142079 w 379"/>
              <a:gd name="T11" fmla="*/ 69321 h 147"/>
              <a:gd name="T12" fmla="*/ 138083 w 379"/>
              <a:gd name="T13" fmla="*/ 69850 h 147"/>
              <a:gd name="T14" fmla="*/ 133643 w 379"/>
              <a:gd name="T15" fmla="*/ 68792 h 147"/>
              <a:gd name="T16" fmla="*/ 129203 w 379"/>
              <a:gd name="T17" fmla="*/ 66675 h 147"/>
              <a:gd name="T18" fmla="*/ 124763 w 379"/>
              <a:gd name="T19" fmla="*/ 62971 h 147"/>
              <a:gd name="T20" fmla="*/ 122099 w 379"/>
              <a:gd name="T21" fmla="*/ 61384 h 147"/>
              <a:gd name="T22" fmla="*/ 119435 w 379"/>
              <a:gd name="T23" fmla="*/ 62442 h 147"/>
              <a:gd name="T24" fmla="*/ 118547 w 379"/>
              <a:gd name="T25" fmla="*/ 65088 h 147"/>
              <a:gd name="T26" fmla="*/ 118103 w 379"/>
              <a:gd name="T27" fmla="*/ 74084 h 147"/>
              <a:gd name="T28" fmla="*/ 114107 w 379"/>
              <a:gd name="T29" fmla="*/ 76730 h 147"/>
              <a:gd name="T30" fmla="*/ 108335 w 379"/>
              <a:gd name="T31" fmla="*/ 74084 h 147"/>
              <a:gd name="T32" fmla="*/ 101675 w 379"/>
              <a:gd name="T33" fmla="*/ 69321 h 147"/>
              <a:gd name="T34" fmla="*/ 50172 w 379"/>
              <a:gd name="T35" fmla="*/ 74613 h 147"/>
              <a:gd name="T36" fmla="*/ 35520 w 379"/>
              <a:gd name="T37" fmla="*/ 65617 h 147"/>
              <a:gd name="T38" fmla="*/ 25752 w 379"/>
              <a:gd name="T39" fmla="*/ 57680 h 147"/>
              <a:gd name="T40" fmla="*/ 19980 w 379"/>
              <a:gd name="T41" fmla="*/ 49742 h 147"/>
              <a:gd name="T42" fmla="*/ 16428 w 379"/>
              <a:gd name="T43" fmla="*/ 43392 h 147"/>
              <a:gd name="T44" fmla="*/ 11544 w 379"/>
              <a:gd name="T45" fmla="*/ 31221 h 147"/>
              <a:gd name="T46" fmla="*/ 7104 w 379"/>
              <a:gd name="T47" fmla="*/ 25400 h 147"/>
              <a:gd name="T48" fmla="*/ 0 w 379"/>
              <a:gd name="T49" fmla="*/ 19050 h 147"/>
              <a:gd name="T50" fmla="*/ 12876 w 379"/>
              <a:gd name="T51" fmla="*/ 21167 h 147"/>
              <a:gd name="T52" fmla="*/ 23088 w 379"/>
              <a:gd name="T53" fmla="*/ 20108 h 147"/>
              <a:gd name="T54" fmla="*/ 31968 w 379"/>
              <a:gd name="T55" fmla="*/ 17463 h 147"/>
              <a:gd name="T56" fmla="*/ 38628 w 379"/>
              <a:gd name="T57" fmla="*/ 13229 h 147"/>
              <a:gd name="T58" fmla="*/ 52836 w 379"/>
              <a:gd name="T59" fmla="*/ 4233 h 147"/>
              <a:gd name="T60" fmla="*/ 61272 w 379"/>
              <a:gd name="T61" fmla="*/ 1058 h 147"/>
              <a:gd name="T62" fmla="*/ 70596 w 379"/>
              <a:gd name="T63" fmla="*/ 0 h 147"/>
              <a:gd name="T64" fmla="*/ 88799 w 379"/>
              <a:gd name="T65" fmla="*/ 12171 h 147"/>
              <a:gd name="T66" fmla="*/ 108335 w 379"/>
              <a:gd name="T67" fmla="*/ 23813 h 147"/>
              <a:gd name="T68" fmla="*/ 129647 w 379"/>
              <a:gd name="T69" fmla="*/ 35454 h 147"/>
              <a:gd name="T70" fmla="*/ 147851 w 379"/>
              <a:gd name="T71" fmla="*/ 42334 h 147"/>
              <a:gd name="T72" fmla="*/ 157175 w 379"/>
              <a:gd name="T73" fmla="*/ 45509 h 147"/>
              <a:gd name="T74" fmla="*/ 168275 w 379"/>
              <a:gd name="T75" fmla="*/ 48684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03" name="Freeform 454">
            <a:extLst>
              <a:ext uri="{FF2B5EF4-FFF2-40B4-BE49-F238E27FC236}">
                <a16:creationId xmlns:a16="http://schemas.microsoft.com/office/drawing/2014/main" id="{2AE61B93-DF47-43A3-9728-B828D7D0A16E}"/>
              </a:ext>
            </a:extLst>
          </p:cNvPr>
          <p:cNvSpPr>
            <a:spLocks/>
          </p:cNvSpPr>
          <p:nvPr>
            <p:custDataLst>
              <p:tags r:id="rId291"/>
            </p:custDataLst>
          </p:nvPr>
        </p:nvSpPr>
        <p:spPr bwMode="auto">
          <a:xfrm>
            <a:off x="8118605" y="3866417"/>
            <a:ext cx="63998" cy="127998"/>
          </a:xfrm>
          <a:custGeom>
            <a:avLst/>
            <a:gdLst>
              <a:gd name="T0" fmla="*/ 0 w 61"/>
              <a:gd name="T1" fmla="*/ 0 h 67"/>
              <a:gd name="T2" fmla="*/ 0 w 61"/>
              <a:gd name="T3" fmla="*/ 8103 h 67"/>
              <a:gd name="T4" fmla="*/ 0 w 61"/>
              <a:gd name="T5" fmla="*/ 16207 h 67"/>
              <a:gd name="T6" fmla="*/ 494 w 61"/>
              <a:gd name="T7" fmla="*/ 21609 h 67"/>
              <a:gd name="T8" fmla="*/ 989 w 61"/>
              <a:gd name="T9" fmla="*/ 27011 h 67"/>
              <a:gd name="T10" fmla="*/ 1483 w 61"/>
              <a:gd name="T11" fmla="*/ 32413 h 67"/>
              <a:gd name="T12" fmla="*/ 2967 w 61"/>
              <a:gd name="T13" fmla="*/ 37816 h 67"/>
              <a:gd name="T14" fmla="*/ 5934 w 61"/>
              <a:gd name="T15" fmla="*/ 49521 h 67"/>
              <a:gd name="T16" fmla="*/ 10384 w 61"/>
              <a:gd name="T17" fmla="*/ 60325 h 67"/>
              <a:gd name="T18" fmla="*/ 13845 w 61"/>
              <a:gd name="T19" fmla="*/ 58524 h 67"/>
              <a:gd name="T20" fmla="*/ 17306 w 61"/>
              <a:gd name="T21" fmla="*/ 54923 h 67"/>
              <a:gd name="T22" fmla="*/ 20767 w 61"/>
              <a:gd name="T23" fmla="*/ 52222 h 67"/>
              <a:gd name="T24" fmla="*/ 23734 w 61"/>
              <a:gd name="T25" fmla="*/ 47720 h 67"/>
              <a:gd name="T26" fmla="*/ 26206 w 61"/>
              <a:gd name="T27" fmla="*/ 42318 h 67"/>
              <a:gd name="T28" fmla="*/ 28184 w 61"/>
              <a:gd name="T29" fmla="*/ 36015 h 67"/>
              <a:gd name="T30" fmla="*/ 29173 w 61"/>
              <a:gd name="T31" fmla="*/ 28812 h 67"/>
              <a:gd name="T32" fmla="*/ 30162 w 61"/>
              <a:gd name="T33" fmla="*/ 21609 h 67"/>
              <a:gd name="T34" fmla="*/ 26206 w 61"/>
              <a:gd name="T35" fmla="*/ 12605 h 67"/>
              <a:gd name="T36" fmla="*/ 20273 w 61"/>
              <a:gd name="T37" fmla="*/ 0 h 67"/>
              <a:gd name="T38" fmla="*/ 13845 w 61"/>
              <a:gd name="T39" fmla="*/ 2701 h 67"/>
              <a:gd name="T40" fmla="*/ 8900 w 61"/>
              <a:gd name="T41" fmla="*/ 3601 h 67"/>
              <a:gd name="T42" fmla="*/ 6428 w 61"/>
              <a:gd name="T43" fmla="*/ 3601 h 67"/>
              <a:gd name="T44" fmla="*/ 4945 w 61"/>
              <a:gd name="T45" fmla="*/ 2701 h 67"/>
              <a:gd name="T46" fmla="*/ 2967 w 61"/>
              <a:gd name="T47" fmla="*/ 1801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04" name="Freeform 455">
            <a:extLst>
              <a:ext uri="{FF2B5EF4-FFF2-40B4-BE49-F238E27FC236}">
                <a16:creationId xmlns:a16="http://schemas.microsoft.com/office/drawing/2014/main" id="{7CDC6D34-71F1-436F-AB3D-E3301154200B}"/>
              </a:ext>
            </a:extLst>
          </p:cNvPr>
          <p:cNvSpPr>
            <a:spLocks/>
          </p:cNvSpPr>
          <p:nvPr>
            <p:custDataLst>
              <p:tags r:id="rId292"/>
            </p:custDataLst>
          </p:nvPr>
        </p:nvSpPr>
        <p:spPr bwMode="auto">
          <a:xfrm>
            <a:off x="8057974" y="3876521"/>
            <a:ext cx="53894" cy="124631"/>
          </a:xfrm>
          <a:custGeom>
            <a:avLst/>
            <a:gdLst>
              <a:gd name="T0" fmla="*/ 0 w 60"/>
              <a:gd name="T1" fmla="*/ 6408 h 55"/>
              <a:gd name="T2" fmla="*/ 0 w 60"/>
              <a:gd name="T3" fmla="*/ 25631 h 55"/>
              <a:gd name="T4" fmla="*/ 2117 w 60"/>
              <a:gd name="T5" fmla="*/ 34175 h 55"/>
              <a:gd name="T6" fmla="*/ 4233 w 60"/>
              <a:gd name="T7" fmla="*/ 42719 h 55"/>
              <a:gd name="T8" fmla="*/ 6773 w 60"/>
              <a:gd name="T9" fmla="*/ 48058 h 55"/>
              <a:gd name="T10" fmla="*/ 8890 w 60"/>
              <a:gd name="T11" fmla="*/ 52330 h 55"/>
              <a:gd name="T12" fmla="*/ 11430 w 60"/>
              <a:gd name="T13" fmla="*/ 55534 h 55"/>
              <a:gd name="T14" fmla="*/ 13970 w 60"/>
              <a:gd name="T15" fmla="*/ 57670 h 55"/>
              <a:gd name="T16" fmla="*/ 16933 w 60"/>
              <a:gd name="T17" fmla="*/ 58738 h 55"/>
              <a:gd name="T18" fmla="*/ 19473 w 60"/>
              <a:gd name="T19" fmla="*/ 58738 h 55"/>
              <a:gd name="T20" fmla="*/ 22437 w 60"/>
              <a:gd name="T21" fmla="*/ 55534 h 55"/>
              <a:gd name="T22" fmla="*/ 25400 w 60"/>
              <a:gd name="T23" fmla="*/ 52330 h 55"/>
              <a:gd name="T24" fmla="*/ 21167 w 60"/>
              <a:gd name="T25" fmla="*/ 36311 h 55"/>
              <a:gd name="T26" fmla="*/ 17780 w 60"/>
              <a:gd name="T27" fmla="*/ 23495 h 55"/>
              <a:gd name="T28" fmla="*/ 16510 w 60"/>
              <a:gd name="T29" fmla="*/ 18155 h 55"/>
              <a:gd name="T30" fmla="*/ 14817 w 60"/>
              <a:gd name="T31" fmla="*/ 12816 h 55"/>
              <a:gd name="T32" fmla="*/ 14393 w 60"/>
              <a:gd name="T33" fmla="*/ 6408 h 55"/>
              <a:gd name="T34" fmla="*/ 13970 w 60"/>
              <a:gd name="T35" fmla="*/ 0 h 55"/>
              <a:gd name="T36" fmla="*/ 9737 w 60"/>
              <a:gd name="T37" fmla="*/ 1068 h 55"/>
              <a:gd name="T38" fmla="*/ 6350 w 60"/>
              <a:gd name="T39" fmla="*/ 3204 h 55"/>
              <a:gd name="T40" fmla="*/ 2963 w 60"/>
              <a:gd name="T41" fmla="*/ 5340 h 55"/>
              <a:gd name="T42" fmla="*/ 0 w 60"/>
              <a:gd name="T43" fmla="*/ 6408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1005" name="Freeform 456">
            <a:extLst>
              <a:ext uri="{FF2B5EF4-FFF2-40B4-BE49-F238E27FC236}">
                <a16:creationId xmlns:a16="http://schemas.microsoft.com/office/drawing/2014/main" id="{AABEC2D6-31EA-486E-8AFB-63F6573B8339}"/>
              </a:ext>
            </a:extLst>
          </p:cNvPr>
          <p:cNvSpPr>
            <a:spLocks/>
          </p:cNvSpPr>
          <p:nvPr>
            <p:custDataLst>
              <p:tags r:id="rId293"/>
            </p:custDataLst>
          </p:nvPr>
        </p:nvSpPr>
        <p:spPr bwMode="auto">
          <a:xfrm>
            <a:off x="7993974" y="3761996"/>
            <a:ext cx="111157" cy="165051"/>
          </a:xfrm>
          <a:custGeom>
            <a:avLst/>
            <a:gdLst>
              <a:gd name="T0" fmla="*/ 32306 w 120"/>
              <a:gd name="T1" fmla="*/ 67802 h 148"/>
              <a:gd name="T2" fmla="*/ 30560 w 120"/>
              <a:gd name="T3" fmla="*/ 68853 h 148"/>
              <a:gd name="T4" fmla="*/ 29250 w 120"/>
              <a:gd name="T5" fmla="*/ 69378 h 148"/>
              <a:gd name="T6" fmla="*/ 27940 w 120"/>
              <a:gd name="T7" fmla="*/ 69904 h 148"/>
              <a:gd name="T8" fmla="*/ 26194 w 120"/>
              <a:gd name="T9" fmla="*/ 69904 h 148"/>
              <a:gd name="T10" fmla="*/ 24448 w 120"/>
              <a:gd name="T11" fmla="*/ 69904 h 148"/>
              <a:gd name="T12" fmla="*/ 23138 w 120"/>
              <a:gd name="T13" fmla="*/ 69378 h 148"/>
              <a:gd name="T14" fmla="*/ 21828 w 120"/>
              <a:gd name="T15" fmla="*/ 68853 h 148"/>
              <a:gd name="T16" fmla="*/ 20519 w 120"/>
              <a:gd name="T17" fmla="*/ 67802 h 148"/>
              <a:gd name="T18" fmla="*/ 17899 w 120"/>
              <a:gd name="T19" fmla="*/ 67276 h 148"/>
              <a:gd name="T20" fmla="*/ 14843 w 120"/>
              <a:gd name="T21" fmla="*/ 65699 h 148"/>
              <a:gd name="T22" fmla="*/ 11351 w 120"/>
              <a:gd name="T23" fmla="*/ 63071 h 148"/>
              <a:gd name="T24" fmla="*/ 8295 w 120"/>
              <a:gd name="T25" fmla="*/ 60443 h 148"/>
              <a:gd name="T26" fmla="*/ 4802 w 120"/>
              <a:gd name="T27" fmla="*/ 56764 h 148"/>
              <a:gd name="T28" fmla="*/ 2619 w 120"/>
              <a:gd name="T29" fmla="*/ 53085 h 148"/>
              <a:gd name="T30" fmla="*/ 1310 w 120"/>
              <a:gd name="T31" fmla="*/ 50983 h 148"/>
              <a:gd name="T32" fmla="*/ 873 w 120"/>
              <a:gd name="T33" fmla="*/ 49406 h 148"/>
              <a:gd name="T34" fmla="*/ 437 w 120"/>
              <a:gd name="T35" fmla="*/ 47304 h 148"/>
              <a:gd name="T36" fmla="*/ 0 w 120"/>
              <a:gd name="T37" fmla="*/ 45727 h 148"/>
              <a:gd name="T38" fmla="*/ 873 w 120"/>
              <a:gd name="T39" fmla="*/ 38368 h 148"/>
              <a:gd name="T40" fmla="*/ 3493 w 120"/>
              <a:gd name="T41" fmla="*/ 28908 h 148"/>
              <a:gd name="T42" fmla="*/ 6112 w 120"/>
              <a:gd name="T43" fmla="*/ 18396 h 148"/>
              <a:gd name="T44" fmla="*/ 8731 w 120"/>
              <a:gd name="T45" fmla="*/ 9461 h 148"/>
              <a:gd name="T46" fmla="*/ 13970 w 120"/>
              <a:gd name="T47" fmla="*/ 8935 h 148"/>
              <a:gd name="T48" fmla="*/ 18336 w 120"/>
              <a:gd name="T49" fmla="*/ 8410 h 148"/>
              <a:gd name="T50" fmla="*/ 22265 w 120"/>
              <a:gd name="T51" fmla="*/ 7358 h 148"/>
              <a:gd name="T52" fmla="*/ 25321 w 120"/>
              <a:gd name="T53" fmla="*/ 5782 h 148"/>
              <a:gd name="T54" fmla="*/ 30560 w 120"/>
              <a:gd name="T55" fmla="*/ 2628 h 148"/>
              <a:gd name="T56" fmla="*/ 34925 w 120"/>
              <a:gd name="T57" fmla="*/ 0 h 148"/>
              <a:gd name="T58" fmla="*/ 37108 w 120"/>
              <a:gd name="T59" fmla="*/ 1051 h 148"/>
              <a:gd name="T60" fmla="*/ 40601 w 120"/>
              <a:gd name="T61" fmla="*/ 3679 h 148"/>
              <a:gd name="T62" fmla="*/ 42784 w 120"/>
              <a:gd name="T63" fmla="*/ 5256 h 148"/>
              <a:gd name="T64" fmla="*/ 44530 w 120"/>
              <a:gd name="T65" fmla="*/ 6833 h 148"/>
              <a:gd name="T66" fmla="*/ 46276 w 120"/>
              <a:gd name="T67" fmla="*/ 8410 h 148"/>
              <a:gd name="T68" fmla="*/ 46713 w 120"/>
              <a:gd name="T69" fmla="*/ 9461 h 148"/>
              <a:gd name="T70" fmla="*/ 43657 w 120"/>
              <a:gd name="T71" fmla="*/ 14717 h 148"/>
              <a:gd name="T72" fmla="*/ 40601 w 120"/>
              <a:gd name="T73" fmla="*/ 19447 h 148"/>
              <a:gd name="T74" fmla="*/ 41474 w 120"/>
              <a:gd name="T75" fmla="*/ 22075 h 148"/>
              <a:gd name="T76" fmla="*/ 42784 w 120"/>
              <a:gd name="T77" fmla="*/ 25754 h 148"/>
              <a:gd name="T78" fmla="*/ 44530 w 120"/>
              <a:gd name="T79" fmla="*/ 29433 h 148"/>
              <a:gd name="T80" fmla="*/ 46713 w 120"/>
              <a:gd name="T81" fmla="*/ 33112 h 148"/>
              <a:gd name="T82" fmla="*/ 50205 w 120"/>
              <a:gd name="T83" fmla="*/ 39420 h 148"/>
              <a:gd name="T84" fmla="*/ 52388 w 120"/>
              <a:gd name="T85" fmla="*/ 41522 h 148"/>
              <a:gd name="T86" fmla="*/ 49332 w 120"/>
              <a:gd name="T87" fmla="*/ 42573 h 148"/>
              <a:gd name="T88" fmla="*/ 46713 w 120"/>
              <a:gd name="T89" fmla="*/ 44150 h 148"/>
              <a:gd name="T90" fmla="*/ 43657 w 120"/>
              <a:gd name="T91" fmla="*/ 45727 h 148"/>
              <a:gd name="T92" fmla="*/ 41910 w 120"/>
              <a:gd name="T93" fmla="*/ 47829 h 148"/>
              <a:gd name="T94" fmla="*/ 39291 w 120"/>
              <a:gd name="T95" fmla="*/ 49931 h 148"/>
              <a:gd name="T96" fmla="*/ 37981 w 120"/>
              <a:gd name="T97" fmla="*/ 52034 h 148"/>
              <a:gd name="T98" fmla="*/ 35798 w 120"/>
              <a:gd name="T99" fmla="*/ 54662 h 148"/>
              <a:gd name="T100" fmla="*/ 34925 w 120"/>
              <a:gd name="T101" fmla="*/ 57290 h 148"/>
              <a:gd name="T102" fmla="*/ 34052 w 120"/>
              <a:gd name="T103" fmla="*/ 59918 h 148"/>
              <a:gd name="T104" fmla="*/ 33616 w 120"/>
              <a:gd name="T105" fmla="*/ 63071 h 148"/>
              <a:gd name="T106" fmla="*/ 33179 w 120"/>
              <a:gd name="T107" fmla="*/ 65699 h 148"/>
              <a:gd name="T108" fmla="*/ 32743 w 120"/>
              <a:gd name="T109" fmla="*/ 68327 h 148"/>
              <a:gd name="T110" fmla="*/ 33179 w 120"/>
              <a:gd name="T111" fmla="*/ 70955 h 148"/>
              <a:gd name="T112" fmla="*/ 33616 w 120"/>
              <a:gd name="T113" fmla="*/ 73583 h 148"/>
              <a:gd name="T114" fmla="*/ 34052 w 120"/>
              <a:gd name="T115" fmla="*/ 75686 h 148"/>
              <a:gd name="T116" fmla="*/ 34925 w 120"/>
              <a:gd name="T117" fmla="*/ 77788 h 148"/>
              <a:gd name="T118" fmla="*/ 32306 w 120"/>
              <a:gd name="T119" fmla="*/ 67802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06" name="Freeform 457">
            <a:extLst>
              <a:ext uri="{FF2B5EF4-FFF2-40B4-BE49-F238E27FC236}">
                <a16:creationId xmlns:a16="http://schemas.microsoft.com/office/drawing/2014/main" id="{DBAD95E3-13F9-49EB-BD15-501535964DD3}"/>
              </a:ext>
            </a:extLst>
          </p:cNvPr>
          <p:cNvSpPr>
            <a:spLocks/>
          </p:cNvSpPr>
          <p:nvPr>
            <p:custDataLst>
              <p:tags r:id="rId294"/>
            </p:custDataLst>
          </p:nvPr>
        </p:nvSpPr>
        <p:spPr bwMode="auto">
          <a:xfrm>
            <a:off x="8910172" y="5469763"/>
            <a:ext cx="579361" cy="653465"/>
          </a:xfrm>
          <a:custGeom>
            <a:avLst/>
            <a:gdLst>
              <a:gd name="T0" fmla="*/ 9087 w 631"/>
              <a:gd name="T1" fmla="*/ 1040 h 592"/>
              <a:gd name="T2" fmla="*/ 13847 w 631"/>
              <a:gd name="T3" fmla="*/ 2081 h 592"/>
              <a:gd name="T4" fmla="*/ 23367 w 631"/>
              <a:gd name="T5" fmla="*/ 4162 h 592"/>
              <a:gd name="T6" fmla="*/ 33753 w 631"/>
              <a:gd name="T7" fmla="*/ 5723 h 592"/>
              <a:gd name="T8" fmla="*/ 45003 w 631"/>
              <a:gd name="T9" fmla="*/ 9884 h 592"/>
              <a:gd name="T10" fmla="*/ 56254 w 631"/>
              <a:gd name="T11" fmla="*/ 16647 h 592"/>
              <a:gd name="T12" fmla="*/ 63178 w 631"/>
              <a:gd name="T13" fmla="*/ 20809 h 592"/>
              <a:gd name="T14" fmla="*/ 68803 w 631"/>
              <a:gd name="T15" fmla="*/ 22370 h 592"/>
              <a:gd name="T16" fmla="*/ 81785 w 631"/>
              <a:gd name="T17" fmla="*/ 22370 h 592"/>
              <a:gd name="T18" fmla="*/ 98229 w 631"/>
              <a:gd name="T19" fmla="*/ 19248 h 592"/>
              <a:gd name="T20" fmla="*/ 119865 w 631"/>
              <a:gd name="T21" fmla="*/ 11965 h 592"/>
              <a:gd name="T22" fmla="*/ 172658 w 631"/>
              <a:gd name="T23" fmla="*/ 19769 h 592"/>
              <a:gd name="T24" fmla="*/ 174389 w 631"/>
              <a:gd name="T25" fmla="*/ 35896 h 592"/>
              <a:gd name="T26" fmla="*/ 177418 w 631"/>
              <a:gd name="T27" fmla="*/ 49422 h 592"/>
              <a:gd name="T28" fmla="*/ 180447 w 631"/>
              <a:gd name="T29" fmla="*/ 61907 h 592"/>
              <a:gd name="T30" fmla="*/ 184774 w 631"/>
              <a:gd name="T31" fmla="*/ 72832 h 592"/>
              <a:gd name="T32" fmla="*/ 194727 w 631"/>
              <a:gd name="T33" fmla="*/ 91040 h 592"/>
              <a:gd name="T34" fmla="*/ 204247 w 631"/>
              <a:gd name="T35" fmla="*/ 106127 h 592"/>
              <a:gd name="T36" fmla="*/ 208574 w 631"/>
              <a:gd name="T37" fmla="*/ 115491 h 592"/>
              <a:gd name="T38" fmla="*/ 209872 w 631"/>
              <a:gd name="T39" fmla="*/ 124855 h 592"/>
              <a:gd name="T40" fmla="*/ 212468 w 631"/>
              <a:gd name="T41" fmla="*/ 132658 h 592"/>
              <a:gd name="T42" fmla="*/ 214632 w 631"/>
              <a:gd name="T43" fmla="*/ 135780 h 592"/>
              <a:gd name="T44" fmla="*/ 218527 w 631"/>
              <a:gd name="T45" fmla="*/ 138381 h 592"/>
              <a:gd name="T46" fmla="*/ 221988 w 631"/>
              <a:gd name="T47" fmla="*/ 140462 h 592"/>
              <a:gd name="T48" fmla="*/ 224585 w 631"/>
              <a:gd name="T49" fmla="*/ 144623 h 592"/>
              <a:gd name="T50" fmla="*/ 230643 w 631"/>
              <a:gd name="T51" fmla="*/ 157629 h 592"/>
              <a:gd name="T52" fmla="*/ 234105 w 631"/>
              <a:gd name="T53" fmla="*/ 172195 h 592"/>
              <a:gd name="T54" fmla="*/ 235836 w 631"/>
              <a:gd name="T55" fmla="*/ 186242 h 592"/>
              <a:gd name="T56" fmla="*/ 237134 w 631"/>
              <a:gd name="T57" fmla="*/ 191444 h 592"/>
              <a:gd name="T58" fmla="*/ 241028 w 631"/>
              <a:gd name="T59" fmla="*/ 198207 h 592"/>
              <a:gd name="T60" fmla="*/ 252279 w 631"/>
              <a:gd name="T61" fmla="*/ 215895 h 592"/>
              <a:gd name="T62" fmla="*/ 264828 w 631"/>
              <a:gd name="T63" fmla="*/ 232542 h 592"/>
              <a:gd name="T64" fmla="*/ 273050 w 631"/>
              <a:gd name="T65" fmla="*/ 240866 h 592"/>
              <a:gd name="T66" fmla="*/ 264828 w 631"/>
              <a:gd name="T67" fmla="*/ 250230 h 592"/>
              <a:gd name="T68" fmla="*/ 270021 w 631"/>
              <a:gd name="T69" fmla="*/ 258033 h 592"/>
              <a:gd name="T70" fmla="*/ 270886 w 631"/>
              <a:gd name="T71" fmla="*/ 263756 h 592"/>
              <a:gd name="T72" fmla="*/ 270886 w 631"/>
              <a:gd name="T73" fmla="*/ 268438 h 592"/>
              <a:gd name="T74" fmla="*/ 273050 w 631"/>
              <a:gd name="T75" fmla="*/ 276241 h 592"/>
              <a:gd name="T76" fmla="*/ 270886 w 631"/>
              <a:gd name="T77" fmla="*/ 280403 h 592"/>
              <a:gd name="T78" fmla="*/ 266992 w 631"/>
              <a:gd name="T79" fmla="*/ 285085 h 592"/>
              <a:gd name="T80" fmla="*/ 256174 w 631"/>
              <a:gd name="T81" fmla="*/ 296010 h 592"/>
              <a:gd name="T82" fmla="*/ 241461 w 631"/>
              <a:gd name="T83" fmla="*/ 307975 h 592"/>
              <a:gd name="T84" fmla="*/ 19905 w 631"/>
              <a:gd name="T85" fmla="*/ 90520 h 592"/>
              <a:gd name="T86" fmla="*/ 10818 w 631"/>
              <a:gd name="T87" fmla="*/ 81676 h 592"/>
              <a:gd name="T88" fmla="*/ 4760 w 631"/>
              <a:gd name="T89" fmla="*/ 71791 h 592"/>
              <a:gd name="T90" fmla="*/ 865 w 631"/>
              <a:gd name="T91" fmla="*/ 60867 h 592"/>
              <a:gd name="T92" fmla="*/ 0 w 631"/>
              <a:gd name="T93" fmla="*/ 48381 h 592"/>
              <a:gd name="T94" fmla="*/ 1298 w 631"/>
              <a:gd name="T95" fmla="*/ 46300 h 592"/>
              <a:gd name="T96" fmla="*/ 4327 w 631"/>
              <a:gd name="T97" fmla="*/ 43179 h 592"/>
              <a:gd name="T98" fmla="*/ 7356 w 631"/>
              <a:gd name="T99" fmla="*/ 40058 h 592"/>
              <a:gd name="T100" fmla="*/ 8655 w 631"/>
              <a:gd name="T101" fmla="*/ 35896 h 592"/>
              <a:gd name="T102" fmla="*/ 7789 w 631"/>
              <a:gd name="T103" fmla="*/ 27572 h 592"/>
              <a:gd name="T104" fmla="*/ 5625 w 631"/>
              <a:gd name="T105" fmla="*/ 21850 h 592"/>
              <a:gd name="T106" fmla="*/ 3895 w 631"/>
              <a:gd name="T107" fmla="*/ 17688 h 592"/>
              <a:gd name="T108" fmla="*/ 3029 w 631"/>
              <a:gd name="T109" fmla="*/ 13526 h 592"/>
              <a:gd name="T110" fmla="*/ 5625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07" name="Freeform 458">
            <a:extLst>
              <a:ext uri="{FF2B5EF4-FFF2-40B4-BE49-F238E27FC236}">
                <a16:creationId xmlns:a16="http://schemas.microsoft.com/office/drawing/2014/main" id="{CA9744D4-61B4-46F0-A18C-DAD0AA783446}"/>
              </a:ext>
            </a:extLst>
          </p:cNvPr>
          <p:cNvSpPr>
            <a:spLocks/>
          </p:cNvSpPr>
          <p:nvPr>
            <p:custDataLst>
              <p:tags r:id="rId295"/>
            </p:custDataLst>
          </p:nvPr>
        </p:nvSpPr>
        <p:spPr bwMode="auto">
          <a:xfrm>
            <a:off x="8051237" y="4695037"/>
            <a:ext cx="37051" cy="121262"/>
          </a:xfrm>
          <a:custGeom>
            <a:avLst/>
            <a:gdLst>
              <a:gd name="T0" fmla="*/ 3056 w 40"/>
              <a:gd name="T1" fmla="*/ 19050 h 93"/>
              <a:gd name="T2" fmla="*/ 4366 w 40"/>
              <a:gd name="T3" fmla="*/ 18435 h 93"/>
              <a:gd name="T4" fmla="*/ 6112 w 40"/>
              <a:gd name="T5" fmla="*/ 15977 h 93"/>
              <a:gd name="T6" fmla="*/ 8731 w 40"/>
              <a:gd name="T7" fmla="*/ 12290 h 93"/>
              <a:gd name="T8" fmla="*/ 10914 w 40"/>
              <a:gd name="T9" fmla="*/ 9218 h 93"/>
              <a:gd name="T10" fmla="*/ 15279 w 40"/>
              <a:gd name="T11" fmla="*/ 2458 h 93"/>
              <a:gd name="T12" fmla="*/ 17462 w 40"/>
              <a:gd name="T13" fmla="*/ 0 h 93"/>
              <a:gd name="T14" fmla="*/ 16152 w 40"/>
              <a:gd name="T15" fmla="*/ 15977 h 93"/>
              <a:gd name="T16" fmla="*/ 15279 w 40"/>
              <a:gd name="T17" fmla="*/ 32569 h 93"/>
              <a:gd name="T18" fmla="*/ 14843 w 40"/>
              <a:gd name="T19" fmla="*/ 39944 h 93"/>
              <a:gd name="T20" fmla="*/ 14843 w 40"/>
              <a:gd name="T21" fmla="*/ 47318 h 93"/>
              <a:gd name="T22" fmla="*/ 15279 w 40"/>
              <a:gd name="T23" fmla="*/ 50390 h 93"/>
              <a:gd name="T24" fmla="*/ 15716 w 40"/>
              <a:gd name="T25" fmla="*/ 52848 h 93"/>
              <a:gd name="T26" fmla="*/ 16152 w 40"/>
              <a:gd name="T27" fmla="*/ 55306 h 93"/>
              <a:gd name="T28" fmla="*/ 17462 w 40"/>
              <a:gd name="T29" fmla="*/ 57150 h 93"/>
              <a:gd name="T30" fmla="*/ 11350 w 40"/>
              <a:gd name="T31" fmla="*/ 57150 h 93"/>
              <a:gd name="T32" fmla="*/ 5675 w 40"/>
              <a:gd name="T33" fmla="*/ 57150 h 93"/>
              <a:gd name="T34" fmla="*/ 4802 w 40"/>
              <a:gd name="T35" fmla="*/ 56535 h 93"/>
              <a:gd name="T36" fmla="*/ 3492 w 40"/>
              <a:gd name="T37" fmla="*/ 55921 h 93"/>
              <a:gd name="T38" fmla="*/ 2619 w 40"/>
              <a:gd name="T39" fmla="*/ 54077 h 93"/>
              <a:gd name="T40" fmla="*/ 1746 w 40"/>
              <a:gd name="T41" fmla="*/ 52848 h 93"/>
              <a:gd name="T42" fmla="*/ 437 w 40"/>
              <a:gd name="T43" fmla="*/ 49161 h 93"/>
              <a:gd name="T44" fmla="*/ 0 w 40"/>
              <a:gd name="T45" fmla="*/ 44860 h 93"/>
              <a:gd name="T46" fmla="*/ 437 w 40"/>
              <a:gd name="T47" fmla="*/ 39329 h 93"/>
              <a:gd name="T48" fmla="*/ 1310 w 40"/>
              <a:gd name="T49" fmla="*/ 30726 h 93"/>
              <a:gd name="T50" fmla="*/ 2619 w 40"/>
              <a:gd name="T51" fmla="*/ 22737 h 93"/>
              <a:gd name="T52" fmla="*/ 3056 w 40"/>
              <a:gd name="T53" fmla="*/ 1905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08" name="Freeform 459">
            <a:extLst>
              <a:ext uri="{FF2B5EF4-FFF2-40B4-BE49-F238E27FC236}">
                <a16:creationId xmlns:a16="http://schemas.microsoft.com/office/drawing/2014/main" id="{B497233F-7F18-4476-BDA3-1D24E9195DD3}"/>
              </a:ext>
            </a:extLst>
          </p:cNvPr>
          <p:cNvSpPr>
            <a:spLocks/>
          </p:cNvSpPr>
          <p:nvPr>
            <p:custDataLst>
              <p:tags r:id="rId296"/>
            </p:custDataLst>
          </p:nvPr>
        </p:nvSpPr>
        <p:spPr bwMode="auto">
          <a:xfrm>
            <a:off x="7286615" y="4166201"/>
            <a:ext cx="626518" cy="579361"/>
          </a:xfrm>
          <a:custGeom>
            <a:avLst/>
            <a:gdLst>
              <a:gd name="T0" fmla="*/ 66259 w 664"/>
              <a:gd name="T1" fmla="*/ 234570 h 518"/>
              <a:gd name="T2" fmla="*/ 67148 w 664"/>
              <a:gd name="T3" fmla="*/ 227190 h 518"/>
              <a:gd name="T4" fmla="*/ 64925 w 664"/>
              <a:gd name="T5" fmla="*/ 210849 h 518"/>
              <a:gd name="T6" fmla="*/ 67148 w 664"/>
              <a:gd name="T7" fmla="*/ 186075 h 518"/>
              <a:gd name="T8" fmla="*/ 64925 w 664"/>
              <a:gd name="T9" fmla="*/ 157083 h 518"/>
              <a:gd name="T10" fmla="*/ 59589 w 664"/>
              <a:gd name="T11" fmla="*/ 132308 h 518"/>
              <a:gd name="T12" fmla="*/ 48471 w 664"/>
              <a:gd name="T13" fmla="*/ 127037 h 518"/>
              <a:gd name="T14" fmla="*/ 8894 w 664"/>
              <a:gd name="T15" fmla="*/ 101208 h 518"/>
              <a:gd name="T16" fmla="*/ 10673 w 664"/>
              <a:gd name="T17" fmla="*/ 90138 h 518"/>
              <a:gd name="T18" fmla="*/ 16009 w 664"/>
              <a:gd name="T19" fmla="*/ 83813 h 518"/>
              <a:gd name="T20" fmla="*/ 21345 w 664"/>
              <a:gd name="T21" fmla="*/ 78014 h 518"/>
              <a:gd name="T22" fmla="*/ 44469 w 664"/>
              <a:gd name="T23" fmla="*/ 81704 h 518"/>
              <a:gd name="T24" fmla="*/ 55586 w 664"/>
              <a:gd name="T25" fmla="*/ 80123 h 518"/>
              <a:gd name="T26" fmla="*/ 65370 w 664"/>
              <a:gd name="T27" fmla="*/ 82758 h 518"/>
              <a:gd name="T28" fmla="*/ 73374 w 664"/>
              <a:gd name="T29" fmla="*/ 49550 h 518"/>
              <a:gd name="T30" fmla="*/ 82268 w 664"/>
              <a:gd name="T31" fmla="*/ 57456 h 518"/>
              <a:gd name="T32" fmla="*/ 92051 w 664"/>
              <a:gd name="T33" fmla="*/ 57984 h 518"/>
              <a:gd name="T34" fmla="*/ 104947 w 664"/>
              <a:gd name="T35" fmla="*/ 52185 h 518"/>
              <a:gd name="T36" fmla="*/ 117398 w 664"/>
              <a:gd name="T37" fmla="*/ 42170 h 518"/>
              <a:gd name="T38" fmla="*/ 128516 w 664"/>
              <a:gd name="T39" fmla="*/ 30046 h 518"/>
              <a:gd name="T40" fmla="*/ 136965 w 664"/>
              <a:gd name="T41" fmla="*/ 16868 h 518"/>
              <a:gd name="T42" fmla="*/ 141412 w 664"/>
              <a:gd name="T43" fmla="*/ 6325 h 518"/>
              <a:gd name="T44" fmla="*/ 164536 w 664"/>
              <a:gd name="T45" fmla="*/ 2108 h 518"/>
              <a:gd name="T46" fmla="*/ 179655 w 664"/>
              <a:gd name="T47" fmla="*/ 16868 h 518"/>
              <a:gd name="T48" fmla="*/ 203224 w 664"/>
              <a:gd name="T49" fmla="*/ 32155 h 518"/>
              <a:gd name="T50" fmla="*/ 227237 w 664"/>
              <a:gd name="T51" fmla="*/ 47441 h 518"/>
              <a:gd name="T52" fmla="*/ 245470 w 664"/>
              <a:gd name="T53" fmla="*/ 56402 h 518"/>
              <a:gd name="T54" fmla="*/ 257032 w 664"/>
              <a:gd name="T55" fmla="*/ 61146 h 518"/>
              <a:gd name="T56" fmla="*/ 277043 w 664"/>
              <a:gd name="T57" fmla="*/ 63782 h 518"/>
              <a:gd name="T58" fmla="*/ 292607 w 664"/>
              <a:gd name="T59" fmla="*/ 71689 h 518"/>
              <a:gd name="T60" fmla="*/ 286826 w 664"/>
              <a:gd name="T61" fmla="*/ 87503 h 518"/>
              <a:gd name="T62" fmla="*/ 275709 w 664"/>
              <a:gd name="T63" fmla="*/ 124401 h 518"/>
              <a:gd name="T64" fmla="*/ 265925 w 664"/>
              <a:gd name="T65" fmla="*/ 143378 h 518"/>
              <a:gd name="T66" fmla="*/ 260144 w 664"/>
              <a:gd name="T67" fmla="*/ 150757 h 518"/>
              <a:gd name="T68" fmla="*/ 266370 w 664"/>
              <a:gd name="T69" fmla="*/ 157083 h 518"/>
              <a:gd name="T70" fmla="*/ 274819 w 664"/>
              <a:gd name="T71" fmla="*/ 161827 h 518"/>
              <a:gd name="T72" fmla="*/ 277043 w 664"/>
              <a:gd name="T73" fmla="*/ 176059 h 518"/>
              <a:gd name="T74" fmla="*/ 275709 w 664"/>
              <a:gd name="T75" fmla="*/ 182912 h 518"/>
              <a:gd name="T76" fmla="*/ 274819 w 664"/>
              <a:gd name="T77" fmla="*/ 196090 h 518"/>
              <a:gd name="T78" fmla="*/ 276598 w 664"/>
              <a:gd name="T79" fmla="*/ 210322 h 518"/>
              <a:gd name="T80" fmla="*/ 281045 w 664"/>
              <a:gd name="T81" fmla="*/ 222973 h 518"/>
              <a:gd name="T82" fmla="*/ 270372 w 664"/>
              <a:gd name="T83" fmla="*/ 240895 h 518"/>
              <a:gd name="T84" fmla="*/ 253029 w 664"/>
              <a:gd name="T85" fmla="*/ 255128 h 518"/>
              <a:gd name="T86" fmla="*/ 241023 w 664"/>
              <a:gd name="T87" fmla="*/ 257763 h 518"/>
              <a:gd name="T88" fmla="*/ 226348 w 664"/>
              <a:gd name="T89" fmla="*/ 253546 h 518"/>
              <a:gd name="T90" fmla="*/ 212118 w 664"/>
              <a:gd name="T91" fmla="*/ 242477 h 518"/>
              <a:gd name="T92" fmla="*/ 205892 w 664"/>
              <a:gd name="T93" fmla="*/ 240368 h 518"/>
              <a:gd name="T94" fmla="*/ 196998 w 664"/>
              <a:gd name="T95" fmla="*/ 240895 h 518"/>
              <a:gd name="T96" fmla="*/ 188104 w 664"/>
              <a:gd name="T97" fmla="*/ 245112 h 518"/>
              <a:gd name="T98" fmla="*/ 180545 w 664"/>
              <a:gd name="T99" fmla="*/ 251438 h 518"/>
              <a:gd name="T100" fmla="*/ 172540 w 664"/>
              <a:gd name="T101" fmla="*/ 265143 h 518"/>
              <a:gd name="T102" fmla="*/ 171206 w 664"/>
              <a:gd name="T103" fmla="*/ 272523 h 518"/>
              <a:gd name="T104" fmla="*/ 148082 w 664"/>
              <a:gd name="T105" fmla="*/ 271469 h 518"/>
              <a:gd name="T106" fmla="*/ 140967 w 664"/>
              <a:gd name="T107" fmla="*/ 267252 h 518"/>
              <a:gd name="T108" fmla="*/ 136520 w 664"/>
              <a:gd name="T109" fmla="*/ 263562 h 518"/>
              <a:gd name="T110" fmla="*/ 131629 w 664"/>
              <a:gd name="T111" fmla="*/ 267779 h 518"/>
              <a:gd name="T112" fmla="*/ 127626 w 664"/>
              <a:gd name="T113" fmla="*/ 271996 h 518"/>
              <a:gd name="T114" fmla="*/ 119177 w 664"/>
              <a:gd name="T115" fmla="*/ 271996 h 518"/>
              <a:gd name="T116" fmla="*/ 100945 w 664"/>
              <a:gd name="T117" fmla="*/ 266725 h 518"/>
              <a:gd name="T118" fmla="*/ 82268 w 664"/>
              <a:gd name="T119" fmla="*/ 256709 h 518"/>
              <a:gd name="T120" fmla="*/ 71151 w 664"/>
              <a:gd name="T121" fmla="*/ 247221 h 518"/>
              <a:gd name="T122" fmla="*/ 64925 w 664"/>
              <a:gd name="T123" fmla="*/ 237206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09" name="Freeform 460">
            <a:extLst>
              <a:ext uri="{FF2B5EF4-FFF2-40B4-BE49-F238E27FC236}">
                <a16:creationId xmlns:a16="http://schemas.microsoft.com/office/drawing/2014/main" id="{0A2554FE-C0CF-4E93-A5A0-F2C0098249E3}"/>
              </a:ext>
            </a:extLst>
          </p:cNvPr>
          <p:cNvSpPr>
            <a:spLocks/>
          </p:cNvSpPr>
          <p:nvPr>
            <p:custDataLst>
              <p:tags r:id="rId297"/>
            </p:custDataLst>
          </p:nvPr>
        </p:nvSpPr>
        <p:spPr bwMode="auto">
          <a:xfrm>
            <a:off x="9580480" y="4664721"/>
            <a:ext cx="319995" cy="175156"/>
          </a:xfrm>
          <a:custGeom>
            <a:avLst/>
            <a:gdLst>
              <a:gd name="T0" fmla="*/ 142243 w 352"/>
              <a:gd name="T1" fmla="*/ 49098 h 153"/>
              <a:gd name="T2" fmla="*/ 150812 w 352"/>
              <a:gd name="T3" fmla="*/ 82550 h 153"/>
              <a:gd name="T4" fmla="*/ 139672 w 352"/>
              <a:gd name="T5" fmla="*/ 76075 h 153"/>
              <a:gd name="T6" fmla="*/ 128105 w 352"/>
              <a:gd name="T7" fmla="*/ 69601 h 153"/>
              <a:gd name="T8" fmla="*/ 113966 w 352"/>
              <a:gd name="T9" fmla="*/ 76075 h 153"/>
              <a:gd name="T10" fmla="*/ 99399 w 352"/>
              <a:gd name="T11" fmla="*/ 76075 h 153"/>
              <a:gd name="T12" fmla="*/ 97257 w 352"/>
              <a:gd name="T13" fmla="*/ 72838 h 153"/>
              <a:gd name="T14" fmla="*/ 96828 w 352"/>
              <a:gd name="T15" fmla="*/ 72838 h 153"/>
              <a:gd name="T16" fmla="*/ 93829 w 352"/>
              <a:gd name="T17" fmla="*/ 69601 h 153"/>
              <a:gd name="T18" fmla="*/ 91258 w 352"/>
              <a:gd name="T19" fmla="*/ 67443 h 153"/>
              <a:gd name="T20" fmla="*/ 87831 w 352"/>
              <a:gd name="T21" fmla="*/ 65285 h 153"/>
              <a:gd name="T22" fmla="*/ 84403 w 352"/>
              <a:gd name="T23" fmla="*/ 63666 h 153"/>
              <a:gd name="T24" fmla="*/ 77548 w 352"/>
              <a:gd name="T25" fmla="*/ 60968 h 153"/>
              <a:gd name="T26" fmla="*/ 69836 w 352"/>
              <a:gd name="T27" fmla="*/ 59350 h 153"/>
              <a:gd name="T28" fmla="*/ 53984 w 352"/>
              <a:gd name="T29" fmla="*/ 57731 h 153"/>
              <a:gd name="T30" fmla="*/ 36846 w 352"/>
              <a:gd name="T31" fmla="*/ 56112 h 153"/>
              <a:gd name="T32" fmla="*/ 36418 w 352"/>
              <a:gd name="T33" fmla="*/ 50717 h 153"/>
              <a:gd name="T34" fmla="*/ 35132 w 352"/>
              <a:gd name="T35" fmla="*/ 45322 h 153"/>
              <a:gd name="T36" fmla="*/ 34275 w 352"/>
              <a:gd name="T37" fmla="*/ 40466 h 153"/>
              <a:gd name="T38" fmla="*/ 32133 w 352"/>
              <a:gd name="T39" fmla="*/ 36149 h 153"/>
              <a:gd name="T40" fmla="*/ 30419 w 352"/>
              <a:gd name="T41" fmla="*/ 31833 h 153"/>
              <a:gd name="T42" fmla="*/ 28706 w 352"/>
              <a:gd name="T43" fmla="*/ 28056 h 153"/>
              <a:gd name="T44" fmla="*/ 26135 w 352"/>
              <a:gd name="T45" fmla="*/ 23740 h 153"/>
              <a:gd name="T46" fmla="*/ 23993 w 352"/>
              <a:gd name="T47" fmla="*/ 19963 h 153"/>
              <a:gd name="T48" fmla="*/ 18852 w 352"/>
              <a:gd name="T49" fmla="*/ 14028 h 153"/>
              <a:gd name="T50" fmla="*/ 12425 w 352"/>
              <a:gd name="T51" fmla="*/ 8633 h 153"/>
              <a:gd name="T52" fmla="*/ 6427 w 352"/>
              <a:gd name="T53" fmla="*/ 3777 h 153"/>
              <a:gd name="T54" fmla="*/ 0 w 352"/>
              <a:gd name="T55" fmla="*/ 0 h 153"/>
              <a:gd name="T56" fmla="*/ 2999 w 352"/>
              <a:gd name="T57" fmla="*/ 0 h 153"/>
              <a:gd name="T58" fmla="*/ 25707 w 352"/>
              <a:gd name="T59" fmla="*/ 9712 h 153"/>
              <a:gd name="T60" fmla="*/ 45415 w 352"/>
              <a:gd name="T61" fmla="*/ 16186 h 153"/>
              <a:gd name="T62" fmla="*/ 57411 w 352"/>
              <a:gd name="T63" fmla="*/ 9712 h 153"/>
              <a:gd name="T64" fmla="*/ 77120 w 352"/>
              <a:gd name="T65" fmla="*/ 19424 h 153"/>
              <a:gd name="T66" fmla="*/ 88259 w 352"/>
              <a:gd name="T67" fmla="*/ 29675 h 153"/>
              <a:gd name="T68" fmla="*/ 105397 w 352"/>
              <a:gd name="T69" fmla="*/ 26438 h 153"/>
              <a:gd name="T70" fmla="*/ 122535 w 352"/>
              <a:gd name="T71" fmla="*/ 32912 h 153"/>
              <a:gd name="T72" fmla="*/ 134103 w 352"/>
              <a:gd name="T73" fmla="*/ 42624 h 153"/>
              <a:gd name="T74" fmla="*/ 142243 w 352"/>
              <a:gd name="T75" fmla="*/ 49098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1010" name="Freeform 461">
            <a:extLst>
              <a:ext uri="{FF2B5EF4-FFF2-40B4-BE49-F238E27FC236}">
                <a16:creationId xmlns:a16="http://schemas.microsoft.com/office/drawing/2014/main" id="{2B1325A1-4EFF-4428-84F1-F579E56381DA}"/>
              </a:ext>
            </a:extLst>
          </p:cNvPr>
          <p:cNvSpPr>
            <a:spLocks/>
          </p:cNvSpPr>
          <p:nvPr>
            <p:custDataLst>
              <p:tags r:id="rId298"/>
            </p:custDataLst>
          </p:nvPr>
        </p:nvSpPr>
        <p:spPr bwMode="auto">
          <a:xfrm>
            <a:off x="8623861" y="4792719"/>
            <a:ext cx="313258" cy="367154"/>
          </a:xfrm>
          <a:custGeom>
            <a:avLst/>
            <a:gdLst>
              <a:gd name="T0" fmla="*/ 102588 w 331"/>
              <a:gd name="T1" fmla="*/ 21167 h 327"/>
              <a:gd name="T2" fmla="*/ 86084 w 331"/>
              <a:gd name="T3" fmla="*/ 29633 h 327"/>
              <a:gd name="T4" fmla="*/ 81178 w 331"/>
              <a:gd name="T5" fmla="*/ 35454 h 327"/>
              <a:gd name="T6" fmla="*/ 80732 w 331"/>
              <a:gd name="T7" fmla="*/ 42863 h 327"/>
              <a:gd name="T8" fmla="*/ 82070 w 331"/>
              <a:gd name="T9" fmla="*/ 49742 h 327"/>
              <a:gd name="T10" fmla="*/ 78948 w 331"/>
              <a:gd name="T11" fmla="*/ 53975 h 327"/>
              <a:gd name="T12" fmla="*/ 74934 w 331"/>
              <a:gd name="T13" fmla="*/ 55563 h 327"/>
              <a:gd name="T14" fmla="*/ 71365 w 331"/>
              <a:gd name="T15" fmla="*/ 51858 h 327"/>
              <a:gd name="T16" fmla="*/ 66459 w 331"/>
              <a:gd name="T17" fmla="*/ 44979 h 327"/>
              <a:gd name="T18" fmla="*/ 56200 w 331"/>
              <a:gd name="T19" fmla="*/ 39158 h 327"/>
              <a:gd name="T20" fmla="*/ 56646 w 331"/>
              <a:gd name="T21" fmla="*/ 50800 h 327"/>
              <a:gd name="T22" fmla="*/ 61999 w 331"/>
              <a:gd name="T23" fmla="*/ 61384 h 327"/>
              <a:gd name="T24" fmla="*/ 68689 w 331"/>
              <a:gd name="T25" fmla="*/ 68263 h 327"/>
              <a:gd name="T26" fmla="*/ 70919 w 331"/>
              <a:gd name="T27" fmla="*/ 68792 h 327"/>
              <a:gd name="T28" fmla="*/ 70919 w 331"/>
              <a:gd name="T29" fmla="*/ 93663 h 327"/>
              <a:gd name="T30" fmla="*/ 70919 w 331"/>
              <a:gd name="T31" fmla="*/ 125413 h 327"/>
              <a:gd name="T32" fmla="*/ 69581 w 331"/>
              <a:gd name="T33" fmla="*/ 132821 h 327"/>
              <a:gd name="T34" fmla="*/ 65567 w 331"/>
              <a:gd name="T35" fmla="*/ 137055 h 327"/>
              <a:gd name="T36" fmla="*/ 64675 w 331"/>
              <a:gd name="T37" fmla="*/ 139700 h 327"/>
              <a:gd name="T38" fmla="*/ 72257 w 331"/>
              <a:gd name="T39" fmla="*/ 146050 h 327"/>
              <a:gd name="T40" fmla="*/ 74488 w 331"/>
              <a:gd name="T41" fmla="*/ 151342 h 327"/>
              <a:gd name="T42" fmla="*/ 69135 w 331"/>
              <a:gd name="T43" fmla="*/ 156105 h 327"/>
              <a:gd name="T44" fmla="*/ 62445 w 331"/>
              <a:gd name="T45" fmla="*/ 157163 h 327"/>
              <a:gd name="T46" fmla="*/ 57984 w 331"/>
              <a:gd name="T47" fmla="*/ 162455 h 327"/>
              <a:gd name="T48" fmla="*/ 56200 w 331"/>
              <a:gd name="T49" fmla="*/ 169863 h 327"/>
              <a:gd name="T50" fmla="*/ 53970 w 331"/>
              <a:gd name="T51" fmla="*/ 158750 h 327"/>
              <a:gd name="T52" fmla="*/ 55308 w 331"/>
              <a:gd name="T53" fmla="*/ 152400 h 327"/>
              <a:gd name="T54" fmla="*/ 48618 w 331"/>
              <a:gd name="T55" fmla="*/ 151342 h 327"/>
              <a:gd name="T56" fmla="*/ 41481 w 331"/>
              <a:gd name="T57" fmla="*/ 154517 h 327"/>
              <a:gd name="T58" fmla="*/ 35237 w 331"/>
              <a:gd name="T59" fmla="*/ 156634 h 327"/>
              <a:gd name="T60" fmla="*/ 32560 w 331"/>
              <a:gd name="T61" fmla="*/ 128059 h 327"/>
              <a:gd name="T62" fmla="*/ 35237 w 331"/>
              <a:gd name="T63" fmla="*/ 114300 h 327"/>
              <a:gd name="T64" fmla="*/ 21410 w 331"/>
              <a:gd name="T65" fmla="*/ 111654 h 327"/>
              <a:gd name="T66" fmla="*/ 12489 w 331"/>
              <a:gd name="T67" fmla="*/ 104775 h 327"/>
              <a:gd name="T68" fmla="*/ 5798 w 331"/>
              <a:gd name="T69" fmla="*/ 91546 h 327"/>
              <a:gd name="T70" fmla="*/ 0 w 331"/>
              <a:gd name="T71" fmla="*/ 68792 h 327"/>
              <a:gd name="T72" fmla="*/ 12489 w 331"/>
              <a:gd name="T73" fmla="*/ 58738 h 327"/>
              <a:gd name="T74" fmla="*/ 22302 w 331"/>
              <a:gd name="T75" fmla="*/ 42863 h 327"/>
              <a:gd name="T76" fmla="*/ 32560 w 331"/>
              <a:gd name="T77" fmla="*/ 29104 h 327"/>
              <a:gd name="T78" fmla="*/ 51294 w 331"/>
              <a:gd name="T79" fmla="*/ 21696 h 327"/>
              <a:gd name="T80" fmla="*/ 80286 w 331"/>
              <a:gd name="T81" fmla="*/ 7408 h 327"/>
              <a:gd name="T82" fmla="*/ 97235 w 331"/>
              <a:gd name="T83" fmla="*/ 3704 h 327"/>
              <a:gd name="T84" fmla="*/ 111062 w 331"/>
              <a:gd name="T85" fmla="*/ 7408 h 327"/>
              <a:gd name="T86" fmla="*/ 120875 w 331"/>
              <a:gd name="T87" fmla="*/ 14288 h 327"/>
              <a:gd name="T88" fmla="*/ 130242 w 331"/>
              <a:gd name="T89" fmla="*/ 15875 h 327"/>
              <a:gd name="T90" fmla="*/ 136932 w 331"/>
              <a:gd name="T91" fmla="*/ 10583 h 327"/>
              <a:gd name="T92" fmla="*/ 145853 w 331"/>
              <a:gd name="T93" fmla="*/ 3175 h 327"/>
              <a:gd name="T94" fmla="*/ 147191 w 331"/>
              <a:gd name="T95" fmla="*/ 16933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1011" name="Freeform 462">
            <a:extLst>
              <a:ext uri="{FF2B5EF4-FFF2-40B4-BE49-F238E27FC236}">
                <a16:creationId xmlns:a16="http://schemas.microsoft.com/office/drawing/2014/main" id="{64157E00-AF08-4288-94C8-0C7DBE8C8421}"/>
              </a:ext>
            </a:extLst>
          </p:cNvPr>
          <p:cNvSpPr>
            <a:spLocks/>
          </p:cNvSpPr>
          <p:nvPr>
            <p:custDataLst>
              <p:tags r:id="rId299"/>
            </p:custDataLst>
          </p:nvPr>
        </p:nvSpPr>
        <p:spPr bwMode="auto">
          <a:xfrm>
            <a:off x="8802384" y="5200293"/>
            <a:ext cx="148209" cy="121262"/>
          </a:xfrm>
          <a:custGeom>
            <a:avLst/>
            <a:gdLst>
              <a:gd name="T0" fmla="*/ 0 w 153"/>
              <a:gd name="T1" fmla="*/ 0 h 49"/>
              <a:gd name="T2" fmla="*/ 20088 w 153"/>
              <a:gd name="T3" fmla="*/ 2333 h 49"/>
              <a:gd name="T4" fmla="*/ 37892 w 153"/>
              <a:gd name="T5" fmla="*/ 6998 h 49"/>
              <a:gd name="T6" fmla="*/ 47023 w 153"/>
              <a:gd name="T7" fmla="*/ 9331 h 49"/>
              <a:gd name="T8" fmla="*/ 55241 w 153"/>
              <a:gd name="T9" fmla="*/ 8164 h 49"/>
              <a:gd name="T10" fmla="*/ 59350 w 153"/>
              <a:gd name="T11" fmla="*/ 6998 h 49"/>
              <a:gd name="T12" fmla="*/ 62545 w 153"/>
              <a:gd name="T13" fmla="*/ 5832 h 49"/>
              <a:gd name="T14" fmla="*/ 66198 w 153"/>
              <a:gd name="T15" fmla="*/ 3499 h 49"/>
              <a:gd name="T16" fmla="*/ 69850 w 153"/>
              <a:gd name="T17" fmla="*/ 0 h 49"/>
              <a:gd name="T18" fmla="*/ 69850 w 153"/>
              <a:gd name="T19" fmla="*/ 10497 h 49"/>
              <a:gd name="T20" fmla="*/ 69850 w 153"/>
              <a:gd name="T21" fmla="*/ 29158 h 49"/>
              <a:gd name="T22" fmla="*/ 65285 w 153"/>
              <a:gd name="T23" fmla="*/ 36156 h 49"/>
              <a:gd name="T24" fmla="*/ 60719 w 153"/>
              <a:gd name="T25" fmla="*/ 41988 h 49"/>
              <a:gd name="T26" fmla="*/ 56610 w 153"/>
              <a:gd name="T27" fmla="*/ 46653 h 49"/>
              <a:gd name="T28" fmla="*/ 52045 w 153"/>
              <a:gd name="T29" fmla="*/ 51318 h 49"/>
              <a:gd name="T30" fmla="*/ 48393 w 153"/>
              <a:gd name="T31" fmla="*/ 53651 h 49"/>
              <a:gd name="T32" fmla="*/ 45197 w 153"/>
              <a:gd name="T33" fmla="*/ 55984 h 49"/>
              <a:gd name="T34" fmla="*/ 42001 w 153"/>
              <a:gd name="T35" fmla="*/ 57150 h 49"/>
              <a:gd name="T36" fmla="*/ 39719 w 153"/>
              <a:gd name="T37" fmla="*/ 57150 h 49"/>
              <a:gd name="T38" fmla="*/ 32871 w 153"/>
              <a:gd name="T39" fmla="*/ 55984 h 49"/>
              <a:gd name="T40" fmla="*/ 27392 w 153"/>
              <a:gd name="T41" fmla="*/ 53651 h 49"/>
              <a:gd name="T42" fmla="*/ 22827 w 153"/>
              <a:gd name="T43" fmla="*/ 50152 h 49"/>
              <a:gd name="T44" fmla="*/ 18718 w 153"/>
              <a:gd name="T45" fmla="*/ 44320 h 49"/>
              <a:gd name="T46" fmla="*/ 10044 w 153"/>
              <a:gd name="T47" fmla="*/ 33823 h 49"/>
              <a:gd name="T48" fmla="*/ 0 w 153"/>
              <a:gd name="T49" fmla="*/ 22160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12" name="Freeform 463">
            <a:extLst>
              <a:ext uri="{FF2B5EF4-FFF2-40B4-BE49-F238E27FC236}">
                <a16:creationId xmlns:a16="http://schemas.microsoft.com/office/drawing/2014/main" id="{D48A9422-004B-4925-9934-A6BEE3810949}"/>
              </a:ext>
            </a:extLst>
          </p:cNvPr>
          <p:cNvSpPr>
            <a:spLocks/>
          </p:cNvSpPr>
          <p:nvPr>
            <p:custDataLst>
              <p:tags r:id="rId300"/>
            </p:custDataLst>
          </p:nvPr>
        </p:nvSpPr>
        <p:spPr bwMode="auto">
          <a:xfrm>
            <a:off x="6848726" y="6753113"/>
            <a:ext cx="397468" cy="336838"/>
          </a:xfrm>
          <a:custGeom>
            <a:avLst/>
            <a:gdLst>
              <a:gd name="T0" fmla="*/ 85308 w 426"/>
              <a:gd name="T1" fmla="*/ 8495 h 299"/>
              <a:gd name="T2" fmla="*/ 94982 w 426"/>
              <a:gd name="T3" fmla="*/ 11681 h 299"/>
              <a:gd name="T4" fmla="*/ 101138 w 426"/>
              <a:gd name="T5" fmla="*/ 15397 h 299"/>
              <a:gd name="T6" fmla="*/ 111252 w 426"/>
              <a:gd name="T7" fmla="*/ 18583 h 299"/>
              <a:gd name="T8" fmla="*/ 122685 w 426"/>
              <a:gd name="T9" fmla="*/ 19645 h 299"/>
              <a:gd name="T10" fmla="*/ 131919 w 426"/>
              <a:gd name="T11" fmla="*/ 19645 h 299"/>
              <a:gd name="T12" fmla="*/ 140274 w 426"/>
              <a:gd name="T13" fmla="*/ 18052 h 299"/>
              <a:gd name="T14" fmla="*/ 144671 w 426"/>
              <a:gd name="T15" fmla="*/ 15397 h 299"/>
              <a:gd name="T16" fmla="*/ 160501 w 426"/>
              <a:gd name="T17" fmla="*/ 13273 h 299"/>
              <a:gd name="T18" fmla="*/ 163580 w 426"/>
              <a:gd name="T19" fmla="*/ 26016 h 299"/>
              <a:gd name="T20" fmla="*/ 168417 w 426"/>
              <a:gd name="T21" fmla="*/ 39289 h 299"/>
              <a:gd name="T22" fmla="*/ 171934 w 426"/>
              <a:gd name="T23" fmla="*/ 44599 h 299"/>
              <a:gd name="T24" fmla="*/ 175892 w 426"/>
              <a:gd name="T25" fmla="*/ 48846 h 299"/>
              <a:gd name="T26" fmla="*/ 181169 w 426"/>
              <a:gd name="T27" fmla="*/ 51501 h 299"/>
              <a:gd name="T28" fmla="*/ 186885 w 426"/>
              <a:gd name="T29" fmla="*/ 52563 h 299"/>
              <a:gd name="T30" fmla="*/ 186885 w 426"/>
              <a:gd name="T31" fmla="*/ 63712 h 299"/>
              <a:gd name="T32" fmla="*/ 186885 w 426"/>
              <a:gd name="T33" fmla="*/ 75393 h 299"/>
              <a:gd name="T34" fmla="*/ 182928 w 426"/>
              <a:gd name="T35" fmla="*/ 83888 h 299"/>
              <a:gd name="T36" fmla="*/ 181169 w 426"/>
              <a:gd name="T37" fmla="*/ 90259 h 299"/>
              <a:gd name="T38" fmla="*/ 181169 w 426"/>
              <a:gd name="T39" fmla="*/ 96099 h 299"/>
              <a:gd name="T40" fmla="*/ 182488 w 426"/>
              <a:gd name="T41" fmla="*/ 100878 h 299"/>
              <a:gd name="T42" fmla="*/ 186006 w 426"/>
              <a:gd name="T43" fmla="*/ 112028 h 299"/>
              <a:gd name="T44" fmla="*/ 187325 w 426"/>
              <a:gd name="T45" fmla="*/ 119992 h 299"/>
              <a:gd name="T46" fmla="*/ 186885 w 426"/>
              <a:gd name="T47" fmla="*/ 131141 h 299"/>
              <a:gd name="T48" fmla="*/ 187325 w 426"/>
              <a:gd name="T49" fmla="*/ 145477 h 299"/>
              <a:gd name="T50" fmla="*/ 186006 w 426"/>
              <a:gd name="T51" fmla="*/ 151317 h 299"/>
              <a:gd name="T52" fmla="*/ 181169 w 426"/>
              <a:gd name="T53" fmla="*/ 157157 h 299"/>
              <a:gd name="T54" fmla="*/ 167097 w 426"/>
              <a:gd name="T55" fmla="*/ 158219 h 299"/>
              <a:gd name="T56" fmla="*/ 162700 w 426"/>
              <a:gd name="T57" fmla="*/ 158750 h 299"/>
              <a:gd name="T58" fmla="*/ 158303 w 426"/>
              <a:gd name="T59" fmla="*/ 157157 h 299"/>
              <a:gd name="T60" fmla="*/ 154345 w 426"/>
              <a:gd name="T61" fmla="*/ 153972 h 299"/>
              <a:gd name="T62" fmla="*/ 148629 w 426"/>
              <a:gd name="T63" fmla="*/ 147600 h 299"/>
              <a:gd name="T64" fmla="*/ 142473 w 426"/>
              <a:gd name="T65" fmla="*/ 138574 h 299"/>
              <a:gd name="T66" fmla="*/ 136756 w 426"/>
              <a:gd name="T67" fmla="*/ 134327 h 299"/>
              <a:gd name="T68" fmla="*/ 129281 w 426"/>
              <a:gd name="T69" fmla="*/ 133265 h 299"/>
              <a:gd name="T70" fmla="*/ 122245 w 426"/>
              <a:gd name="T71" fmla="*/ 123177 h 299"/>
              <a:gd name="T72" fmla="*/ 120486 w 426"/>
              <a:gd name="T73" fmla="*/ 111497 h 299"/>
              <a:gd name="T74" fmla="*/ 118287 w 426"/>
              <a:gd name="T75" fmla="*/ 104594 h 299"/>
              <a:gd name="T76" fmla="*/ 114770 w 426"/>
              <a:gd name="T77" fmla="*/ 97692 h 299"/>
              <a:gd name="T78" fmla="*/ 110372 w 426"/>
              <a:gd name="T79" fmla="*/ 91852 h 299"/>
              <a:gd name="T80" fmla="*/ 104656 w 426"/>
              <a:gd name="T81" fmla="*/ 87605 h 299"/>
              <a:gd name="T82" fmla="*/ 97620 w 426"/>
              <a:gd name="T83" fmla="*/ 85481 h 299"/>
              <a:gd name="T84" fmla="*/ 89705 w 426"/>
              <a:gd name="T85" fmla="*/ 85481 h 299"/>
              <a:gd name="T86" fmla="*/ 82669 w 426"/>
              <a:gd name="T87" fmla="*/ 86543 h 299"/>
              <a:gd name="T88" fmla="*/ 76073 w 426"/>
              <a:gd name="T89" fmla="*/ 89197 h 299"/>
              <a:gd name="T90" fmla="*/ 70357 w 426"/>
              <a:gd name="T91" fmla="*/ 93445 h 299"/>
              <a:gd name="T92" fmla="*/ 62002 w 426"/>
              <a:gd name="T93" fmla="*/ 101409 h 299"/>
              <a:gd name="T94" fmla="*/ 51888 w 426"/>
              <a:gd name="T95" fmla="*/ 114151 h 299"/>
              <a:gd name="T96" fmla="*/ 46172 w 426"/>
              <a:gd name="T97" fmla="*/ 115744 h 299"/>
              <a:gd name="T98" fmla="*/ 43973 w 426"/>
              <a:gd name="T99" fmla="*/ 106718 h 299"/>
              <a:gd name="T100" fmla="*/ 39576 w 426"/>
              <a:gd name="T101" fmla="*/ 98754 h 299"/>
              <a:gd name="T102" fmla="*/ 33419 w 426"/>
              <a:gd name="T103" fmla="*/ 90790 h 299"/>
              <a:gd name="T104" fmla="*/ 21987 w 426"/>
              <a:gd name="T105" fmla="*/ 81233 h 299"/>
              <a:gd name="T106" fmla="*/ 10554 w 426"/>
              <a:gd name="T107" fmla="*/ 71145 h 299"/>
              <a:gd name="T108" fmla="*/ 3518 w 426"/>
              <a:gd name="T109" fmla="*/ 63181 h 299"/>
              <a:gd name="T110" fmla="*/ 6596 w 426"/>
              <a:gd name="T111" fmla="*/ 53625 h 299"/>
              <a:gd name="T112" fmla="*/ 20228 w 426"/>
              <a:gd name="T113" fmla="*/ 40882 h 299"/>
              <a:gd name="T114" fmla="*/ 32980 w 426"/>
              <a:gd name="T115" fmla="*/ 25485 h 299"/>
              <a:gd name="T116" fmla="*/ 43094 w 426"/>
              <a:gd name="T117" fmla="*/ 9026 h 299"/>
              <a:gd name="T118" fmla="*/ 78712 w 426"/>
              <a:gd name="T119" fmla="*/ 6902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1013" name="Freeform 464">
            <a:extLst>
              <a:ext uri="{FF2B5EF4-FFF2-40B4-BE49-F238E27FC236}">
                <a16:creationId xmlns:a16="http://schemas.microsoft.com/office/drawing/2014/main" id="{BE6EB8D2-62E9-4433-A911-ACDAA94C4364}"/>
              </a:ext>
            </a:extLst>
          </p:cNvPr>
          <p:cNvSpPr>
            <a:spLocks/>
          </p:cNvSpPr>
          <p:nvPr>
            <p:custDataLst>
              <p:tags r:id="rId301"/>
            </p:custDataLst>
          </p:nvPr>
        </p:nvSpPr>
        <p:spPr bwMode="auto">
          <a:xfrm>
            <a:off x="11187194" y="5190187"/>
            <a:ext cx="1468612" cy="1855976"/>
          </a:xfrm>
          <a:custGeom>
            <a:avLst/>
            <a:gdLst>
              <a:gd name="T0" fmla="*/ 207124 w 1594"/>
              <a:gd name="T1" fmla="*/ 56044 h 1670"/>
              <a:gd name="T2" fmla="*/ 210598 w 1594"/>
              <a:gd name="T3" fmla="*/ 96899 h 1670"/>
              <a:gd name="T4" fmla="*/ 250980 w 1594"/>
              <a:gd name="T5" fmla="*/ 150325 h 1670"/>
              <a:gd name="T6" fmla="*/ 304390 w 1594"/>
              <a:gd name="T7" fmla="*/ 240415 h 1670"/>
              <a:gd name="T8" fmla="*/ 345207 w 1594"/>
              <a:gd name="T9" fmla="*/ 261366 h 1670"/>
              <a:gd name="T10" fmla="*/ 380813 w 1594"/>
              <a:gd name="T11" fmla="*/ 258224 h 1670"/>
              <a:gd name="T12" fmla="*/ 403827 w 1594"/>
              <a:gd name="T13" fmla="*/ 281270 h 1670"/>
              <a:gd name="T14" fmla="*/ 478513 w 1594"/>
              <a:gd name="T15" fmla="*/ 296983 h 1670"/>
              <a:gd name="T16" fmla="*/ 486763 w 1594"/>
              <a:gd name="T17" fmla="*/ 241463 h 1670"/>
              <a:gd name="T18" fmla="*/ 511948 w 1594"/>
              <a:gd name="T19" fmla="*/ 282318 h 1670"/>
              <a:gd name="T20" fmla="*/ 539738 w 1594"/>
              <a:gd name="T21" fmla="*/ 293841 h 1670"/>
              <a:gd name="T22" fmla="*/ 564054 w 1594"/>
              <a:gd name="T23" fmla="*/ 260843 h 1670"/>
              <a:gd name="T24" fmla="*/ 609648 w 1594"/>
              <a:gd name="T25" fmla="*/ 214226 h 1670"/>
              <a:gd name="T26" fmla="*/ 672610 w 1594"/>
              <a:gd name="T27" fmla="*/ 224178 h 1670"/>
              <a:gd name="T28" fmla="*/ 685637 w 1594"/>
              <a:gd name="T29" fmla="*/ 260843 h 1670"/>
              <a:gd name="T30" fmla="*/ 653070 w 1594"/>
              <a:gd name="T31" fmla="*/ 283889 h 1670"/>
              <a:gd name="T32" fmla="*/ 644820 w 1594"/>
              <a:gd name="T33" fmla="*/ 355647 h 1670"/>
              <a:gd name="T34" fmla="*/ 620503 w 1594"/>
              <a:gd name="T35" fmla="*/ 368741 h 1670"/>
              <a:gd name="T36" fmla="*/ 611385 w 1594"/>
              <a:gd name="T37" fmla="*/ 426357 h 1670"/>
              <a:gd name="T38" fmla="*/ 573607 w 1594"/>
              <a:gd name="T39" fmla="*/ 394930 h 1670"/>
              <a:gd name="T40" fmla="*/ 574476 w 1594"/>
              <a:gd name="T41" fmla="*/ 365599 h 1670"/>
              <a:gd name="T42" fmla="*/ 531922 w 1594"/>
              <a:gd name="T43" fmla="*/ 334172 h 1670"/>
              <a:gd name="T44" fmla="*/ 515422 w 1594"/>
              <a:gd name="T45" fmla="*/ 307983 h 1670"/>
              <a:gd name="T46" fmla="*/ 491105 w 1594"/>
              <a:gd name="T47" fmla="*/ 301174 h 1670"/>
              <a:gd name="T48" fmla="*/ 489368 w 1594"/>
              <a:gd name="T49" fmla="*/ 327363 h 1670"/>
              <a:gd name="T50" fmla="*/ 485026 w 1594"/>
              <a:gd name="T51" fmla="*/ 357742 h 1670"/>
              <a:gd name="T52" fmla="*/ 503698 w 1594"/>
              <a:gd name="T53" fmla="*/ 384978 h 1670"/>
              <a:gd name="T54" fmla="*/ 498921 w 1594"/>
              <a:gd name="T55" fmla="*/ 441547 h 1670"/>
              <a:gd name="T56" fmla="*/ 466789 w 1594"/>
              <a:gd name="T57" fmla="*/ 452546 h 1670"/>
              <a:gd name="T58" fmla="*/ 455499 w 1594"/>
              <a:gd name="T59" fmla="*/ 490782 h 1670"/>
              <a:gd name="T60" fmla="*/ 414248 w 1594"/>
              <a:gd name="T61" fmla="*/ 524304 h 1670"/>
              <a:gd name="T62" fmla="*/ 396011 w 1594"/>
              <a:gd name="T63" fmla="*/ 549969 h 1670"/>
              <a:gd name="T64" fmla="*/ 338693 w 1594"/>
              <a:gd name="T65" fmla="*/ 622251 h 1670"/>
              <a:gd name="T66" fmla="*/ 313943 w 1594"/>
              <a:gd name="T67" fmla="*/ 645821 h 1670"/>
              <a:gd name="T68" fmla="*/ 323061 w 1594"/>
              <a:gd name="T69" fmla="*/ 703961 h 1670"/>
              <a:gd name="T70" fmla="*/ 309166 w 1594"/>
              <a:gd name="T71" fmla="*/ 756862 h 1670"/>
              <a:gd name="T72" fmla="*/ 313508 w 1594"/>
              <a:gd name="T73" fmla="*/ 798241 h 1670"/>
              <a:gd name="T74" fmla="*/ 300916 w 1594"/>
              <a:gd name="T75" fmla="*/ 825478 h 1670"/>
              <a:gd name="T76" fmla="*/ 258362 w 1594"/>
              <a:gd name="T77" fmla="*/ 871047 h 1670"/>
              <a:gd name="T78" fmla="*/ 224059 w 1594"/>
              <a:gd name="T79" fmla="*/ 800860 h 1670"/>
              <a:gd name="T80" fmla="*/ 181939 w 1594"/>
              <a:gd name="T81" fmla="*/ 698723 h 1670"/>
              <a:gd name="T82" fmla="*/ 130701 w 1594"/>
              <a:gd name="T83" fmla="*/ 583491 h 1670"/>
              <a:gd name="T84" fmla="*/ 112464 w 1594"/>
              <a:gd name="T85" fmla="*/ 450975 h 1670"/>
              <a:gd name="T86" fmla="*/ 99871 w 1594"/>
              <a:gd name="T87" fmla="*/ 426357 h 1670"/>
              <a:gd name="T88" fmla="*/ 71212 w 1594"/>
              <a:gd name="T89" fmla="*/ 471402 h 1670"/>
              <a:gd name="T90" fmla="*/ 39080 w 1594"/>
              <a:gd name="T91" fmla="*/ 458831 h 1670"/>
              <a:gd name="T92" fmla="*/ 22145 w 1594"/>
              <a:gd name="T93" fmla="*/ 417977 h 1670"/>
              <a:gd name="T94" fmla="*/ 13027 w 1594"/>
              <a:gd name="T95" fmla="*/ 403835 h 1670"/>
              <a:gd name="T96" fmla="*/ 13895 w 1594"/>
              <a:gd name="T97" fmla="*/ 370836 h 1670"/>
              <a:gd name="T98" fmla="*/ 69041 w 1594"/>
              <a:gd name="T99" fmla="*/ 345171 h 1670"/>
              <a:gd name="T100" fmla="*/ 39948 w 1594"/>
              <a:gd name="T101" fmla="*/ 298031 h 1670"/>
              <a:gd name="T102" fmla="*/ 25619 w 1594"/>
              <a:gd name="T103" fmla="*/ 261890 h 1670"/>
              <a:gd name="T104" fmla="*/ 70344 w 1594"/>
              <a:gd name="T105" fmla="*/ 240415 h 1670"/>
              <a:gd name="T106" fmla="*/ 117240 w 1594"/>
              <a:gd name="T107" fmla="*/ 153991 h 1670"/>
              <a:gd name="T108" fmla="*/ 118977 w 1594"/>
              <a:gd name="T109" fmla="*/ 120469 h 1670"/>
              <a:gd name="T110" fmla="*/ 98568 w 1594"/>
              <a:gd name="T111" fmla="*/ 74377 h 1670"/>
              <a:gd name="T112" fmla="*/ 139820 w 1594"/>
              <a:gd name="T113" fmla="*/ 28284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1014" name="Freeform 465">
            <a:extLst>
              <a:ext uri="{FF2B5EF4-FFF2-40B4-BE49-F238E27FC236}">
                <a16:creationId xmlns:a16="http://schemas.microsoft.com/office/drawing/2014/main" id="{3F7511B9-6128-4347-960B-098CEABDFE98}"/>
              </a:ext>
            </a:extLst>
          </p:cNvPr>
          <p:cNvSpPr>
            <a:spLocks/>
          </p:cNvSpPr>
          <p:nvPr>
            <p:custDataLst>
              <p:tags r:id="rId302"/>
            </p:custDataLst>
          </p:nvPr>
        </p:nvSpPr>
        <p:spPr bwMode="auto">
          <a:xfrm>
            <a:off x="7202407" y="6877744"/>
            <a:ext cx="336838" cy="437889"/>
          </a:xfrm>
          <a:custGeom>
            <a:avLst/>
            <a:gdLst>
              <a:gd name="T0" fmla="*/ 23437 w 359"/>
              <a:gd name="T1" fmla="*/ 200089 h 394"/>
              <a:gd name="T2" fmla="*/ 23437 w 359"/>
              <a:gd name="T3" fmla="*/ 187518 h 394"/>
              <a:gd name="T4" fmla="*/ 23437 w 359"/>
              <a:gd name="T5" fmla="*/ 174424 h 394"/>
              <a:gd name="T6" fmla="*/ 22110 w 359"/>
              <a:gd name="T7" fmla="*/ 163424 h 394"/>
              <a:gd name="T8" fmla="*/ 19015 w 359"/>
              <a:gd name="T9" fmla="*/ 153472 h 394"/>
              <a:gd name="T10" fmla="*/ 15477 w 359"/>
              <a:gd name="T11" fmla="*/ 145091 h 394"/>
              <a:gd name="T12" fmla="*/ 5749 w 359"/>
              <a:gd name="T13" fmla="*/ 128330 h 394"/>
              <a:gd name="T14" fmla="*/ 0 w 359"/>
              <a:gd name="T15" fmla="*/ 96902 h 394"/>
              <a:gd name="T16" fmla="*/ 14593 w 359"/>
              <a:gd name="T17" fmla="*/ 94807 h 394"/>
              <a:gd name="T18" fmla="*/ 17688 w 359"/>
              <a:gd name="T19" fmla="*/ 88521 h 394"/>
              <a:gd name="T20" fmla="*/ 18130 w 359"/>
              <a:gd name="T21" fmla="*/ 78569 h 394"/>
              <a:gd name="T22" fmla="*/ 16804 w 359"/>
              <a:gd name="T23" fmla="*/ 56046 h 394"/>
              <a:gd name="T24" fmla="*/ 13708 w 359"/>
              <a:gd name="T25" fmla="*/ 34047 h 394"/>
              <a:gd name="T26" fmla="*/ 14150 w 359"/>
              <a:gd name="T27" fmla="*/ 24618 h 394"/>
              <a:gd name="T28" fmla="*/ 15919 w 359"/>
              <a:gd name="T29" fmla="*/ 18857 h 394"/>
              <a:gd name="T30" fmla="*/ 53064 w 359"/>
              <a:gd name="T31" fmla="*/ 16238 h 394"/>
              <a:gd name="T32" fmla="*/ 53948 w 359"/>
              <a:gd name="T33" fmla="*/ 11523 h 394"/>
              <a:gd name="T34" fmla="*/ 56602 w 359"/>
              <a:gd name="T35" fmla="*/ 7333 h 394"/>
              <a:gd name="T36" fmla="*/ 61908 w 359"/>
              <a:gd name="T37" fmla="*/ 0 h 394"/>
              <a:gd name="T38" fmla="*/ 62792 w 359"/>
              <a:gd name="T39" fmla="*/ 9428 h 394"/>
              <a:gd name="T40" fmla="*/ 62792 w 359"/>
              <a:gd name="T41" fmla="*/ 13619 h 394"/>
              <a:gd name="T42" fmla="*/ 61908 w 359"/>
              <a:gd name="T43" fmla="*/ 16238 h 394"/>
              <a:gd name="T44" fmla="*/ 74290 w 359"/>
              <a:gd name="T45" fmla="*/ 16238 h 394"/>
              <a:gd name="T46" fmla="*/ 82249 w 359"/>
              <a:gd name="T47" fmla="*/ 16238 h 394"/>
              <a:gd name="T48" fmla="*/ 94631 w 359"/>
              <a:gd name="T49" fmla="*/ 19904 h 394"/>
              <a:gd name="T50" fmla="*/ 103033 w 359"/>
              <a:gd name="T51" fmla="*/ 25666 h 394"/>
              <a:gd name="T52" fmla="*/ 108781 w 359"/>
              <a:gd name="T53" fmla="*/ 30380 h 394"/>
              <a:gd name="T54" fmla="*/ 114530 w 359"/>
              <a:gd name="T55" fmla="*/ 31951 h 394"/>
              <a:gd name="T56" fmla="*/ 118510 w 359"/>
              <a:gd name="T57" fmla="*/ 30904 h 394"/>
              <a:gd name="T58" fmla="*/ 121605 w 359"/>
              <a:gd name="T59" fmla="*/ 28285 h 394"/>
              <a:gd name="T60" fmla="*/ 126469 w 359"/>
              <a:gd name="T61" fmla="*/ 19380 h 394"/>
              <a:gd name="T62" fmla="*/ 137967 w 359"/>
              <a:gd name="T63" fmla="*/ 27237 h 394"/>
              <a:gd name="T64" fmla="*/ 143715 w 359"/>
              <a:gd name="T65" fmla="*/ 30904 h 394"/>
              <a:gd name="T66" fmla="*/ 149464 w 359"/>
              <a:gd name="T67" fmla="*/ 31951 h 394"/>
              <a:gd name="T68" fmla="*/ 156097 w 359"/>
              <a:gd name="T69" fmla="*/ 84331 h 394"/>
              <a:gd name="T70" fmla="*/ 149464 w 359"/>
              <a:gd name="T71" fmla="*/ 96902 h 394"/>
              <a:gd name="T72" fmla="*/ 142831 w 359"/>
              <a:gd name="T73" fmla="*/ 107902 h 394"/>
              <a:gd name="T74" fmla="*/ 139293 w 359"/>
              <a:gd name="T75" fmla="*/ 117330 h 394"/>
              <a:gd name="T76" fmla="*/ 138409 w 359"/>
              <a:gd name="T77" fmla="*/ 125187 h 394"/>
              <a:gd name="T78" fmla="*/ 138409 w 359"/>
              <a:gd name="T79" fmla="*/ 133568 h 394"/>
              <a:gd name="T80" fmla="*/ 141946 w 359"/>
              <a:gd name="T81" fmla="*/ 142996 h 394"/>
              <a:gd name="T82" fmla="*/ 146368 w 359"/>
              <a:gd name="T83" fmla="*/ 153472 h 394"/>
              <a:gd name="T84" fmla="*/ 149022 w 359"/>
              <a:gd name="T85" fmla="*/ 161852 h 394"/>
              <a:gd name="T86" fmla="*/ 149022 w 359"/>
              <a:gd name="T87" fmla="*/ 168138 h 394"/>
              <a:gd name="T88" fmla="*/ 145926 w 359"/>
              <a:gd name="T89" fmla="*/ 176519 h 394"/>
              <a:gd name="T90" fmla="*/ 144157 w 359"/>
              <a:gd name="T91" fmla="*/ 183852 h 394"/>
              <a:gd name="T92" fmla="*/ 141062 w 359"/>
              <a:gd name="T93" fmla="*/ 187518 h 394"/>
              <a:gd name="T94" fmla="*/ 136198 w 359"/>
              <a:gd name="T95" fmla="*/ 186471 h 394"/>
              <a:gd name="T96" fmla="*/ 131776 w 359"/>
              <a:gd name="T97" fmla="*/ 183328 h 394"/>
              <a:gd name="T98" fmla="*/ 126912 w 359"/>
              <a:gd name="T99" fmla="*/ 178090 h 394"/>
              <a:gd name="T100" fmla="*/ 122490 w 359"/>
              <a:gd name="T101" fmla="*/ 175471 h 394"/>
              <a:gd name="T102" fmla="*/ 117625 w 359"/>
              <a:gd name="T103" fmla="*/ 174424 h 394"/>
              <a:gd name="T104" fmla="*/ 108781 w 359"/>
              <a:gd name="T105" fmla="*/ 174424 h 394"/>
              <a:gd name="T106" fmla="*/ 97726 w 359"/>
              <a:gd name="T107" fmla="*/ 175995 h 394"/>
              <a:gd name="T108" fmla="*/ 80038 w 359"/>
              <a:gd name="T109" fmla="*/ 179661 h 394"/>
              <a:gd name="T110" fmla="*/ 57928 w 359"/>
              <a:gd name="T111" fmla="*/ 188042 h 394"/>
              <a:gd name="T112" fmla="*/ 38029 w 359"/>
              <a:gd name="T113" fmla="*/ 196423 h 394"/>
              <a:gd name="T114" fmla="*/ 23437 w 359"/>
              <a:gd name="T115" fmla="*/ 206375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1015" name="Freeform 466">
            <a:extLst>
              <a:ext uri="{FF2B5EF4-FFF2-40B4-BE49-F238E27FC236}">
                <a16:creationId xmlns:a16="http://schemas.microsoft.com/office/drawing/2014/main" id="{2BD5EC6F-0EE2-4A73-94FD-D158AC350288}"/>
              </a:ext>
            </a:extLst>
          </p:cNvPr>
          <p:cNvSpPr>
            <a:spLocks/>
          </p:cNvSpPr>
          <p:nvPr>
            <p:custDataLst>
              <p:tags r:id="rId303"/>
            </p:custDataLst>
          </p:nvPr>
        </p:nvSpPr>
        <p:spPr bwMode="auto">
          <a:xfrm>
            <a:off x="9469322" y="7292053"/>
            <a:ext cx="407574" cy="575993"/>
          </a:xfrm>
          <a:custGeom>
            <a:avLst/>
            <a:gdLst>
              <a:gd name="T0" fmla="*/ 175403 w 449"/>
              <a:gd name="T1" fmla="*/ 54500 h 523"/>
              <a:gd name="T2" fmla="*/ 173264 w 449"/>
              <a:gd name="T3" fmla="*/ 50867 h 523"/>
              <a:gd name="T4" fmla="*/ 174548 w 449"/>
              <a:gd name="T5" fmla="*/ 47753 h 523"/>
              <a:gd name="T6" fmla="*/ 180537 w 449"/>
              <a:gd name="T7" fmla="*/ 39967 h 523"/>
              <a:gd name="T8" fmla="*/ 188665 w 449"/>
              <a:gd name="T9" fmla="*/ 31143 h 523"/>
              <a:gd name="T10" fmla="*/ 191232 w 449"/>
              <a:gd name="T11" fmla="*/ 25952 h 523"/>
              <a:gd name="T12" fmla="*/ 192088 w 449"/>
              <a:gd name="T13" fmla="*/ 19205 h 523"/>
              <a:gd name="T14" fmla="*/ 184815 w 449"/>
              <a:gd name="T15" fmla="*/ 17648 h 523"/>
              <a:gd name="T16" fmla="*/ 180537 w 449"/>
              <a:gd name="T17" fmla="*/ 14014 h 523"/>
              <a:gd name="T18" fmla="*/ 175831 w 449"/>
              <a:gd name="T19" fmla="*/ 10900 h 523"/>
              <a:gd name="T20" fmla="*/ 166847 w 449"/>
              <a:gd name="T21" fmla="*/ 9343 h 523"/>
              <a:gd name="T22" fmla="*/ 161285 w 449"/>
              <a:gd name="T23" fmla="*/ 10381 h 523"/>
              <a:gd name="T24" fmla="*/ 157435 w 449"/>
              <a:gd name="T25" fmla="*/ 12457 h 523"/>
              <a:gd name="T26" fmla="*/ 151874 w 449"/>
              <a:gd name="T27" fmla="*/ 19205 h 523"/>
              <a:gd name="T28" fmla="*/ 145456 w 449"/>
              <a:gd name="T29" fmla="*/ 25952 h 523"/>
              <a:gd name="T30" fmla="*/ 139467 w 449"/>
              <a:gd name="T31" fmla="*/ 28029 h 523"/>
              <a:gd name="T32" fmla="*/ 132622 w 449"/>
              <a:gd name="T33" fmla="*/ 28548 h 523"/>
              <a:gd name="T34" fmla="*/ 122782 w 449"/>
              <a:gd name="T35" fmla="*/ 28029 h 523"/>
              <a:gd name="T36" fmla="*/ 114226 w 449"/>
              <a:gd name="T37" fmla="*/ 25952 h 523"/>
              <a:gd name="T38" fmla="*/ 100536 w 449"/>
              <a:gd name="T39" fmla="*/ 18686 h 523"/>
              <a:gd name="T40" fmla="*/ 88129 w 449"/>
              <a:gd name="T41" fmla="*/ 9862 h 523"/>
              <a:gd name="T42" fmla="*/ 80857 w 449"/>
              <a:gd name="T43" fmla="*/ 6229 h 523"/>
              <a:gd name="T44" fmla="*/ 72728 w 449"/>
              <a:gd name="T45" fmla="*/ 3114 h 523"/>
              <a:gd name="T46" fmla="*/ 57327 w 449"/>
              <a:gd name="T47" fmla="*/ 4152 h 523"/>
              <a:gd name="T48" fmla="*/ 50910 w 449"/>
              <a:gd name="T49" fmla="*/ 3114 h 523"/>
              <a:gd name="T50" fmla="*/ 44065 w 449"/>
              <a:gd name="T51" fmla="*/ 0 h 523"/>
              <a:gd name="T52" fmla="*/ 22246 w 449"/>
              <a:gd name="T53" fmla="*/ 0 h 523"/>
              <a:gd name="T54" fmla="*/ 2139 w 449"/>
              <a:gd name="T55" fmla="*/ 0 h 523"/>
              <a:gd name="T56" fmla="*/ 2139 w 449"/>
              <a:gd name="T57" fmla="*/ 9343 h 523"/>
              <a:gd name="T58" fmla="*/ 2139 w 449"/>
              <a:gd name="T59" fmla="*/ 19205 h 523"/>
              <a:gd name="T60" fmla="*/ 6417 w 449"/>
              <a:gd name="T61" fmla="*/ 31143 h 523"/>
              <a:gd name="T62" fmla="*/ 9840 w 449"/>
              <a:gd name="T63" fmla="*/ 47234 h 523"/>
              <a:gd name="T64" fmla="*/ 13262 w 449"/>
              <a:gd name="T65" fmla="*/ 66438 h 523"/>
              <a:gd name="T66" fmla="*/ 16257 w 449"/>
              <a:gd name="T67" fmla="*/ 89277 h 523"/>
              <a:gd name="T68" fmla="*/ 15829 w 449"/>
              <a:gd name="T69" fmla="*/ 106924 h 523"/>
              <a:gd name="T70" fmla="*/ 12407 w 449"/>
              <a:gd name="T71" fmla="*/ 119381 h 523"/>
              <a:gd name="T72" fmla="*/ 2995 w 449"/>
              <a:gd name="T73" fmla="*/ 139624 h 523"/>
              <a:gd name="T74" fmla="*/ 4278 w 449"/>
              <a:gd name="T75" fmla="*/ 166615 h 523"/>
              <a:gd name="T76" fmla="*/ 11979 w 449"/>
              <a:gd name="T77" fmla="*/ 175958 h 523"/>
              <a:gd name="T78" fmla="*/ 35936 w 449"/>
              <a:gd name="T79" fmla="*/ 190491 h 523"/>
              <a:gd name="T80" fmla="*/ 58183 w 449"/>
              <a:gd name="T81" fmla="*/ 205544 h 523"/>
              <a:gd name="T82" fmla="*/ 72728 w 449"/>
              <a:gd name="T83" fmla="*/ 218001 h 523"/>
              <a:gd name="T84" fmla="*/ 80857 w 449"/>
              <a:gd name="T85" fmla="*/ 226306 h 523"/>
              <a:gd name="T86" fmla="*/ 84707 w 449"/>
              <a:gd name="T87" fmla="*/ 234091 h 523"/>
              <a:gd name="T88" fmla="*/ 85990 w 449"/>
              <a:gd name="T89" fmla="*/ 240839 h 523"/>
              <a:gd name="T90" fmla="*/ 89413 w 449"/>
              <a:gd name="T91" fmla="*/ 248625 h 523"/>
              <a:gd name="T92" fmla="*/ 94119 w 449"/>
              <a:gd name="T93" fmla="*/ 255372 h 523"/>
              <a:gd name="T94" fmla="*/ 99680 w 449"/>
              <a:gd name="T95" fmla="*/ 261082 h 523"/>
              <a:gd name="T96" fmla="*/ 105670 w 449"/>
              <a:gd name="T97" fmla="*/ 265753 h 523"/>
              <a:gd name="T98" fmla="*/ 112943 w 449"/>
              <a:gd name="T99" fmla="*/ 269387 h 523"/>
              <a:gd name="T100" fmla="*/ 120215 w 449"/>
              <a:gd name="T101" fmla="*/ 271463 h 523"/>
              <a:gd name="T102" fmla="*/ 130055 w 449"/>
              <a:gd name="T103" fmla="*/ 260563 h 523"/>
              <a:gd name="T104" fmla="*/ 143317 w 449"/>
              <a:gd name="T105" fmla="*/ 239801 h 523"/>
              <a:gd name="T106" fmla="*/ 156152 w 449"/>
              <a:gd name="T107" fmla="*/ 221634 h 523"/>
              <a:gd name="T108" fmla="*/ 168558 w 449"/>
              <a:gd name="T109" fmla="*/ 202429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1016" name="Freeform 467">
            <a:extLst>
              <a:ext uri="{FF2B5EF4-FFF2-40B4-BE49-F238E27FC236}">
                <a16:creationId xmlns:a16="http://schemas.microsoft.com/office/drawing/2014/main" id="{75683F85-6B75-4BF5-A7A4-DA44287AF7CE}"/>
              </a:ext>
            </a:extLst>
          </p:cNvPr>
          <p:cNvSpPr>
            <a:spLocks/>
          </p:cNvSpPr>
          <p:nvPr>
            <p:custDataLst>
              <p:tags r:id="rId304"/>
            </p:custDataLst>
          </p:nvPr>
        </p:nvSpPr>
        <p:spPr bwMode="auto">
          <a:xfrm>
            <a:off x="9432271" y="5351869"/>
            <a:ext cx="215576" cy="276207"/>
          </a:xfrm>
          <a:custGeom>
            <a:avLst/>
            <a:gdLst>
              <a:gd name="T0" fmla="*/ 5395 w 226"/>
              <a:gd name="T1" fmla="*/ 120650 h 246"/>
              <a:gd name="T2" fmla="*/ 16184 w 226"/>
              <a:gd name="T3" fmla="*/ 127000 h 246"/>
              <a:gd name="T4" fmla="*/ 23827 w 226"/>
              <a:gd name="T5" fmla="*/ 129646 h 246"/>
              <a:gd name="T6" fmla="*/ 30570 w 226"/>
              <a:gd name="T7" fmla="*/ 129646 h 246"/>
              <a:gd name="T8" fmla="*/ 38212 w 226"/>
              <a:gd name="T9" fmla="*/ 127529 h 246"/>
              <a:gd name="T10" fmla="*/ 49451 w 226"/>
              <a:gd name="T11" fmla="*/ 120650 h 246"/>
              <a:gd name="T12" fmla="*/ 63388 w 226"/>
              <a:gd name="T13" fmla="*/ 108479 h 246"/>
              <a:gd name="T14" fmla="*/ 72379 w 226"/>
              <a:gd name="T15" fmla="*/ 97367 h 246"/>
              <a:gd name="T16" fmla="*/ 71480 w 226"/>
              <a:gd name="T17" fmla="*/ 91546 h 246"/>
              <a:gd name="T18" fmla="*/ 66984 w 226"/>
              <a:gd name="T19" fmla="*/ 84667 h 246"/>
              <a:gd name="T20" fmla="*/ 64287 w 226"/>
              <a:gd name="T21" fmla="*/ 76729 h 246"/>
              <a:gd name="T22" fmla="*/ 63388 w 226"/>
              <a:gd name="T23" fmla="*/ 68792 h 246"/>
              <a:gd name="T24" fmla="*/ 63388 w 226"/>
              <a:gd name="T25" fmla="*/ 61383 h 246"/>
              <a:gd name="T26" fmla="*/ 65635 w 226"/>
              <a:gd name="T27" fmla="*/ 55562 h 246"/>
              <a:gd name="T28" fmla="*/ 70131 w 226"/>
              <a:gd name="T29" fmla="*/ 49742 h 246"/>
              <a:gd name="T30" fmla="*/ 75526 w 226"/>
              <a:gd name="T31" fmla="*/ 45508 h 246"/>
              <a:gd name="T32" fmla="*/ 91710 w 226"/>
              <a:gd name="T33" fmla="*/ 37571 h 246"/>
              <a:gd name="T34" fmla="*/ 101150 w 226"/>
              <a:gd name="T35" fmla="*/ 25929 h 246"/>
              <a:gd name="T36" fmla="*/ 99352 w 226"/>
              <a:gd name="T37" fmla="*/ 15875 h 246"/>
              <a:gd name="T38" fmla="*/ 96205 w 226"/>
              <a:gd name="T39" fmla="*/ 8996 h 246"/>
              <a:gd name="T40" fmla="*/ 95306 w 226"/>
              <a:gd name="T41" fmla="*/ 3175 h 246"/>
              <a:gd name="T42" fmla="*/ 90811 w 226"/>
              <a:gd name="T43" fmla="*/ 529 h 246"/>
              <a:gd name="T44" fmla="*/ 81370 w 226"/>
              <a:gd name="T45" fmla="*/ 3704 h 246"/>
              <a:gd name="T46" fmla="*/ 69232 w 226"/>
              <a:gd name="T47" fmla="*/ 10583 h 246"/>
              <a:gd name="T48" fmla="*/ 54396 w 226"/>
              <a:gd name="T49" fmla="*/ 20108 h 246"/>
              <a:gd name="T50" fmla="*/ 44956 w 226"/>
              <a:gd name="T51" fmla="*/ 26987 h 246"/>
              <a:gd name="T52" fmla="*/ 39112 w 226"/>
              <a:gd name="T53" fmla="*/ 29104 h 246"/>
              <a:gd name="T54" fmla="*/ 33717 w 226"/>
              <a:gd name="T55" fmla="*/ 28575 h 246"/>
              <a:gd name="T56" fmla="*/ 26524 w 226"/>
              <a:gd name="T57" fmla="*/ 24871 h 246"/>
              <a:gd name="T58" fmla="*/ 16184 w 226"/>
              <a:gd name="T59" fmla="*/ 16404 h 246"/>
              <a:gd name="T60" fmla="*/ 10789 w 226"/>
              <a:gd name="T61" fmla="*/ 20638 h 246"/>
              <a:gd name="T62" fmla="*/ 8092 w 226"/>
              <a:gd name="T63" fmla="*/ 50271 h 246"/>
              <a:gd name="T64" fmla="*/ 4496 w 226"/>
              <a:gd name="T65" fmla="*/ 86254 h 246"/>
              <a:gd name="T66" fmla="*/ 1349 w 226"/>
              <a:gd name="T67" fmla="*/ 112183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1017" name="Freeform 468">
            <a:extLst>
              <a:ext uri="{FF2B5EF4-FFF2-40B4-BE49-F238E27FC236}">
                <a16:creationId xmlns:a16="http://schemas.microsoft.com/office/drawing/2014/main" id="{BAA237F0-E23D-45DE-98B9-31DB201A4434}"/>
              </a:ext>
            </a:extLst>
          </p:cNvPr>
          <p:cNvSpPr>
            <a:spLocks/>
          </p:cNvSpPr>
          <p:nvPr>
            <p:custDataLst>
              <p:tags r:id="rId305"/>
            </p:custDataLst>
          </p:nvPr>
        </p:nvSpPr>
        <p:spPr bwMode="auto">
          <a:xfrm>
            <a:off x="10065526" y="5570815"/>
            <a:ext cx="47157" cy="117892"/>
          </a:xfrm>
          <a:custGeom>
            <a:avLst/>
            <a:gdLst>
              <a:gd name="T0" fmla="*/ 10001 w 60"/>
              <a:gd name="T1" fmla="*/ 0 h 81"/>
              <a:gd name="T2" fmla="*/ 10742 w 60"/>
              <a:gd name="T3" fmla="*/ 1372 h 81"/>
              <a:gd name="T4" fmla="*/ 11853 w 60"/>
              <a:gd name="T5" fmla="*/ 2058 h 81"/>
              <a:gd name="T6" fmla="*/ 13335 w 60"/>
              <a:gd name="T7" fmla="*/ 2058 h 81"/>
              <a:gd name="T8" fmla="*/ 14817 w 60"/>
              <a:gd name="T9" fmla="*/ 1372 h 81"/>
              <a:gd name="T10" fmla="*/ 17410 w 60"/>
              <a:gd name="T11" fmla="*/ 686 h 81"/>
              <a:gd name="T12" fmla="*/ 19632 w 60"/>
              <a:gd name="T13" fmla="*/ 0 h 81"/>
              <a:gd name="T14" fmla="*/ 19632 w 60"/>
              <a:gd name="T15" fmla="*/ 17835 h 81"/>
              <a:gd name="T16" fmla="*/ 20003 w 60"/>
              <a:gd name="T17" fmla="*/ 32240 h 81"/>
              <a:gd name="T18" fmla="*/ 20003 w 60"/>
              <a:gd name="T19" fmla="*/ 39099 h 81"/>
              <a:gd name="T20" fmla="*/ 20743 w 60"/>
              <a:gd name="T21" fmla="*/ 44587 h 81"/>
              <a:gd name="T22" fmla="*/ 21484 w 60"/>
              <a:gd name="T23" fmla="*/ 50074 h 81"/>
              <a:gd name="T24" fmla="*/ 22225 w 60"/>
              <a:gd name="T25" fmla="*/ 55562 h 81"/>
              <a:gd name="T26" fmla="*/ 7408 w 60"/>
              <a:gd name="T27" fmla="*/ 55562 h 81"/>
              <a:gd name="T28" fmla="*/ 5186 w 60"/>
              <a:gd name="T29" fmla="*/ 54876 h 81"/>
              <a:gd name="T30" fmla="*/ 2593 w 60"/>
              <a:gd name="T31" fmla="*/ 52818 h 81"/>
              <a:gd name="T32" fmla="*/ 1852 w 60"/>
              <a:gd name="T33" fmla="*/ 50760 h 81"/>
              <a:gd name="T34" fmla="*/ 741 w 60"/>
              <a:gd name="T35" fmla="*/ 49388 h 81"/>
              <a:gd name="T36" fmla="*/ 370 w 60"/>
              <a:gd name="T37" fmla="*/ 48017 h 81"/>
              <a:gd name="T38" fmla="*/ 0 w 60"/>
              <a:gd name="T39" fmla="*/ 46645 h 81"/>
              <a:gd name="T40" fmla="*/ 2593 w 60"/>
              <a:gd name="T41" fmla="*/ 8231 h 81"/>
              <a:gd name="T42" fmla="*/ 7408 w 60"/>
              <a:gd name="T43" fmla="*/ 4116 h 81"/>
              <a:gd name="T44" fmla="*/ 12594 w 60"/>
              <a:gd name="T45" fmla="*/ 0 h 81"/>
              <a:gd name="T46" fmla="*/ 10001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1018" name="Freeform 469">
            <a:extLst>
              <a:ext uri="{FF2B5EF4-FFF2-40B4-BE49-F238E27FC236}">
                <a16:creationId xmlns:a16="http://schemas.microsoft.com/office/drawing/2014/main" id="{081697E3-911C-49D1-A4AB-8AFFFFDEB038}"/>
              </a:ext>
            </a:extLst>
          </p:cNvPr>
          <p:cNvSpPr>
            <a:spLocks/>
          </p:cNvSpPr>
          <p:nvPr>
            <p:custDataLst>
              <p:tags r:id="rId306"/>
            </p:custDataLst>
          </p:nvPr>
        </p:nvSpPr>
        <p:spPr bwMode="auto">
          <a:xfrm>
            <a:off x="8553124" y="3735049"/>
            <a:ext cx="343574" cy="141472"/>
          </a:xfrm>
          <a:custGeom>
            <a:avLst/>
            <a:gdLst>
              <a:gd name="T0" fmla="*/ 109409 w 370"/>
              <a:gd name="T1" fmla="*/ 60473 h 129"/>
              <a:gd name="T2" fmla="*/ 112910 w 370"/>
              <a:gd name="T3" fmla="*/ 61506 h 129"/>
              <a:gd name="T4" fmla="*/ 121225 w 370"/>
              <a:gd name="T5" fmla="*/ 63574 h 129"/>
              <a:gd name="T6" fmla="*/ 129102 w 370"/>
              <a:gd name="T7" fmla="*/ 65641 h 129"/>
              <a:gd name="T8" fmla="*/ 132603 w 370"/>
              <a:gd name="T9" fmla="*/ 66675 h 129"/>
              <a:gd name="T10" fmla="*/ 161925 w 370"/>
              <a:gd name="T11" fmla="*/ 50135 h 129"/>
              <a:gd name="T12" fmla="*/ 156673 w 370"/>
              <a:gd name="T13" fmla="*/ 38765 h 129"/>
              <a:gd name="T14" fmla="*/ 150984 w 370"/>
              <a:gd name="T15" fmla="*/ 24809 h 129"/>
              <a:gd name="T16" fmla="*/ 146608 w 370"/>
              <a:gd name="T17" fmla="*/ 13955 h 129"/>
              <a:gd name="T18" fmla="*/ 144420 w 370"/>
              <a:gd name="T19" fmla="*/ 9303 h 129"/>
              <a:gd name="T20" fmla="*/ 131291 w 370"/>
              <a:gd name="T21" fmla="*/ 7753 h 129"/>
              <a:gd name="T22" fmla="*/ 112472 w 370"/>
              <a:gd name="T23" fmla="*/ 4652 h 129"/>
              <a:gd name="T24" fmla="*/ 93654 w 370"/>
              <a:gd name="T25" fmla="*/ 1034 h 129"/>
              <a:gd name="T26" fmla="*/ 80087 w 370"/>
              <a:gd name="T27" fmla="*/ 0 h 129"/>
              <a:gd name="T28" fmla="*/ 78337 w 370"/>
              <a:gd name="T29" fmla="*/ 0 h 129"/>
              <a:gd name="T30" fmla="*/ 77024 w 370"/>
              <a:gd name="T31" fmla="*/ 517 h 129"/>
              <a:gd name="T32" fmla="*/ 75273 w 370"/>
              <a:gd name="T33" fmla="*/ 1034 h 129"/>
              <a:gd name="T34" fmla="*/ 74398 w 370"/>
              <a:gd name="T35" fmla="*/ 1551 h 129"/>
              <a:gd name="T36" fmla="*/ 70897 w 370"/>
              <a:gd name="T37" fmla="*/ 3618 h 129"/>
              <a:gd name="T38" fmla="*/ 65645 w 370"/>
              <a:gd name="T39" fmla="*/ 6202 h 129"/>
              <a:gd name="T40" fmla="*/ 64332 w 370"/>
              <a:gd name="T41" fmla="*/ 10854 h 129"/>
              <a:gd name="T42" fmla="*/ 61269 w 370"/>
              <a:gd name="T43" fmla="*/ 18090 h 129"/>
              <a:gd name="T44" fmla="*/ 58643 w 370"/>
              <a:gd name="T45" fmla="*/ 24809 h 129"/>
              <a:gd name="T46" fmla="*/ 57330 w 370"/>
              <a:gd name="T47" fmla="*/ 28427 h 129"/>
              <a:gd name="T48" fmla="*/ 53391 w 370"/>
              <a:gd name="T49" fmla="*/ 27910 h 129"/>
              <a:gd name="T50" fmla="*/ 48578 w 370"/>
              <a:gd name="T51" fmla="*/ 25326 h 129"/>
              <a:gd name="T52" fmla="*/ 42888 w 370"/>
              <a:gd name="T53" fmla="*/ 22742 h 129"/>
              <a:gd name="T54" fmla="*/ 36761 w 370"/>
              <a:gd name="T55" fmla="*/ 19641 h 129"/>
              <a:gd name="T56" fmla="*/ 26258 w 370"/>
              <a:gd name="T57" fmla="*/ 13438 h 129"/>
              <a:gd name="T58" fmla="*/ 19256 w 370"/>
              <a:gd name="T59" fmla="*/ 9303 h 129"/>
              <a:gd name="T60" fmla="*/ 14004 w 370"/>
              <a:gd name="T61" fmla="*/ 12922 h 129"/>
              <a:gd name="T62" fmla="*/ 9190 w 370"/>
              <a:gd name="T63" fmla="*/ 17056 h 129"/>
              <a:gd name="T64" fmla="*/ 7002 w 370"/>
              <a:gd name="T65" fmla="*/ 19124 h 129"/>
              <a:gd name="T66" fmla="*/ 5252 w 370"/>
              <a:gd name="T67" fmla="*/ 21191 h 129"/>
              <a:gd name="T68" fmla="*/ 3939 w 370"/>
              <a:gd name="T69" fmla="*/ 23776 h 129"/>
              <a:gd name="T70" fmla="*/ 2188 w 370"/>
              <a:gd name="T71" fmla="*/ 26877 h 129"/>
              <a:gd name="T72" fmla="*/ 1313 w 370"/>
              <a:gd name="T73" fmla="*/ 29461 h 129"/>
              <a:gd name="T74" fmla="*/ 438 w 370"/>
              <a:gd name="T75" fmla="*/ 32562 h 129"/>
              <a:gd name="T76" fmla="*/ 0 w 370"/>
              <a:gd name="T77" fmla="*/ 35663 h 129"/>
              <a:gd name="T78" fmla="*/ 0 w 370"/>
              <a:gd name="T79" fmla="*/ 38765 h 129"/>
              <a:gd name="T80" fmla="*/ 438 w 370"/>
              <a:gd name="T81" fmla="*/ 42383 h 129"/>
              <a:gd name="T82" fmla="*/ 1313 w 370"/>
              <a:gd name="T83" fmla="*/ 45484 h 129"/>
              <a:gd name="T84" fmla="*/ 2626 w 370"/>
              <a:gd name="T85" fmla="*/ 49619 h 129"/>
              <a:gd name="T86" fmla="*/ 4814 w 370"/>
              <a:gd name="T87" fmla="*/ 53237 h 129"/>
              <a:gd name="T88" fmla="*/ 8753 w 370"/>
              <a:gd name="T89" fmla="*/ 52203 h 129"/>
              <a:gd name="T90" fmla="*/ 14442 w 370"/>
              <a:gd name="T91" fmla="*/ 51169 h 129"/>
              <a:gd name="T92" fmla="*/ 21882 w 370"/>
              <a:gd name="T93" fmla="*/ 50135 h 129"/>
              <a:gd name="T94" fmla="*/ 30197 w 370"/>
              <a:gd name="T95" fmla="*/ 49102 h 129"/>
              <a:gd name="T96" fmla="*/ 44639 w 370"/>
              <a:gd name="T97" fmla="*/ 47551 h 129"/>
              <a:gd name="T98" fmla="*/ 51203 w 370"/>
              <a:gd name="T99" fmla="*/ 47034 h 129"/>
              <a:gd name="T100" fmla="*/ 59956 w 370"/>
              <a:gd name="T101" fmla="*/ 47551 h 129"/>
              <a:gd name="T102" fmla="*/ 66521 w 370"/>
              <a:gd name="T103" fmla="*/ 48585 h 129"/>
              <a:gd name="T104" fmla="*/ 72647 w 370"/>
              <a:gd name="T105" fmla="*/ 50135 h 129"/>
              <a:gd name="T106" fmla="*/ 77461 w 370"/>
              <a:gd name="T107" fmla="*/ 51686 h 129"/>
              <a:gd name="T108" fmla="*/ 82713 w 370"/>
              <a:gd name="T109" fmla="*/ 53753 h 129"/>
              <a:gd name="T110" fmla="*/ 87965 w 370"/>
              <a:gd name="T111" fmla="*/ 55821 h 129"/>
              <a:gd name="T112" fmla="*/ 94967 w 370"/>
              <a:gd name="T113" fmla="*/ 56855 h 129"/>
              <a:gd name="T114" fmla="*/ 103720 w 370"/>
              <a:gd name="T115" fmla="*/ 57372 h 129"/>
              <a:gd name="T116" fmla="*/ 103720 w 370"/>
              <a:gd name="T117" fmla="*/ 60473 h 129"/>
              <a:gd name="T118" fmla="*/ 109409 w 370"/>
              <a:gd name="T119" fmla="*/ 60473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19" name="Freeform 470">
            <a:extLst>
              <a:ext uri="{FF2B5EF4-FFF2-40B4-BE49-F238E27FC236}">
                <a16:creationId xmlns:a16="http://schemas.microsoft.com/office/drawing/2014/main" id="{90949085-311D-4847-83F9-23CD921D1380}"/>
              </a:ext>
            </a:extLst>
          </p:cNvPr>
          <p:cNvSpPr>
            <a:spLocks/>
          </p:cNvSpPr>
          <p:nvPr>
            <p:custDataLst>
              <p:tags r:id="rId307"/>
            </p:custDataLst>
          </p:nvPr>
        </p:nvSpPr>
        <p:spPr bwMode="auto">
          <a:xfrm>
            <a:off x="9425534" y="5264291"/>
            <a:ext cx="63998" cy="121262"/>
          </a:xfrm>
          <a:custGeom>
            <a:avLst/>
            <a:gdLst>
              <a:gd name="T0" fmla="*/ 10180 w 80"/>
              <a:gd name="T1" fmla="*/ 608 h 94"/>
              <a:gd name="T2" fmla="*/ 12819 w 80"/>
              <a:gd name="T3" fmla="*/ 0 h 94"/>
              <a:gd name="T4" fmla="*/ 15458 w 80"/>
              <a:gd name="T5" fmla="*/ 0 h 94"/>
              <a:gd name="T6" fmla="*/ 17720 w 80"/>
              <a:gd name="T7" fmla="*/ 1216 h 94"/>
              <a:gd name="T8" fmla="*/ 20359 w 80"/>
              <a:gd name="T9" fmla="*/ 2432 h 94"/>
              <a:gd name="T10" fmla="*/ 22622 w 80"/>
              <a:gd name="T11" fmla="*/ 3648 h 94"/>
              <a:gd name="T12" fmla="*/ 24884 w 80"/>
              <a:gd name="T13" fmla="*/ 4864 h 94"/>
              <a:gd name="T14" fmla="*/ 27523 w 80"/>
              <a:gd name="T15" fmla="*/ 4864 h 94"/>
              <a:gd name="T16" fmla="*/ 30162 w 80"/>
              <a:gd name="T17" fmla="*/ 4256 h 94"/>
              <a:gd name="T18" fmla="*/ 30162 w 80"/>
              <a:gd name="T19" fmla="*/ 23103 h 94"/>
              <a:gd name="T20" fmla="*/ 28277 w 80"/>
              <a:gd name="T21" fmla="*/ 26751 h 94"/>
              <a:gd name="T22" fmla="*/ 26015 w 80"/>
              <a:gd name="T23" fmla="*/ 31007 h 94"/>
              <a:gd name="T24" fmla="*/ 24130 w 80"/>
              <a:gd name="T25" fmla="*/ 35871 h 94"/>
              <a:gd name="T26" fmla="*/ 21867 w 80"/>
              <a:gd name="T27" fmla="*/ 41343 h 94"/>
              <a:gd name="T28" fmla="*/ 19228 w 80"/>
              <a:gd name="T29" fmla="*/ 51070 h 94"/>
              <a:gd name="T30" fmla="*/ 17720 w 80"/>
              <a:gd name="T31" fmla="*/ 57150 h 94"/>
              <a:gd name="T32" fmla="*/ 16212 w 80"/>
              <a:gd name="T33" fmla="*/ 56542 h 94"/>
              <a:gd name="T34" fmla="*/ 15081 w 80"/>
              <a:gd name="T35" fmla="*/ 55934 h 94"/>
              <a:gd name="T36" fmla="*/ 13950 w 80"/>
              <a:gd name="T37" fmla="*/ 55326 h 94"/>
              <a:gd name="T38" fmla="*/ 12819 w 80"/>
              <a:gd name="T39" fmla="*/ 54110 h 94"/>
              <a:gd name="T40" fmla="*/ 10934 w 80"/>
              <a:gd name="T41" fmla="*/ 51070 h 94"/>
              <a:gd name="T42" fmla="*/ 8672 w 80"/>
              <a:gd name="T43" fmla="*/ 47422 h 94"/>
              <a:gd name="T44" fmla="*/ 7163 w 80"/>
              <a:gd name="T45" fmla="*/ 43774 h 94"/>
              <a:gd name="T46" fmla="*/ 4901 w 80"/>
              <a:gd name="T47" fmla="*/ 39519 h 94"/>
              <a:gd name="T48" fmla="*/ 2639 w 80"/>
              <a:gd name="T49" fmla="*/ 36479 h 94"/>
              <a:gd name="T50" fmla="*/ 0 w 80"/>
              <a:gd name="T51" fmla="*/ 34047 h 94"/>
              <a:gd name="T52" fmla="*/ 3016 w 80"/>
              <a:gd name="T53" fmla="*/ 24927 h 94"/>
              <a:gd name="T54" fmla="*/ 4901 w 80"/>
              <a:gd name="T55" fmla="*/ 17631 h 94"/>
              <a:gd name="T56" fmla="*/ 7163 w 80"/>
              <a:gd name="T57" fmla="*/ 10336 h 94"/>
              <a:gd name="T58" fmla="*/ 10180 w 80"/>
              <a:gd name="T59" fmla="*/ 608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1020" name="Freeform 471">
            <a:extLst>
              <a:ext uri="{FF2B5EF4-FFF2-40B4-BE49-F238E27FC236}">
                <a16:creationId xmlns:a16="http://schemas.microsoft.com/office/drawing/2014/main" id="{38E0ED7C-7C3B-4FFE-95E3-92946C7BC7E4}"/>
              </a:ext>
            </a:extLst>
          </p:cNvPr>
          <p:cNvSpPr>
            <a:spLocks/>
          </p:cNvSpPr>
          <p:nvPr>
            <p:custDataLst>
              <p:tags r:id="rId308"/>
            </p:custDataLst>
          </p:nvPr>
        </p:nvSpPr>
        <p:spPr bwMode="auto">
          <a:xfrm>
            <a:off x="9034803" y="9532024"/>
            <a:ext cx="131366" cy="121262"/>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1021" name="Freeform 472">
            <a:extLst>
              <a:ext uri="{FF2B5EF4-FFF2-40B4-BE49-F238E27FC236}">
                <a16:creationId xmlns:a16="http://schemas.microsoft.com/office/drawing/2014/main" id="{9FACF48E-AC0B-4B7E-871F-DC0F2987FB36}"/>
              </a:ext>
            </a:extLst>
          </p:cNvPr>
          <p:cNvSpPr>
            <a:spLocks/>
          </p:cNvSpPr>
          <p:nvPr>
            <p:custDataLst>
              <p:tags r:id="rId309"/>
            </p:custDataLst>
          </p:nvPr>
        </p:nvSpPr>
        <p:spPr bwMode="auto">
          <a:xfrm>
            <a:off x="8549757" y="3836100"/>
            <a:ext cx="279574" cy="178525"/>
          </a:xfrm>
          <a:custGeom>
            <a:avLst/>
            <a:gdLst>
              <a:gd name="T0" fmla="*/ 81084 w 312"/>
              <a:gd name="T1" fmla="*/ 84138 h 155"/>
              <a:gd name="T2" fmla="*/ 81929 w 312"/>
              <a:gd name="T3" fmla="*/ 81967 h 155"/>
              <a:gd name="T4" fmla="*/ 83196 w 312"/>
              <a:gd name="T5" fmla="*/ 80338 h 155"/>
              <a:gd name="T6" fmla="*/ 84463 w 312"/>
              <a:gd name="T7" fmla="*/ 78710 h 155"/>
              <a:gd name="T8" fmla="*/ 85730 w 312"/>
              <a:gd name="T9" fmla="*/ 77081 h 155"/>
              <a:gd name="T10" fmla="*/ 89108 w 312"/>
              <a:gd name="T11" fmla="*/ 74367 h 155"/>
              <a:gd name="T12" fmla="*/ 92909 w 312"/>
              <a:gd name="T13" fmla="*/ 71653 h 155"/>
              <a:gd name="T14" fmla="*/ 100511 w 312"/>
              <a:gd name="T15" fmla="*/ 66768 h 155"/>
              <a:gd name="T16" fmla="*/ 106845 w 312"/>
              <a:gd name="T17" fmla="*/ 63511 h 155"/>
              <a:gd name="T18" fmla="*/ 107690 w 312"/>
              <a:gd name="T19" fmla="*/ 59168 h 155"/>
              <a:gd name="T20" fmla="*/ 109802 w 312"/>
              <a:gd name="T21" fmla="*/ 52654 h 155"/>
              <a:gd name="T22" fmla="*/ 111491 w 312"/>
              <a:gd name="T23" fmla="*/ 49397 h 155"/>
              <a:gd name="T24" fmla="*/ 112758 w 312"/>
              <a:gd name="T25" fmla="*/ 46683 h 155"/>
              <a:gd name="T26" fmla="*/ 113602 w 312"/>
              <a:gd name="T27" fmla="*/ 44512 h 155"/>
              <a:gd name="T28" fmla="*/ 114869 w 312"/>
              <a:gd name="T29" fmla="*/ 43969 h 155"/>
              <a:gd name="T30" fmla="*/ 131762 w 312"/>
              <a:gd name="T31" fmla="*/ 23884 h 155"/>
              <a:gd name="T32" fmla="*/ 131762 w 312"/>
              <a:gd name="T33" fmla="*/ 21170 h 155"/>
              <a:gd name="T34" fmla="*/ 130917 w 312"/>
              <a:gd name="T35" fmla="*/ 18999 h 155"/>
              <a:gd name="T36" fmla="*/ 129228 w 312"/>
              <a:gd name="T37" fmla="*/ 17370 h 155"/>
              <a:gd name="T38" fmla="*/ 127539 w 312"/>
              <a:gd name="T39" fmla="*/ 16285 h 155"/>
              <a:gd name="T40" fmla="*/ 122893 w 312"/>
              <a:gd name="T41" fmla="*/ 15199 h 155"/>
              <a:gd name="T42" fmla="*/ 118248 w 312"/>
              <a:gd name="T43" fmla="*/ 14656 h 155"/>
              <a:gd name="T44" fmla="*/ 113180 w 312"/>
              <a:gd name="T45" fmla="*/ 14656 h 155"/>
              <a:gd name="T46" fmla="*/ 109379 w 312"/>
              <a:gd name="T47" fmla="*/ 14656 h 155"/>
              <a:gd name="T48" fmla="*/ 108112 w 312"/>
              <a:gd name="T49" fmla="*/ 14113 h 155"/>
              <a:gd name="T50" fmla="*/ 106845 w 312"/>
              <a:gd name="T51" fmla="*/ 13571 h 155"/>
              <a:gd name="T52" fmla="*/ 106423 w 312"/>
              <a:gd name="T53" fmla="*/ 12485 h 155"/>
              <a:gd name="T54" fmla="*/ 106845 w 312"/>
              <a:gd name="T55" fmla="*/ 10857 h 155"/>
              <a:gd name="T56" fmla="*/ 97977 w 312"/>
              <a:gd name="T57" fmla="*/ 10314 h 155"/>
              <a:gd name="T58" fmla="*/ 91220 w 312"/>
              <a:gd name="T59" fmla="*/ 9228 h 155"/>
              <a:gd name="T60" fmla="*/ 85307 w 312"/>
              <a:gd name="T61" fmla="*/ 7057 h 155"/>
              <a:gd name="T62" fmla="*/ 79817 w 312"/>
              <a:gd name="T63" fmla="*/ 4885 h 155"/>
              <a:gd name="T64" fmla="*/ 74750 w 312"/>
              <a:gd name="T65" fmla="*/ 3257 h 155"/>
              <a:gd name="T66" fmla="*/ 68837 w 312"/>
              <a:gd name="T67" fmla="*/ 1628 h 155"/>
              <a:gd name="T68" fmla="*/ 61658 w 312"/>
              <a:gd name="T69" fmla="*/ 543 h 155"/>
              <a:gd name="T70" fmla="*/ 53212 w 312"/>
              <a:gd name="T71" fmla="*/ 0 h 155"/>
              <a:gd name="T72" fmla="*/ 46455 w 312"/>
              <a:gd name="T73" fmla="*/ 543 h 155"/>
              <a:gd name="T74" fmla="*/ 31251 w 312"/>
              <a:gd name="T75" fmla="*/ 2171 h 155"/>
              <a:gd name="T76" fmla="*/ 22383 w 312"/>
              <a:gd name="T77" fmla="*/ 3257 h 155"/>
              <a:gd name="T78" fmla="*/ 14359 w 312"/>
              <a:gd name="T79" fmla="*/ 4343 h 155"/>
              <a:gd name="T80" fmla="*/ 7602 w 312"/>
              <a:gd name="T81" fmla="*/ 5428 h 155"/>
              <a:gd name="T82" fmla="*/ 2956 w 312"/>
              <a:gd name="T83" fmla="*/ 6514 h 155"/>
              <a:gd name="T84" fmla="*/ 3801 w 312"/>
              <a:gd name="T85" fmla="*/ 9228 h 155"/>
              <a:gd name="T86" fmla="*/ 4645 w 312"/>
              <a:gd name="T87" fmla="*/ 10314 h 155"/>
              <a:gd name="T88" fmla="*/ 5490 w 312"/>
              <a:gd name="T89" fmla="*/ 10314 h 155"/>
              <a:gd name="T90" fmla="*/ 6335 w 312"/>
              <a:gd name="T91" fmla="*/ 10857 h 155"/>
              <a:gd name="T92" fmla="*/ 7602 w 312"/>
              <a:gd name="T93" fmla="*/ 10857 h 155"/>
              <a:gd name="T94" fmla="*/ 8024 w 312"/>
              <a:gd name="T95" fmla="*/ 10857 h 155"/>
              <a:gd name="T96" fmla="*/ 8446 w 312"/>
              <a:gd name="T97" fmla="*/ 11942 h 155"/>
              <a:gd name="T98" fmla="*/ 8446 w 312"/>
              <a:gd name="T99" fmla="*/ 14113 h 155"/>
              <a:gd name="T100" fmla="*/ 8446 w 312"/>
              <a:gd name="T101" fmla="*/ 16285 h 155"/>
              <a:gd name="T102" fmla="*/ 8024 w 312"/>
              <a:gd name="T103" fmla="*/ 18999 h 155"/>
              <a:gd name="T104" fmla="*/ 7602 w 312"/>
              <a:gd name="T105" fmla="*/ 21170 h 155"/>
              <a:gd name="T106" fmla="*/ 6335 w 312"/>
              <a:gd name="T107" fmla="*/ 22799 h 155"/>
              <a:gd name="T108" fmla="*/ 5068 w 312"/>
              <a:gd name="T109" fmla="*/ 24427 h 155"/>
              <a:gd name="T110" fmla="*/ 3801 w 312"/>
              <a:gd name="T111" fmla="*/ 26056 h 155"/>
              <a:gd name="T112" fmla="*/ 1689 w 312"/>
              <a:gd name="T113" fmla="*/ 26598 h 155"/>
              <a:gd name="T114" fmla="*/ 0 w 312"/>
              <a:gd name="T115" fmla="*/ 27141 h 155"/>
              <a:gd name="T116" fmla="*/ 31251 w 312"/>
              <a:gd name="T117" fmla="*/ 36912 h 155"/>
              <a:gd name="T118" fmla="*/ 36741 w 312"/>
              <a:gd name="T119" fmla="*/ 60254 h 155"/>
              <a:gd name="T120" fmla="*/ 70104 w 312"/>
              <a:gd name="T121" fmla="*/ 66768 h 155"/>
              <a:gd name="T122" fmla="*/ 81084 w 312"/>
              <a:gd name="T123" fmla="*/ 84138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22" name="Freeform 473">
            <a:extLst>
              <a:ext uri="{FF2B5EF4-FFF2-40B4-BE49-F238E27FC236}">
                <a16:creationId xmlns:a16="http://schemas.microsoft.com/office/drawing/2014/main" id="{0B448DDC-9887-47A8-8E4B-987AE3C09EC3}"/>
              </a:ext>
            </a:extLst>
          </p:cNvPr>
          <p:cNvSpPr>
            <a:spLocks/>
          </p:cNvSpPr>
          <p:nvPr>
            <p:custDataLst>
              <p:tags r:id="rId310"/>
            </p:custDataLst>
          </p:nvPr>
        </p:nvSpPr>
        <p:spPr bwMode="auto">
          <a:xfrm>
            <a:off x="7926606" y="4230201"/>
            <a:ext cx="40421" cy="127998"/>
          </a:xfrm>
          <a:custGeom>
            <a:avLst/>
            <a:gdLst>
              <a:gd name="T0" fmla="*/ 0 w 46"/>
              <a:gd name="T1" fmla="*/ 30163 h 50"/>
              <a:gd name="T2" fmla="*/ 828 w 46"/>
              <a:gd name="T3" fmla="*/ 21717 h 50"/>
              <a:gd name="T4" fmla="*/ 414 w 46"/>
              <a:gd name="T5" fmla="*/ 16891 h 50"/>
              <a:gd name="T6" fmla="*/ 828 w 46"/>
              <a:gd name="T7" fmla="*/ 15685 h 50"/>
              <a:gd name="T8" fmla="*/ 1242 w 46"/>
              <a:gd name="T9" fmla="*/ 15685 h 50"/>
              <a:gd name="T10" fmla="*/ 2485 w 46"/>
              <a:gd name="T11" fmla="*/ 14478 h 50"/>
              <a:gd name="T12" fmla="*/ 5384 w 46"/>
              <a:gd name="T13" fmla="*/ 14478 h 50"/>
              <a:gd name="T14" fmla="*/ 19050 w 46"/>
              <a:gd name="T15" fmla="*/ 0 h 50"/>
              <a:gd name="T16" fmla="*/ 19050 w 46"/>
              <a:gd name="T17" fmla="*/ 60325 h 50"/>
              <a:gd name="T18" fmla="*/ 16565 w 46"/>
              <a:gd name="T19" fmla="*/ 59119 h 50"/>
              <a:gd name="T20" fmla="*/ 13666 w 46"/>
              <a:gd name="T21" fmla="*/ 54293 h 50"/>
              <a:gd name="T22" fmla="*/ 10353 w 46"/>
              <a:gd name="T23" fmla="*/ 49467 h 50"/>
              <a:gd name="T24" fmla="*/ 7040 w 46"/>
              <a:gd name="T25" fmla="*/ 44641 h 50"/>
              <a:gd name="T26" fmla="*/ 2071 w 46"/>
              <a:gd name="T27" fmla="*/ 33782 h 50"/>
              <a:gd name="T28" fmla="*/ 0 w 46"/>
              <a:gd name="T29" fmla="*/ 30163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23" name="Freeform 474">
            <a:extLst>
              <a:ext uri="{FF2B5EF4-FFF2-40B4-BE49-F238E27FC236}">
                <a16:creationId xmlns:a16="http://schemas.microsoft.com/office/drawing/2014/main" id="{D61A28E0-0E4E-4EDA-A05D-8DD883F8E3AB}"/>
              </a:ext>
            </a:extLst>
          </p:cNvPr>
          <p:cNvSpPr>
            <a:spLocks/>
          </p:cNvSpPr>
          <p:nvPr>
            <p:custDataLst>
              <p:tags r:id="rId311"/>
            </p:custDataLst>
          </p:nvPr>
        </p:nvSpPr>
        <p:spPr bwMode="auto">
          <a:xfrm>
            <a:off x="9405324" y="8228462"/>
            <a:ext cx="148209" cy="511993"/>
          </a:xfrm>
          <a:custGeom>
            <a:avLst/>
            <a:gdLst>
              <a:gd name="T0" fmla="*/ 4208 w 166"/>
              <a:gd name="T1" fmla="*/ 149225 h 456"/>
              <a:gd name="T2" fmla="*/ 7995 w 166"/>
              <a:gd name="T3" fmla="*/ 153458 h 456"/>
              <a:gd name="T4" fmla="*/ 15569 w 166"/>
              <a:gd name="T5" fmla="*/ 158750 h 456"/>
              <a:gd name="T6" fmla="*/ 24405 w 166"/>
              <a:gd name="T7" fmla="*/ 161925 h 456"/>
              <a:gd name="T8" fmla="*/ 29455 w 166"/>
              <a:gd name="T9" fmla="*/ 165100 h 456"/>
              <a:gd name="T10" fmla="*/ 33663 w 166"/>
              <a:gd name="T11" fmla="*/ 169333 h 456"/>
              <a:gd name="T12" fmla="*/ 36187 w 166"/>
              <a:gd name="T13" fmla="*/ 175154 h 456"/>
              <a:gd name="T14" fmla="*/ 36187 w 166"/>
              <a:gd name="T15" fmla="*/ 183621 h 456"/>
              <a:gd name="T16" fmla="*/ 32821 w 166"/>
              <a:gd name="T17" fmla="*/ 192088 h 456"/>
              <a:gd name="T18" fmla="*/ 28613 w 166"/>
              <a:gd name="T19" fmla="*/ 198438 h 456"/>
              <a:gd name="T20" fmla="*/ 26089 w 166"/>
              <a:gd name="T21" fmla="*/ 205317 h 456"/>
              <a:gd name="T22" fmla="*/ 25247 w 166"/>
              <a:gd name="T23" fmla="*/ 211667 h 456"/>
              <a:gd name="T24" fmla="*/ 26930 w 166"/>
              <a:gd name="T25" fmla="*/ 217487 h 456"/>
              <a:gd name="T26" fmla="*/ 31980 w 166"/>
              <a:gd name="T27" fmla="*/ 224367 h 456"/>
              <a:gd name="T28" fmla="*/ 43761 w 166"/>
              <a:gd name="T29" fmla="*/ 235479 h 456"/>
              <a:gd name="T30" fmla="*/ 50494 w 166"/>
              <a:gd name="T31" fmla="*/ 234421 h 456"/>
              <a:gd name="T32" fmla="*/ 50494 w 166"/>
              <a:gd name="T33" fmla="*/ 223837 h 456"/>
              <a:gd name="T34" fmla="*/ 55123 w 166"/>
              <a:gd name="T35" fmla="*/ 218546 h 456"/>
              <a:gd name="T36" fmla="*/ 61014 w 166"/>
              <a:gd name="T37" fmla="*/ 215371 h 456"/>
              <a:gd name="T38" fmla="*/ 64380 w 166"/>
              <a:gd name="T39" fmla="*/ 212725 h 456"/>
              <a:gd name="T40" fmla="*/ 67325 w 166"/>
              <a:gd name="T41" fmla="*/ 207962 h 456"/>
              <a:gd name="T42" fmla="*/ 69850 w 166"/>
              <a:gd name="T43" fmla="*/ 198438 h 456"/>
              <a:gd name="T44" fmla="*/ 69429 w 166"/>
              <a:gd name="T45" fmla="*/ 185208 h 456"/>
              <a:gd name="T46" fmla="*/ 66484 w 166"/>
              <a:gd name="T47" fmla="*/ 173567 h 456"/>
              <a:gd name="T48" fmla="*/ 62276 w 166"/>
              <a:gd name="T49" fmla="*/ 162454 h 456"/>
              <a:gd name="T50" fmla="*/ 59330 w 166"/>
              <a:gd name="T51" fmla="*/ 150283 h 456"/>
              <a:gd name="T52" fmla="*/ 56806 w 166"/>
              <a:gd name="T53" fmla="*/ 142346 h 456"/>
              <a:gd name="T54" fmla="*/ 49652 w 166"/>
              <a:gd name="T55" fmla="*/ 132821 h 456"/>
              <a:gd name="T56" fmla="*/ 40816 w 166"/>
              <a:gd name="T57" fmla="*/ 118533 h 456"/>
              <a:gd name="T58" fmla="*/ 35767 w 166"/>
              <a:gd name="T59" fmla="*/ 109008 h 456"/>
              <a:gd name="T60" fmla="*/ 33663 w 166"/>
              <a:gd name="T61" fmla="*/ 103187 h 456"/>
              <a:gd name="T62" fmla="*/ 34083 w 166"/>
              <a:gd name="T63" fmla="*/ 93663 h 456"/>
              <a:gd name="T64" fmla="*/ 37029 w 166"/>
              <a:gd name="T65" fmla="*/ 77788 h 456"/>
              <a:gd name="T66" fmla="*/ 40395 w 166"/>
              <a:gd name="T67" fmla="*/ 68263 h 456"/>
              <a:gd name="T68" fmla="*/ 41237 w 166"/>
              <a:gd name="T69" fmla="*/ 59796 h 456"/>
              <a:gd name="T70" fmla="*/ 39974 w 166"/>
              <a:gd name="T71" fmla="*/ 43392 h 456"/>
              <a:gd name="T72" fmla="*/ 38712 w 166"/>
              <a:gd name="T73" fmla="*/ 23813 h 456"/>
              <a:gd name="T74" fmla="*/ 37450 w 166"/>
              <a:gd name="T75" fmla="*/ 9525 h 456"/>
              <a:gd name="T76" fmla="*/ 29876 w 166"/>
              <a:gd name="T77" fmla="*/ 4233 h 456"/>
              <a:gd name="T78" fmla="*/ 13886 w 166"/>
              <a:gd name="T79" fmla="*/ 2117 h 456"/>
              <a:gd name="T80" fmla="*/ 5049 w 166"/>
              <a:gd name="T81" fmla="*/ 5292 h 456"/>
              <a:gd name="T82" fmla="*/ 9257 w 166"/>
              <a:gd name="T83" fmla="*/ 13229 h 456"/>
              <a:gd name="T84" fmla="*/ 13886 w 166"/>
              <a:gd name="T85" fmla="*/ 15875 h 456"/>
              <a:gd name="T86" fmla="*/ 16831 w 166"/>
              <a:gd name="T87" fmla="*/ 23283 h 456"/>
              <a:gd name="T88" fmla="*/ 16831 w 166"/>
              <a:gd name="T89" fmla="*/ 33867 h 456"/>
              <a:gd name="T90" fmla="*/ 16831 w 166"/>
              <a:gd name="T91" fmla="*/ 41275 h 456"/>
              <a:gd name="T92" fmla="*/ 15148 w 166"/>
              <a:gd name="T93" fmla="*/ 44979 h 456"/>
              <a:gd name="T94" fmla="*/ 12203 w 166"/>
              <a:gd name="T95" fmla="*/ 50271 h 456"/>
              <a:gd name="T96" fmla="*/ 6312 w 166"/>
              <a:gd name="T97" fmla="*/ 57679 h 456"/>
              <a:gd name="T98" fmla="*/ 1262 w 166"/>
              <a:gd name="T99" fmla="*/ 64558 h 456"/>
              <a:gd name="T100" fmla="*/ 2945 w 166"/>
              <a:gd name="T101" fmla="*/ 146579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1024" name="Freeform 475">
            <a:extLst>
              <a:ext uri="{FF2B5EF4-FFF2-40B4-BE49-F238E27FC236}">
                <a16:creationId xmlns:a16="http://schemas.microsoft.com/office/drawing/2014/main" id="{86C6AAF2-773F-434A-A4FF-B39FEAF3E628}"/>
              </a:ext>
            </a:extLst>
          </p:cNvPr>
          <p:cNvSpPr>
            <a:spLocks/>
          </p:cNvSpPr>
          <p:nvPr>
            <p:custDataLst>
              <p:tags r:id="rId312"/>
            </p:custDataLst>
          </p:nvPr>
        </p:nvSpPr>
        <p:spPr bwMode="auto">
          <a:xfrm>
            <a:off x="8327444" y="5196924"/>
            <a:ext cx="30314" cy="121262"/>
          </a:xfrm>
          <a:custGeom>
            <a:avLst/>
            <a:gdLst>
              <a:gd name="T0" fmla="*/ 14287 w 27"/>
              <a:gd name="T1" fmla="*/ 0 h 19"/>
              <a:gd name="T2" fmla="*/ 14287 w 27"/>
              <a:gd name="T3" fmla="*/ 36095 h 19"/>
              <a:gd name="T4" fmla="*/ 14287 w 27"/>
              <a:gd name="T5" fmla="*/ 57150 h 19"/>
              <a:gd name="T6" fmla="*/ 4762 w 27"/>
              <a:gd name="T7" fmla="*/ 57150 h 19"/>
              <a:gd name="T8" fmla="*/ 0 w 27"/>
              <a:gd name="T9" fmla="*/ 57150 h 19"/>
              <a:gd name="T10" fmla="*/ 4762 w 27"/>
              <a:gd name="T11" fmla="*/ 36095 h 19"/>
              <a:gd name="T12" fmla="*/ 14287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1025" name="Freeform 476">
            <a:extLst>
              <a:ext uri="{FF2B5EF4-FFF2-40B4-BE49-F238E27FC236}">
                <a16:creationId xmlns:a16="http://schemas.microsoft.com/office/drawing/2014/main" id="{F088F3DF-D89A-4E16-BF10-773E198677F4}"/>
              </a:ext>
            </a:extLst>
          </p:cNvPr>
          <p:cNvSpPr>
            <a:spLocks/>
          </p:cNvSpPr>
          <p:nvPr>
            <p:custDataLst>
              <p:tags r:id="rId313"/>
            </p:custDataLst>
          </p:nvPr>
        </p:nvSpPr>
        <p:spPr bwMode="auto">
          <a:xfrm>
            <a:off x="9004486" y="8636036"/>
            <a:ext cx="400838" cy="461466"/>
          </a:xfrm>
          <a:custGeom>
            <a:avLst/>
            <a:gdLst>
              <a:gd name="T0" fmla="*/ 122492 w 438"/>
              <a:gd name="T1" fmla="*/ 4285 h 406"/>
              <a:gd name="T2" fmla="*/ 138019 w 438"/>
              <a:gd name="T3" fmla="*/ 14463 h 406"/>
              <a:gd name="T4" fmla="*/ 156565 w 438"/>
              <a:gd name="T5" fmla="*/ 25177 h 406"/>
              <a:gd name="T6" fmla="*/ 170367 w 438"/>
              <a:gd name="T7" fmla="*/ 31070 h 406"/>
              <a:gd name="T8" fmla="*/ 179424 w 438"/>
              <a:gd name="T9" fmla="*/ 32677 h 406"/>
              <a:gd name="T10" fmla="*/ 183306 w 438"/>
              <a:gd name="T11" fmla="*/ 43390 h 406"/>
              <a:gd name="T12" fmla="*/ 185031 w 438"/>
              <a:gd name="T13" fmla="*/ 64282 h 406"/>
              <a:gd name="T14" fmla="*/ 187188 w 438"/>
              <a:gd name="T15" fmla="*/ 84102 h 406"/>
              <a:gd name="T16" fmla="*/ 188913 w 438"/>
              <a:gd name="T17" fmla="*/ 104458 h 406"/>
              <a:gd name="T18" fmla="*/ 188913 w 438"/>
              <a:gd name="T19" fmla="*/ 119457 h 406"/>
              <a:gd name="T20" fmla="*/ 187619 w 438"/>
              <a:gd name="T21" fmla="*/ 126957 h 406"/>
              <a:gd name="T22" fmla="*/ 183306 w 438"/>
              <a:gd name="T23" fmla="*/ 138742 h 406"/>
              <a:gd name="T24" fmla="*/ 175542 w 438"/>
              <a:gd name="T25" fmla="*/ 153741 h 406"/>
              <a:gd name="T26" fmla="*/ 168642 w 438"/>
              <a:gd name="T27" fmla="*/ 164454 h 406"/>
              <a:gd name="T28" fmla="*/ 164328 w 438"/>
              <a:gd name="T29" fmla="*/ 171418 h 406"/>
              <a:gd name="T30" fmla="*/ 161309 w 438"/>
              <a:gd name="T31" fmla="*/ 177847 h 406"/>
              <a:gd name="T32" fmla="*/ 160447 w 438"/>
              <a:gd name="T33" fmla="*/ 188560 h 406"/>
              <a:gd name="T34" fmla="*/ 154840 w 438"/>
              <a:gd name="T35" fmla="*/ 199274 h 406"/>
              <a:gd name="T36" fmla="*/ 138450 w 438"/>
              <a:gd name="T37" fmla="*/ 214809 h 406"/>
              <a:gd name="T38" fmla="*/ 88418 w 438"/>
              <a:gd name="T39" fmla="*/ 207845 h 406"/>
              <a:gd name="T40" fmla="*/ 78498 w 438"/>
              <a:gd name="T41" fmla="*/ 203024 h 406"/>
              <a:gd name="T42" fmla="*/ 71166 w 438"/>
              <a:gd name="T43" fmla="*/ 198202 h 406"/>
              <a:gd name="T44" fmla="*/ 64696 w 438"/>
              <a:gd name="T45" fmla="*/ 192310 h 406"/>
              <a:gd name="T46" fmla="*/ 59952 w 438"/>
              <a:gd name="T47" fmla="*/ 185346 h 406"/>
              <a:gd name="T48" fmla="*/ 53482 w 438"/>
              <a:gd name="T49" fmla="*/ 172490 h 406"/>
              <a:gd name="T50" fmla="*/ 46581 w 438"/>
              <a:gd name="T51" fmla="*/ 158562 h 406"/>
              <a:gd name="T52" fmla="*/ 40543 w 438"/>
              <a:gd name="T53" fmla="*/ 149455 h 406"/>
              <a:gd name="T54" fmla="*/ 31054 w 438"/>
              <a:gd name="T55" fmla="*/ 138742 h 406"/>
              <a:gd name="T56" fmla="*/ 18978 w 438"/>
              <a:gd name="T57" fmla="*/ 125350 h 406"/>
              <a:gd name="T58" fmla="*/ 10351 w 438"/>
              <a:gd name="T59" fmla="*/ 114100 h 406"/>
              <a:gd name="T60" fmla="*/ 5607 w 438"/>
              <a:gd name="T61" fmla="*/ 104458 h 406"/>
              <a:gd name="T62" fmla="*/ 1725 w 438"/>
              <a:gd name="T63" fmla="*/ 94280 h 406"/>
              <a:gd name="T64" fmla="*/ 0 w 438"/>
              <a:gd name="T65" fmla="*/ 82495 h 406"/>
              <a:gd name="T66" fmla="*/ 7764 w 438"/>
              <a:gd name="T67" fmla="*/ 75531 h 406"/>
              <a:gd name="T68" fmla="*/ 17252 w 438"/>
              <a:gd name="T69" fmla="*/ 75531 h 406"/>
              <a:gd name="T70" fmla="*/ 22859 w 438"/>
              <a:gd name="T71" fmla="*/ 75531 h 406"/>
              <a:gd name="T72" fmla="*/ 27172 w 438"/>
              <a:gd name="T73" fmla="*/ 73924 h 406"/>
              <a:gd name="T74" fmla="*/ 33211 w 438"/>
              <a:gd name="T75" fmla="*/ 70174 h 406"/>
              <a:gd name="T76" fmla="*/ 42700 w 438"/>
              <a:gd name="T77" fmla="*/ 57854 h 406"/>
              <a:gd name="T78" fmla="*/ 50463 w 438"/>
              <a:gd name="T79" fmla="*/ 46604 h 406"/>
              <a:gd name="T80" fmla="*/ 56070 w 438"/>
              <a:gd name="T81" fmla="*/ 42855 h 406"/>
              <a:gd name="T82" fmla="*/ 64696 w 438"/>
              <a:gd name="T83" fmla="*/ 38033 h 406"/>
              <a:gd name="T84" fmla="*/ 77204 w 438"/>
              <a:gd name="T85" fmla="*/ 32141 h 406"/>
              <a:gd name="T86" fmla="*/ 87556 w 438"/>
              <a:gd name="T87" fmla="*/ 26784 h 406"/>
              <a:gd name="T88" fmla="*/ 91006 w 438"/>
              <a:gd name="T89" fmla="*/ 23034 h 406"/>
              <a:gd name="T90" fmla="*/ 90575 w 438"/>
              <a:gd name="T91" fmla="*/ 20356 h 406"/>
              <a:gd name="T92" fmla="*/ 91006 w 438"/>
              <a:gd name="T93" fmla="*/ 16070 h 406"/>
              <a:gd name="T94" fmla="*/ 91869 w 438"/>
              <a:gd name="T95" fmla="*/ 9107 h 406"/>
              <a:gd name="T96" fmla="*/ 93594 w 438"/>
              <a:gd name="T97" fmla="*/ 6428 h 406"/>
              <a:gd name="T98" fmla="*/ 97044 w 438"/>
              <a:gd name="T99" fmla="*/ 6428 h 406"/>
              <a:gd name="T100" fmla="*/ 100064 w 438"/>
              <a:gd name="T101" fmla="*/ 4821 h 406"/>
              <a:gd name="T102" fmla="*/ 101789 w 438"/>
              <a:gd name="T103" fmla="*/ 2143 h 406"/>
              <a:gd name="T104" fmla="*/ 105239 w 438"/>
              <a:gd name="T105" fmla="*/ 1071 h 406"/>
              <a:gd name="T106" fmla="*/ 108258 w 438"/>
              <a:gd name="T107" fmla="*/ 1607 h 406"/>
              <a:gd name="T108" fmla="*/ 113865 w 438"/>
              <a:gd name="T109" fmla="*/ 536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1026" name="Freeform 477">
            <a:extLst>
              <a:ext uri="{FF2B5EF4-FFF2-40B4-BE49-F238E27FC236}">
                <a16:creationId xmlns:a16="http://schemas.microsoft.com/office/drawing/2014/main" id="{F5FD8EC8-9570-4576-A0A5-F6408E692B93}"/>
              </a:ext>
            </a:extLst>
          </p:cNvPr>
          <p:cNvSpPr>
            <a:spLocks/>
          </p:cNvSpPr>
          <p:nvPr>
            <p:custDataLst>
              <p:tags r:id="rId314"/>
            </p:custDataLst>
          </p:nvPr>
        </p:nvSpPr>
        <p:spPr bwMode="auto">
          <a:xfrm>
            <a:off x="8819227" y="8161094"/>
            <a:ext cx="623148" cy="636624"/>
          </a:xfrm>
          <a:custGeom>
            <a:avLst/>
            <a:gdLst>
              <a:gd name="T0" fmla="*/ 222215 w 678"/>
              <a:gd name="T1" fmla="*/ 4182 h 574"/>
              <a:gd name="T2" fmla="*/ 239108 w 678"/>
              <a:gd name="T3" fmla="*/ 13591 h 574"/>
              <a:gd name="T4" fmla="*/ 279393 w 678"/>
              <a:gd name="T5" fmla="*/ 32931 h 574"/>
              <a:gd name="T6" fmla="*/ 285890 w 678"/>
              <a:gd name="T7" fmla="*/ 45999 h 574"/>
              <a:gd name="T8" fmla="*/ 293687 w 678"/>
              <a:gd name="T9" fmla="*/ 49135 h 574"/>
              <a:gd name="T10" fmla="*/ 293687 w 678"/>
              <a:gd name="T11" fmla="*/ 66385 h 574"/>
              <a:gd name="T12" fmla="*/ 293254 w 678"/>
              <a:gd name="T13" fmla="*/ 75271 h 574"/>
              <a:gd name="T14" fmla="*/ 288922 w 678"/>
              <a:gd name="T15" fmla="*/ 82589 h 574"/>
              <a:gd name="T16" fmla="*/ 280259 w 678"/>
              <a:gd name="T17" fmla="*/ 93043 h 574"/>
              <a:gd name="T18" fmla="*/ 276360 w 678"/>
              <a:gd name="T19" fmla="*/ 180859 h 574"/>
              <a:gd name="T20" fmla="*/ 199690 w 678"/>
              <a:gd name="T21" fmla="*/ 202813 h 574"/>
              <a:gd name="T22" fmla="*/ 199690 w 678"/>
              <a:gd name="T23" fmla="*/ 216926 h 574"/>
              <a:gd name="T24" fmla="*/ 197091 w 678"/>
              <a:gd name="T25" fmla="*/ 227381 h 574"/>
              <a:gd name="T26" fmla="*/ 192326 w 678"/>
              <a:gd name="T27" fmla="*/ 227381 h 574"/>
              <a:gd name="T28" fmla="*/ 187994 w 678"/>
              <a:gd name="T29" fmla="*/ 229994 h 574"/>
              <a:gd name="T30" fmla="*/ 184096 w 678"/>
              <a:gd name="T31" fmla="*/ 232608 h 574"/>
              <a:gd name="T32" fmla="*/ 179331 w 678"/>
              <a:gd name="T33" fmla="*/ 233653 h 574"/>
              <a:gd name="T34" fmla="*/ 178032 w 678"/>
              <a:gd name="T35" fmla="*/ 242017 h 574"/>
              <a:gd name="T36" fmla="*/ 177598 w 678"/>
              <a:gd name="T37" fmla="*/ 247767 h 574"/>
              <a:gd name="T38" fmla="*/ 174566 w 678"/>
              <a:gd name="T39" fmla="*/ 252471 h 574"/>
              <a:gd name="T40" fmla="*/ 158106 w 678"/>
              <a:gd name="T41" fmla="*/ 260312 h 574"/>
              <a:gd name="T42" fmla="*/ 142945 w 678"/>
              <a:gd name="T43" fmla="*/ 268152 h 574"/>
              <a:gd name="T44" fmla="*/ 135581 w 678"/>
              <a:gd name="T45" fmla="*/ 274425 h 574"/>
              <a:gd name="T46" fmla="*/ 119987 w 678"/>
              <a:gd name="T47" fmla="*/ 294811 h 574"/>
              <a:gd name="T48" fmla="*/ 111757 w 678"/>
              <a:gd name="T49" fmla="*/ 299515 h 574"/>
              <a:gd name="T50" fmla="*/ 103094 w 678"/>
              <a:gd name="T51" fmla="*/ 300038 h 574"/>
              <a:gd name="T52" fmla="*/ 83601 w 678"/>
              <a:gd name="T53" fmla="*/ 300038 h 574"/>
              <a:gd name="T54" fmla="*/ 80569 w 678"/>
              <a:gd name="T55" fmla="*/ 292197 h 574"/>
              <a:gd name="T56" fmla="*/ 71473 w 678"/>
              <a:gd name="T57" fmla="*/ 285925 h 574"/>
              <a:gd name="T58" fmla="*/ 57611 w 678"/>
              <a:gd name="T59" fmla="*/ 284879 h 574"/>
              <a:gd name="T60" fmla="*/ 40285 w 678"/>
              <a:gd name="T61" fmla="*/ 290629 h 574"/>
              <a:gd name="T62" fmla="*/ 14295 w 678"/>
              <a:gd name="T63" fmla="*/ 275470 h 574"/>
              <a:gd name="T64" fmla="*/ 0 w 678"/>
              <a:gd name="T65" fmla="*/ 148974 h 574"/>
              <a:gd name="T66" fmla="*/ 31621 w 678"/>
              <a:gd name="T67" fmla="*/ 149496 h 574"/>
              <a:gd name="T68" fmla="*/ 44616 w 678"/>
              <a:gd name="T69" fmla="*/ 147405 h 574"/>
              <a:gd name="T70" fmla="*/ 51547 w 678"/>
              <a:gd name="T71" fmla="*/ 143746 h 574"/>
              <a:gd name="T72" fmla="*/ 55879 w 678"/>
              <a:gd name="T73" fmla="*/ 133815 h 574"/>
              <a:gd name="T74" fmla="*/ 56745 w 678"/>
              <a:gd name="T75" fmla="*/ 119702 h 574"/>
              <a:gd name="T76" fmla="*/ 54579 w 678"/>
              <a:gd name="T77" fmla="*/ 96702 h 574"/>
              <a:gd name="T78" fmla="*/ 56312 w 678"/>
              <a:gd name="T79" fmla="*/ 86248 h 574"/>
              <a:gd name="T80" fmla="*/ 60643 w 678"/>
              <a:gd name="T81" fmla="*/ 89384 h 574"/>
              <a:gd name="T82" fmla="*/ 75371 w 678"/>
              <a:gd name="T83" fmla="*/ 91475 h 574"/>
              <a:gd name="T84" fmla="*/ 81435 w 678"/>
              <a:gd name="T85" fmla="*/ 97225 h 574"/>
              <a:gd name="T86" fmla="*/ 84468 w 678"/>
              <a:gd name="T87" fmla="*/ 105066 h 574"/>
              <a:gd name="T88" fmla="*/ 90099 w 678"/>
              <a:gd name="T89" fmla="*/ 109770 h 574"/>
              <a:gd name="T90" fmla="*/ 104393 w 678"/>
              <a:gd name="T91" fmla="*/ 113429 h 574"/>
              <a:gd name="T92" fmla="*/ 116522 w 678"/>
              <a:gd name="T93" fmla="*/ 111861 h 574"/>
              <a:gd name="T94" fmla="*/ 130383 w 678"/>
              <a:gd name="T95" fmla="*/ 104020 h 574"/>
              <a:gd name="T96" fmla="*/ 138180 w 678"/>
              <a:gd name="T97" fmla="*/ 102452 h 574"/>
              <a:gd name="T98" fmla="*/ 143378 w 678"/>
              <a:gd name="T99" fmla="*/ 100884 h 574"/>
              <a:gd name="T100" fmla="*/ 148576 w 678"/>
              <a:gd name="T101" fmla="*/ 99316 h 574"/>
              <a:gd name="T102" fmla="*/ 154641 w 678"/>
              <a:gd name="T103" fmla="*/ 95134 h 574"/>
              <a:gd name="T104" fmla="*/ 159405 w 678"/>
              <a:gd name="T105" fmla="*/ 87816 h 574"/>
              <a:gd name="T106" fmla="*/ 165903 w 678"/>
              <a:gd name="T107" fmla="*/ 65862 h 574"/>
              <a:gd name="T108" fmla="*/ 174566 w 678"/>
              <a:gd name="T109" fmla="*/ 24568 h 574"/>
              <a:gd name="T110" fmla="*/ 179331 w 678"/>
              <a:gd name="T111" fmla="*/ 5227 h 574"/>
              <a:gd name="T112" fmla="*/ 186695 w 678"/>
              <a:gd name="T113" fmla="*/ 3136 h 574"/>
              <a:gd name="T114" fmla="*/ 196225 w 678"/>
              <a:gd name="T115" fmla="*/ 4182 h 574"/>
              <a:gd name="T116" fmla="*/ 208786 w 678"/>
              <a:gd name="T117" fmla="*/ 523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1027" name="Freeform 478">
            <a:extLst>
              <a:ext uri="{FF2B5EF4-FFF2-40B4-BE49-F238E27FC236}">
                <a16:creationId xmlns:a16="http://schemas.microsoft.com/office/drawing/2014/main" id="{13114103-9C61-4D2B-B6C3-97BAF79D9AC2}"/>
              </a:ext>
            </a:extLst>
          </p:cNvPr>
          <p:cNvSpPr>
            <a:spLocks/>
          </p:cNvSpPr>
          <p:nvPr>
            <p:custDataLst>
              <p:tags r:id="rId315"/>
            </p:custDataLst>
          </p:nvPr>
        </p:nvSpPr>
        <p:spPr bwMode="auto">
          <a:xfrm>
            <a:off x="8260077" y="8740455"/>
            <a:ext cx="744410" cy="808410"/>
          </a:xfrm>
          <a:custGeom>
            <a:avLst/>
            <a:gdLst>
              <a:gd name="T0" fmla="*/ 345206 w 810"/>
              <a:gd name="T1" fmla="*/ 22011 h 727"/>
              <a:gd name="T2" fmla="*/ 331779 w 810"/>
              <a:gd name="T3" fmla="*/ 13626 h 727"/>
              <a:gd name="T4" fmla="*/ 310989 w 810"/>
              <a:gd name="T5" fmla="*/ 17294 h 727"/>
              <a:gd name="T6" fmla="*/ 274606 w 810"/>
              <a:gd name="T7" fmla="*/ 23059 h 727"/>
              <a:gd name="T8" fmla="*/ 261612 w 810"/>
              <a:gd name="T9" fmla="*/ 28824 h 727"/>
              <a:gd name="T10" fmla="*/ 121277 w 810"/>
              <a:gd name="T11" fmla="*/ 20963 h 727"/>
              <a:gd name="T12" fmla="*/ 100487 w 810"/>
              <a:gd name="T13" fmla="*/ 19391 h 727"/>
              <a:gd name="T14" fmla="*/ 74499 w 810"/>
              <a:gd name="T15" fmla="*/ 8909 h 727"/>
              <a:gd name="T16" fmla="*/ 50243 w 810"/>
              <a:gd name="T17" fmla="*/ 0 h 727"/>
              <a:gd name="T18" fmla="*/ 35950 w 810"/>
              <a:gd name="T19" fmla="*/ 2620 h 727"/>
              <a:gd name="T20" fmla="*/ 22956 w 810"/>
              <a:gd name="T21" fmla="*/ 12578 h 727"/>
              <a:gd name="T22" fmla="*/ 0 w 810"/>
              <a:gd name="T23" fmla="*/ 28824 h 727"/>
              <a:gd name="T24" fmla="*/ 3032 w 810"/>
              <a:gd name="T25" fmla="*/ 35637 h 727"/>
              <a:gd name="T26" fmla="*/ 11261 w 810"/>
              <a:gd name="T27" fmla="*/ 38781 h 727"/>
              <a:gd name="T28" fmla="*/ 15593 w 810"/>
              <a:gd name="T29" fmla="*/ 67605 h 727"/>
              <a:gd name="T30" fmla="*/ 25988 w 810"/>
              <a:gd name="T31" fmla="*/ 100622 h 727"/>
              <a:gd name="T32" fmla="*/ 47211 w 810"/>
              <a:gd name="T33" fmla="*/ 144644 h 727"/>
              <a:gd name="T34" fmla="*/ 57607 w 810"/>
              <a:gd name="T35" fmla="*/ 157221 h 727"/>
              <a:gd name="T36" fmla="*/ 68868 w 810"/>
              <a:gd name="T37" fmla="*/ 158270 h 727"/>
              <a:gd name="T38" fmla="*/ 68868 w 810"/>
              <a:gd name="T39" fmla="*/ 173992 h 727"/>
              <a:gd name="T40" fmla="*/ 65836 w 810"/>
              <a:gd name="T41" fmla="*/ 188142 h 727"/>
              <a:gd name="T42" fmla="*/ 63237 w 810"/>
              <a:gd name="T43" fmla="*/ 206484 h 727"/>
              <a:gd name="T44" fmla="*/ 64970 w 810"/>
              <a:gd name="T45" fmla="*/ 222730 h 727"/>
              <a:gd name="T46" fmla="*/ 74932 w 810"/>
              <a:gd name="T47" fmla="*/ 253651 h 727"/>
              <a:gd name="T48" fmla="*/ 77531 w 810"/>
              <a:gd name="T49" fmla="*/ 271469 h 727"/>
              <a:gd name="T50" fmla="*/ 80996 w 810"/>
              <a:gd name="T51" fmla="*/ 317587 h 727"/>
              <a:gd name="T52" fmla="*/ 88359 w 810"/>
              <a:gd name="T53" fmla="*/ 339074 h 727"/>
              <a:gd name="T54" fmla="*/ 100054 w 810"/>
              <a:gd name="T55" fmla="*/ 361609 h 727"/>
              <a:gd name="T56" fmla="*/ 106117 w 810"/>
              <a:gd name="T57" fmla="*/ 366850 h 727"/>
              <a:gd name="T58" fmla="*/ 112181 w 810"/>
              <a:gd name="T59" fmla="*/ 374711 h 727"/>
              <a:gd name="T60" fmla="*/ 114780 w 810"/>
              <a:gd name="T61" fmla="*/ 355320 h 727"/>
              <a:gd name="T62" fmla="*/ 133405 w 810"/>
              <a:gd name="T63" fmla="*/ 364754 h 727"/>
              <a:gd name="T64" fmla="*/ 142067 w 810"/>
              <a:gd name="T65" fmla="*/ 373663 h 727"/>
              <a:gd name="T66" fmla="*/ 161125 w 810"/>
              <a:gd name="T67" fmla="*/ 380476 h 727"/>
              <a:gd name="T68" fmla="*/ 176285 w 810"/>
              <a:gd name="T69" fmla="*/ 378904 h 727"/>
              <a:gd name="T70" fmla="*/ 185814 w 810"/>
              <a:gd name="T71" fmla="*/ 372091 h 727"/>
              <a:gd name="T72" fmla="*/ 195776 w 810"/>
              <a:gd name="T73" fmla="*/ 353748 h 727"/>
              <a:gd name="T74" fmla="*/ 200540 w 810"/>
              <a:gd name="T75" fmla="*/ 277234 h 727"/>
              <a:gd name="T76" fmla="*/ 201406 w 810"/>
              <a:gd name="T77" fmla="*/ 251554 h 727"/>
              <a:gd name="T78" fmla="*/ 204005 w 810"/>
              <a:gd name="T79" fmla="*/ 245790 h 727"/>
              <a:gd name="T80" fmla="*/ 200540 w 810"/>
              <a:gd name="T81" fmla="*/ 223254 h 727"/>
              <a:gd name="T82" fmla="*/ 203139 w 810"/>
              <a:gd name="T83" fmla="*/ 192858 h 727"/>
              <a:gd name="T84" fmla="*/ 216566 w 810"/>
              <a:gd name="T85" fmla="*/ 172944 h 727"/>
              <a:gd name="T86" fmla="*/ 227394 w 810"/>
              <a:gd name="T87" fmla="*/ 167703 h 727"/>
              <a:gd name="T88" fmla="*/ 233025 w 810"/>
              <a:gd name="T89" fmla="*/ 121585 h 727"/>
              <a:gd name="T90" fmla="*/ 238656 w 810"/>
              <a:gd name="T91" fmla="*/ 77563 h 727"/>
              <a:gd name="T92" fmla="*/ 234324 w 810"/>
              <a:gd name="T93" fmla="*/ 64985 h 727"/>
              <a:gd name="T94" fmla="*/ 229993 w 810"/>
              <a:gd name="T95" fmla="*/ 51883 h 727"/>
              <a:gd name="T96" fmla="*/ 233458 w 810"/>
              <a:gd name="T97" fmla="*/ 45070 h 727"/>
              <a:gd name="T98" fmla="*/ 267243 w 810"/>
              <a:gd name="T99" fmla="*/ 41926 h 727"/>
              <a:gd name="T100" fmla="*/ 306658 w 810"/>
              <a:gd name="T101" fmla="*/ 33017 h 727"/>
              <a:gd name="T102" fmla="*/ 347805 w 810"/>
              <a:gd name="T103" fmla="*/ 31968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1028" name="Freeform 479">
            <a:extLst>
              <a:ext uri="{FF2B5EF4-FFF2-40B4-BE49-F238E27FC236}">
                <a16:creationId xmlns:a16="http://schemas.microsoft.com/office/drawing/2014/main" id="{9568F20A-AA28-451F-BFA3-0A9DC32A9CB7}"/>
              </a:ext>
            </a:extLst>
          </p:cNvPr>
          <p:cNvSpPr>
            <a:spLocks/>
          </p:cNvSpPr>
          <p:nvPr>
            <p:custDataLst>
              <p:tags r:id="rId316"/>
            </p:custDataLst>
          </p:nvPr>
        </p:nvSpPr>
        <p:spPr bwMode="auto">
          <a:xfrm>
            <a:off x="6730834" y="6470170"/>
            <a:ext cx="343574" cy="299786"/>
          </a:xfrm>
          <a:custGeom>
            <a:avLst/>
            <a:gdLst>
              <a:gd name="T0" fmla="*/ 90057 w 365"/>
              <a:gd name="T1" fmla="*/ 130339 h 271"/>
              <a:gd name="T2" fmla="*/ 72312 w 365"/>
              <a:gd name="T3" fmla="*/ 128254 h 271"/>
              <a:gd name="T4" fmla="*/ 53679 w 365"/>
              <a:gd name="T5" fmla="*/ 128775 h 271"/>
              <a:gd name="T6" fmla="*/ 40814 w 365"/>
              <a:gd name="T7" fmla="*/ 130339 h 271"/>
              <a:gd name="T8" fmla="*/ 32829 w 365"/>
              <a:gd name="T9" fmla="*/ 132946 h 271"/>
              <a:gd name="T10" fmla="*/ 11534 w 365"/>
              <a:gd name="T11" fmla="*/ 141288 h 271"/>
              <a:gd name="T12" fmla="*/ 8873 w 365"/>
              <a:gd name="T13" fmla="*/ 140767 h 271"/>
              <a:gd name="T14" fmla="*/ 7542 w 365"/>
              <a:gd name="T15" fmla="*/ 138681 h 271"/>
              <a:gd name="T16" fmla="*/ 7985 w 365"/>
              <a:gd name="T17" fmla="*/ 132425 h 271"/>
              <a:gd name="T18" fmla="*/ 11534 w 365"/>
              <a:gd name="T19" fmla="*/ 118870 h 271"/>
              <a:gd name="T20" fmla="*/ 27061 w 365"/>
              <a:gd name="T21" fmla="*/ 117827 h 271"/>
              <a:gd name="T22" fmla="*/ 39483 w 365"/>
              <a:gd name="T23" fmla="*/ 115741 h 271"/>
              <a:gd name="T24" fmla="*/ 51017 w 365"/>
              <a:gd name="T25" fmla="*/ 113656 h 271"/>
              <a:gd name="T26" fmla="*/ 64770 w 365"/>
              <a:gd name="T27" fmla="*/ 112613 h 271"/>
              <a:gd name="T28" fmla="*/ 80741 w 365"/>
              <a:gd name="T29" fmla="*/ 113656 h 271"/>
              <a:gd name="T30" fmla="*/ 88282 w 365"/>
              <a:gd name="T31" fmla="*/ 113656 h 271"/>
              <a:gd name="T32" fmla="*/ 97155 w 365"/>
              <a:gd name="T33" fmla="*/ 112613 h 271"/>
              <a:gd name="T34" fmla="*/ 95380 w 365"/>
              <a:gd name="T35" fmla="*/ 108442 h 271"/>
              <a:gd name="T36" fmla="*/ 93162 w 365"/>
              <a:gd name="T37" fmla="*/ 104793 h 271"/>
              <a:gd name="T38" fmla="*/ 86508 w 365"/>
              <a:gd name="T39" fmla="*/ 101143 h 271"/>
              <a:gd name="T40" fmla="*/ 77635 w 365"/>
              <a:gd name="T41" fmla="*/ 99579 h 271"/>
              <a:gd name="T42" fmla="*/ 67432 w 365"/>
              <a:gd name="T43" fmla="*/ 99058 h 271"/>
              <a:gd name="T44" fmla="*/ 41258 w 365"/>
              <a:gd name="T45" fmla="*/ 100101 h 271"/>
              <a:gd name="T46" fmla="*/ 28392 w 365"/>
              <a:gd name="T47" fmla="*/ 102186 h 271"/>
              <a:gd name="T48" fmla="*/ 14640 w 365"/>
              <a:gd name="T49" fmla="*/ 105836 h 271"/>
              <a:gd name="T50" fmla="*/ 16858 w 365"/>
              <a:gd name="T51" fmla="*/ 95409 h 271"/>
              <a:gd name="T52" fmla="*/ 17302 w 365"/>
              <a:gd name="T53" fmla="*/ 89674 h 271"/>
              <a:gd name="T54" fmla="*/ 11534 w 365"/>
              <a:gd name="T55" fmla="*/ 85503 h 271"/>
              <a:gd name="T56" fmla="*/ 5767 w 365"/>
              <a:gd name="T57" fmla="*/ 83417 h 271"/>
              <a:gd name="T58" fmla="*/ 4880 w 365"/>
              <a:gd name="T59" fmla="*/ 76640 h 271"/>
              <a:gd name="T60" fmla="*/ 2662 w 365"/>
              <a:gd name="T61" fmla="*/ 74554 h 271"/>
              <a:gd name="T62" fmla="*/ 887 w 365"/>
              <a:gd name="T63" fmla="*/ 73511 h 271"/>
              <a:gd name="T64" fmla="*/ 0 w 365"/>
              <a:gd name="T65" fmla="*/ 70383 h 271"/>
              <a:gd name="T66" fmla="*/ 2218 w 365"/>
              <a:gd name="T67" fmla="*/ 59956 h 271"/>
              <a:gd name="T68" fmla="*/ 7542 w 365"/>
              <a:gd name="T69" fmla="*/ 47965 h 271"/>
              <a:gd name="T70" fmla="*/ 13309 w 365"/>
              <a:gd name="T71" fmla="*/ 35974 h 271"/>
              <a:gd name="T72" fmla="*/ 17302 w 365"/>
              <a:gd name="T73" fmla="*/ 25547 h 271"/>
              <a:gd name="T74" fmla="*/ 21294 w 365"/>
              <a:gd name="T75" fmla="*/ 21897 h 271"/>
              <a:gd name="T76" fmla="*/ 21738 w 365"/>
              <a:gd name="T77" fmla="*/ 25025 h 271"/>
              <a:gd name="T78" fmla="*/ 23069 w 365"/>
              <a:gd name="T79" fmla="*/ 18769 h 271"/>
              <a:gd name="T80" fmla="*/ 33272 w 365"/>
              <a:gd name="T81" fmla="*/ 16162 h 271"/>
              <a:gd name="T82" fmla="*/ 50574 w 365"/>
              <a:gd name="T83" fmla="*/ 9384 h 271"/>
              <a:gd name="T84" fmla="*/ 73199 w 365"/>
              <a:gd name="T85" fmla="*/ 0 h 271"/>
              <a:gd name="T86" fmla="*/ 81628 w 365"/>
              <a:gd name="T87" fmla="*/ 7820 h 271"/>
              <a:gd name="T88" fmla="*/ 89613 w 365"/>
              <a:gd name="T89" fmla="*/ 12513 h 271"/>
              <a:gd name="T90" fmla="*/ 97599 w 365"/>
              <a:gd name="T91" fmla="*/ 15119 h 271"/>
              <a:gd name="T92" fmla="*/ 106028 w 365"/>
              <a:gd name="T93" fmla="*/ 15641 h 271"/>
              <a:gd name="T94" fmla="*/ 106915 w 365"/>
              <a:gd name="T95" fmla="*/ 27111 h 271"/>
              <a:gd name="T96" fmla="*/ 109577 w 365"/>
              <a:gd name="T97" fmla="*/ 35974 h 271"/>
              <a:gd name="T98" fmla="*/ 112682 w 365"/>
              <a:gd name="T99" fmla="*/ 43794 h 271"/>
              <a:gd name="T100" fmla="*/ 117118 w 365"/>
              <a:gd name="T101" fmla="*/ 49529 h 271"/>
              <a:gd name="T102" fmla="*/ 135307 w 365"/>
              <a:gd name="T103" fmla="*/ 67255 h 271"/>
              <a:gd name="T104" fmla="*/ 156158 w 365"/>
              <a:gd name="T105" fmla="*/ 121998 h 271"/>
              <a:gd name="T106" fmla="*/ 159263 w 365"/>
              <a:gd name="T107" fmla="*/ 133989 h 271"/>
              <a:gd name="T108" fmla="*/ 161925 w 365"/>
              <a:gd name="T109" fmla="*/ 141288 h 271"/>
              <a:gd name="T110" fmla="*/ 142405 w 365"/>
              <a:gd name="T111" fmla="*/ 135032 h 271"/>
              <a:gd name="T112" fmla="*/ 121998 w 365"/>
              <a:gd name="T113" fmla="*/ 131382 h 271"/>
              <a:gd name="T114" fmla="*/ 110020 w 365"/>
              <a:gd name="T115" fmla="*/ 130861 h 271"/>
              <a:gd name="T116" fmla="*/ 97155 w 365"/>
              <a:gd name="T117" fmla="*/ 131382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1029" name="Freeform 480">
            <a:extLst>
              <a:ext uri="{FF2B5EF4-FFF2-40B4-BE49-F238E27FC236}">
                <a16:creationId xmlns:a16="http://schemas.microsoft.com/office/drawing/2014/main" id="{361C45E8-3596-4A71-A2DC-5E445E6B364A}"/>
              </a:ext>
            </a:extLst>
          </p:cNvPr>
          <p:cNvSpPr>
            <a:spLocks/>
          </p:cNvSpPr>
          <p:nvPr>
            <p:custDataLst>
              <p:tags r:id="rId317"/>
            </p:custDataLst>
          </p:nvPr>
        </p:nvSpPr>
        <p:spPr bwMode="auto">
          <a:xfrm>
            <a:off x="9220062" y="7662575"/>
            <a:ext cx="572624" cy="710728"/>
          </a:xfrm>
          <a:custGeom>
            <a:avLst/>
            <a:gdLst>
              <a:gd name="T0" fmla="*/ 63144 w 624"/>
              <a:gd name="T1" fmla="*/ 6281 h 640"/>
              <a:gd name="T2" fmla="*/ 103366 w 624"/>
              <a:gd name="T3" fmla="*/ 6281 h 640"/>
              <a:gd name="T4" fmla="*/ 124125 w 624"/>
              <a:gd name="T5" fmla="*/ 2617 h 640"/>
              <a:gd name="T6" fmla="*/ 140992 w 624"/>
              <a:gd name="T7" fmla="*/ 11514 h 640"/>
              <a:gd name="T8" fmla="*/ 171267 w 624"/>
              <a:gd name="T9" fmla="*/ 34543 h 640"/>
              <a:gd name="T10" fmla="*/ 201109 w 624"/>
              <a:gd name="T11" fmla="*/ 58095 h 640"/>
              <a:gd name="T12" fmla="*/ 202839 w 624"/>
              <a:gd name="T13" fmla="*/ 68563 h 640"/>
              <a:gd name="T14" fmla="*/ 207596 w 624"/>
              <a:gd name="T15" fmla="*/ 80077 h 640"/>
              <a:gd name="T16" fmla="*/ 214949 w 624"/>
              <a:gd name="T17" fmla="*/ 88975 h 640"/>
              <a:gd name="T18" fmla="*/ 224463 w 624"/>
              <a:gd name="T19" fmla="*/ 95778 h 640"/>
              <a:gd name="T20" fmla="*/ 234843 w 624"/>
              <a:gd name="T21" fmla="*/ 99442 h 640"/>
              <a:gd name="T22" fmla="*/ 239601 w 624"/>
              <a:gd name="T23" fmla="*/ 102059 h 640"/>
              <a:gd name="T24" fmla="*/ 244358 w 624"/>
              <a:gd name="T25" fmla="*/ 107293 h 640"/>
              <a:gd name="T26" fmla="*/ 242628 w 624"/>
              <a:gd name="T27" fmla="*/ 118807 h 640"/>
              <a:gd name="T28" fmla="*/ 232248 w 624"/>
              <a:gd name="T29" fmla="*/ 131892 h 640"/>
              <a:gd name="T30" fmla="*/ 227058 w 624"/>
              <a:gd name="T31" fmla="*/ 141836 h 640"/>
              <a:gd name="T32" fmla="*/ 230518 w 624"/>
              <a:gd name="T33" fmla="*/ 150210 h 640"/>
              <a:gd name="T34" fmla="*/ 236573 w 624"/>
              <a:gd name="T35" fmla="*/ 156491 h 640"/>
              <a:gd name="T36" fmla="*/ 238736 w 624"/>
              <a:gd name="T37" fmla="*/ 222436 h 640"/>
              <a:gd name="T38" fmla="*/ 237871 w 624"/>
              <a:gd name="T39" fmla="*/ 229764 h 640"/>
              <a:gd name="T40" fmla="*/ 241331 w 624"/>
              <a:gd name="T41" fmla="*/ 241801 h 640"/>
              <a:gd name="T42" fmla="*/ 241331 w 624"/>
              <a:gd name="T43" fmla="*/ 255933 h 640"/>
              <a:gd name="T44" fmla="*/ 242628 w 624"/>
              <a:gd name="T45" fmla="*/ 269541 h 640"/>
              <a:gd name="T46" fmla="*/ 256900 w 624"/>
              <a:gd name="T47" fmla="*/ 287335 h 640"/>
              <a:gd name="T48" fmla="*/ 266415 w 624"/>
              <a:gd name="T49" fmla="*/ 303037 h 640"/>
              <a:gd name="T50" fmla="*/ 248683 w 624"/>
              <a:gd name="T51" fmla="*/ 314028 h 640"/>
              <a:gd name="T52" fmla="*/ 212354 w 624"/>
              <a:gd name="T53" fmla="*/ 330253 h 640"/>
              <a:gd name="T54" fmla="*/ 191594 w 624"/>
              <a:gd name="T55" fmla="*/ 333916 h 640"/>
              <a:gd name="T56" fmla="*/ 169537 w 624"/>
              <a:gd name="T57" fmla="*/ 328682 h 640"/>
              <a:gd name="T58" fmla="*/ 146615 w 624"/>
              <a:gd name="T59" fmla="*/ 331299 h 640"/>
              <a:gd name="T60" fmla="*/ 132343 w 624"/>
              <a:gd name="T61" fmla="*/ 328682 h 640"/>
              <a:gd name="T62" fmla="*/ 129315 w 624"/>
              <a:gd name="T63" fmla="*/ 321355 h 640"/>
              <a:gd name="T64" fmla="*/ 127153 w 624"/>
              <a:gd name="T65" fmla="*/ 299897 h 640"/>
              <a:gd name="T66" fmla="*/ 124558 w 624"/>
              <a:gd name="T67" fmla="*/ 276868 h 640"/>
              <a:gd name="T68" fmla="*/ 109420 w 624"/>
              <a:gd name="T69" fmla="*/ 270587 h 640"/>
              <a:gd name="T70" fmla="*/ 80011 w 624"/>
              <a:gd name="T71" fmla="*/ 262737 h 640"/>
              <a:gd name="T72" fmla="*/ 38924 w 624"/>
              <a:gd name="T73" fmla="*/ 240231 h 640"/>
              <a:gd name="T74" fmla="*/ 29409 w 624"/>
              <a:gd name="T75" fmla="*/ 233427 h 640"/>
              <a:gd name="T76" fmla="*/ 28544 w 624"/>
              <a:gd name="T77" fmla="*/ 224007 h 640"/>
              <a:gd name="T78" fmla="*/ 28112 w 624"/>
              <a:gd name="T79" fmla="*/ 210399 h 640"/>
              <a:gd name="T80" fmla="*/ 22922 w 624"/>
              <a:gd name="T81" fmla="*/ 197314 h 640"/>
              <a:gd name="T82" fmla="*/ 17732 w 624"/>
              <a:gd name="T83" fmla="*/ 186847 h 640"/>
              <a:gd name="T84" fmla="*/ 11677 w 624"/>
              <a:gd name="T85" fmla="*/ 181613 h 640"/>
              <a:gd name="T86" fmla="*/ 5190 w 624"/>
              <a:gd name="T87" fmla="*/ 173762 h 640"/>
              <a:gd name="T88" fmla="*/ 2162 w 624"/>
              <a:gd name="T89" fmla="*/ 161201 h 640"/>
              <a:gd name="T90" fmla="*/ 0 w 624"/>
              <a:gd name="T91" fmla="*/ 137125 h 640"/>
              <a:gd name="T92" fmla="*/ 0 w 624"/>
              <a:gd name="T93" fmla="*/ 122471 h 640"/>
              <a:gd name="T94" fmla="*/ 4325 w 624"/>
              <a:gd name="T95" fmla="*/ 110956 h 640"/>
              <a:gd name="T96" fmla="*/ 16435 w 624"/>
              <a:gd name="T97" fmla="*/ 102059 h 640"/>
              <a:gd name="T98" fmla="*/ 26382 w 624"/>
              <a:gd name="T99" fmla="*/ 90545 h 640"/>
              <a:gd name="T100" fmla="*/ 33302 w 624"/>
              <a:gd name="T101" fmla="*/ 40300 h 640"/>
              <a:gd name="T102" fmla="*/ 36329 w 624"/>
              <a:gd name="T103" fmla="*/ 22505 h 640"/>
              <a:gd name="T104" fmla="*/ 35464 w 624"/>
              <a:gd name="T105" fmla="*/ 418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1030" name="Freeform 481">
            <a:extLst>
              <a:ext uri="{FF2B5EF4-FFF2-40B4-BE49-F238E27FC236}">
                <a16:creationId xmlns:a16="http://schemas.microsoft.com/office/drawing/2014/main" id="{56127704-EDD8-45DA-828C-E8D2B61B2742}"/>
              </a:ext>
            </a:extLst>
          </p:cNvPr>
          <p:cNvSpPr>
            <a:spLocks/>
          </p:cNvSpPr>
          <p:nvPr>
            <p:custDataLst>
              <p:tags r:id="rId318"/>
            </p:custDataLst>
          </p:nvPr>
        </p:nvSpPr>
        <p:spPr bwMode="auto">
          <a:xfrm>
            <a:off x="14659990" y="4509775"/>
            <a:ext cx="40421" cy="121262"/>
          </a:xfrm>
          <a:custGeom>
            <a:avLst/>
            <a:gdLst>
              <a:gd name="T0" fmla="*/ 4763 w 52"/>
              <a:gd name="T1" fmla="*/ 57150 h 50"/>
              <a:gd name="T2" fmla="*/ 0 w 52"/>
              <a:gd name="T3" fmla="*/ 36576 h 50"/>
              <a:gd name="T4" fmla="*/ 733 w 52"/>
              <a:gd name="T5" fmla="*/ 28575 h 50"/>
              <a:gd name="T6" fmla="*/ 2198 w 52"/>
              <a:gd name="T7" fmla="*/ 20574 h 50"/>
              <a:gd name="T8" fmla="*/ 4396 w 52"/>
              <a:gd name="T9" fmla="*/ 14859 h 50"/>
              <a:gd name="T10" fmla="*/ 6594 w 52"/>
              <a:gd name="T11" fmla="*/ 10287 h 50"/>
              <a:gd name="T12" fmla="*/ 9525 w 52"/>
              <a:gd name="T13" fmla="*/ 5715 h 50"/>
              <a:gd name="T14" fmla="*/ 12456 w 52"/>
              <a:gd name="T15" fmla="*/ 3429 h 50"/>
              <a:gd name="T16" fmla="*/ 15753 w 52"/>
              <a:gd name="T17" fmla="*/ 1143 h 50"/>
              <a:gd name="T18" fmla="*/ 19050 w 52"/>
              <a:gd name="T19" fmla="*/ 0 h 50"/>
              <a:gd name="T20" fmla="*/ 14654 w 52"/>
              <a:gd name="T21" fmla="*/ 12573 h 50"/>
              <a:gd name="T22" fmla="*/ 9891 w 52"/>
              <a:gd name="T23" fmla="*/ 25146 h 50"/>
              <a:gd name="T24" fmla="*/ 8060 w 52"/>
              <a:gd name="T25" fmla="*/ 34290 h 50"/>
              <a:gd name="T26" fmla="*/ 6228 w 52"/>
              <a:gd name="T27" fmla="*/ 41148 h 50"/>
              <a:gd name="T28" fmla="*/ 5129 w 52"/>
              <a:gd name="T29" fmla="*/ 49149 h 50"/>
              <a:gd name="T30" fmla="*/ 4763 w 52"/>
              <a:gd name="T31" fmla="*/ 57150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31" name="Freeform 482">
            <a:extLst>
              <a:ext uri="{FF2B5EF4-FFF2-40B4-BE49-F238E27FC236}">
                <a16:creationId xmlns:a16="http://schemas.microsoft.com/office/drawing/2014/main" id="{CC9F0277-4B66-4E3F-9018-E5E9FA098B55}"/>
              </a:ext>
            </a:extLst>
          </p:cNvPr>
          <p:cNvSpPr>
            <a:spLocks/>
          </p:cNvSpPr>
          <p:nvPr>
            <p:custDataLst>
              <p:tags r:id="rId319"/>
            </p:custDataLst>
          </p:nvPr>
        </p:nvSpPr>
        <p:spPr bwMode="auto">
          <a:xfrm>
            <a:off x="14360203" y="4513145"/>
            <a:ext cx="299786" cy="266101"/>
          </a:xfrm>
          <a:custGeom>
            <a:avLst/>
            <a:gdLst>
              <a:gd name="T0" fmla="*/ 33556 w 320"/>
              <a:gd name="T1" fmla="*/ 123804 h 234"/>
              <a:gd name="T2" fmla="*/ 26933 w 320"/>
              <a:gd name="T3" fmla="*/ 121124 h 234"/>
              <a:gd name="T4" fmla="*/ 29141 w 320"/>
              <a:gd name="T5" fmla="*/ 118981 h 234"/>
              <a:gd name="T6" fmla="*/ 33997 w 320"/>
              <a:gd name="T7" fmla="*/ 116301 h 234"/>
              <a:gd name="T8" fmla="*/ 28258 w 320"/>
              <a:gd name="T9" fmla="*/ 109334 h 234"/>
              <a:gd name="T10" fmla="*/ 18986 w 320"/>
              <a:gd name="T11" fmla="*/ 101294 h 234"/>
              <a:gd name="T12" fmla="*/ 15895 w 320"/>
              <a:gd name="T13" fmla="*/ 95935 h 234"/>
              <a:gd name="T14" fmla="*/ 15012 w 320"/>
              <a:gd name="T15" fmla="*/ 91647 h 234"/>
              <a:gd name="T16" fmla="*/ 15012 w 320"/>
              <a:gd name="T17" fmla="*/ 87896 h 234"/>
              <a:gd name="T18" fmla="*/ 15895 w 320"/>
              <a:gd name="T19" fmla="*/ 84144 h 234"/>
              <a:gd name="T20" fmla="*/ 18986 w 320"/>
              <a:gd name="T21" fmla="*/ 79856 h 234"/>
              <a:gd name="T22" fmla="*/ 24725 w 320"/>
              <a:gd name="T23" fmla="*/ 75569 h 234"/>
              <a:gd name="T24" fmla="*/ 32231 w 320"/>
              <a:gd name="T25" fmla="*/ 73425 h 234"/>
              <a:gd name="T26" fmla="*/ 35322 w 320"/>
              <a:gd name="T27" fmla="*/ 67530 h 234"/>
              <a:gd name="T28" fmla="*/ 29582 w 320"/>
              <a:gd name="T29" fmla="*/ 59490 h 234"/>
              <a:gd name="T30" fmla="*/ 26933 w 320"/>
              <a:gd name="T31" fmla="*/ 54667 h 234"/>
              <a:gd name="T32" fmla="*/ 26492 w 320"/>
              <a:gd name="T33" fmla="*/ 46092 h 234"/>
              <a:gd name="T34" fmla="*/ 24284 w 320"/>
              <a:gd name="T35" fmla="*/ 37516 h 234"/>
              <a:gd name="T36" fmla="*/ 20310 w 320"/>
              <a:gd name="T37" fmla="*/ 24654 h 234"/>
              <a:gd name="T38" fmla="*/ 14570 w 320"/>
              <a:gd name="T39" fmla="*/ 16614 h 234"/>
              <a:gd name="T40" fmla="*/ 8831 w 320"/>
              <a:gd name="T41" fmla="*/ 13399 h 234"/>
              <a:gd name="T42" fmla="*/ 3091 w 320"/>
              <a:gd name="T43" fmla="*/ 5359 h 234"/>
              <a:gd name="T44" fmla="*/ 3974 w 320"/>
              <a:gd name="T45" fmla="*/ 0 h 234"/>
              <a:gd name="T46" fmla="*/ 10597 w 320"/>
              <a:gd name="T47" fmla="*/ 0 h 234"/>
              <a:gd name="T48" fmla="*/ 16778 w 320"/>
              <a:gd name="T49" fmla="*/ 1608 h 234"/>
              <a:gd name="T50" fmla="*/ 24725 w 320"/>
              <a:gd name="T51" fmla="*/ 8575 h 234"/>
              <a:gd name="T52" fmla="*/ 34439 w 320"/>
              <a:gd name="T53" fmla="*/ 18758 h 234"/>
              <a:gd name="T54" fmla="*/ 42386 w 320"/>
              <a:gd name="T55" fmla="*/ 25726 h 234"/>
              <a:gd name="T56" fmla="*/ 52541 w 320"/>
              <a:gd name="T57" fmla="*/ 31085 h 234"/>
              <a:gd name="T58" fmla="*/ 67112 w 320"/>
              <a:gd name="T59" fmla="*/ 37516 h 234"/>
              <a:gd name="T60" fmla="*/ 79916 w 320"/>
              <a:gd name="T61" fmla="*/ 42340 h 234"/>
              <a:gd name="T62" fmla="*/ 94486 w 320"/>
              <a:gd name="T63" fmla="*/ 45556 h 234"/>
              <a:gd name="T64" fmla="*/ 104200 w 320"/>
              <a:gd name="T65" fmla="*/ 41268 h 234"/>
              <a:gd name="T66" fmla="*/ 113472 w 320"/>
              <a:gd name="T67" fmla="*/ 44484 h 234"/>
              <a:gd name="T68" fmla="*/ 125393 w 320"/>
              <a:gd name="T69" fmla="*/ 57347 h 234"/>
              <a:gd name="T70" fmla="*/ 134665 w 320"/>
              <a:gd name="T71" fmla="*/ 63778 h 234"/>
              <a:gd name="T72" fmla="*/ 131133 w 320"/>
              <a:gd name="T73" fmla="*/ 71281 h 234"/>
              <a:gd name="T74" fmla="*/ 118329 w 320"/>
              <a:gd name="T75" fmla="*/ 77177 h 234"/>
              <a:gd name="T76" fmla="*/ 109940 w 320"/>
              <a:gd name="T77" fmla="*/ 79320 h 234"/>
              <a:gd name="T78" fmla="*/ 104641 w 320"/>
              <a:gd name="T79" fmla="*/ 85216 h 234"/>
              <a:gd name="T80" fmla="*/ 102434 w 320"/>
              <a:gd name="T81" fmla="*/ 94327 h 234"/>
              <a:gd name="T82" fmla="*/ 101992 w 320"/>
              <a:gd name="T83" fmla="*/ 100222 h 234"/>
              <a:gd name="T84" fmla="*/ 98019 w 320"/>
              <a:gd name="T85" fmla="*/ 102902 h 234"/>
              <a:gd name="T86" fmla="*/ 90071 w 320"/>
              <a:gd name="T87" fmla="*/ 101294 h 234"/>
              <a:gd name="T88" fmla="*/ 82124 w 320"/>
              <a:gd name="T89" fmla="*/ 97007 h 234"/>
              <a:gd name="T90" fmla="*/ 74176 w 320"/>
              <a:gd name="T91" fmla="*/ 91111 h 234"/>
              <a:gd name="T92" fmla="*/ 68436 w 320"/>
              <a:gd name="T93" fmla="*/ 87896 h 234"/>
              <a:gd name="T94" fmla="*/ 64021 w 320"/>
              <a:gd name="T95" fmla="*/ 86288 h 234"/>
              <a:gd name="T96" fmla="*/ 57840 w 320"/>
              <a:gd name="T97" fmla="*/ 86824 h 234"/>
              <a:gd name="T98" fmla="*/ 50334 w 320"/>
              <a:gd name="T99" fmla="*/ 89503 h 234"/>
              <a:gd name="T100" fmla="*/ 44153 w 320"/>
              <a:gd name="T101" fmla="*/ 92719 h 234"/>
              <a:gd name="T102" fmla="*/ 38413 w 320"/>
              <a:gd name="T103" fmla="*/ 95399 h 234"/>
              <a:gd name="T104" fmla="*/ 37530 w 320"/>
              <a:gd name="T105" fmla="*/ 98079 h 234"/>
              <a:gd name="T106" fmla="*/ 42386 w 320"/>
              <a:gd name="T107" fmla="*/ 102366 h 234"/>
              <a:gd name="T108" fmla="*/ 51217 w 320"/>
              <a:gd name="T109" fmla="*/ 107190 h 234"/>
              <a:gd name="T110" fmla="*/ 55632 w 320"/>
              <a:gd name="T111" fmla="*/ 113621 h 234"/>
              <a:gd name="T112" fmla="*/ 49892 w 320"/>
              <a:gd name="T113" fmla="*/ 120053 h 234"/>
              <a:gd name="T114" fmla="*/ 45036 w 320"/>
              <a:gd name="T115" fmla="*/ 123804 h 234"/>
              <a:gd name="T116" fmla="*/ 40179 w 320"/>
              <a:gd name="T117" fmla="*/ 125412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32" name="Freeform 483">
            <a:extLst>
              <a:ext uri="{FF2B5EF4-FFF2-40B4-BE49-F238E27FC236}">
                <a16:creationId xmlns:a16="http://schemas.microsoft.com/office/drawing/2014/main" id="{0A794AD6-1C7C-4BD3-9323-237B91121843}"/>
              </a:ext>
            </a:extLst>
          </p:cNvPr>
          <p:cNvSpPr>
            <a:spLocks/>
          </p:cNvSpPr>
          <p:nvPr>
            <p:custDataLst>
              <p:tags r:id="rId320"/>
            </p:custDataLst>
          </p:nvPr>
        </p:nvSpPr>
        <p:spPr bwMode="auto">
          <a:xfrm>
            <a:off x="14296205" y="5264291"/>
            <a:ext cx="111155" cy="121262"/>
          </a:xfrm>
          <a:custGeom>
            <a:avLst/>
            <a:gdLst>
              <a:gd name="T0" fmla="*/ 13830 w 125"/>
              <a:gd name="T1" fmla="*/ 11676 h 93"/>
              <a:gd name="T2" fmla="*/ 18021 w 125"/>
              <a:gd name="T3" fmla="*/ 11676 h 93"/>
              <a:gd name="T4" fmla="*/ 21793 w 125"/>
              <a:gd name="T5" fmla="*/ 11676 h 93"/>
              <a:gd name="T6" fmla="*/ 23050 w 125"/>
              <a:gd name="T7" fmla="*/ 11676 h 93"/>
              <a:gd name="T8" fmla="*/ 24308 w 125"/>
              <a:gd name="T9" fmla="*/ 10447 h 93"/>
              <a:gd name="T10" fmla="*/ 25565 w 125"/>
              <a:gd name="T11" fmla="*/ 9218 h 93"/>
              <a:gd name="T12" fmla="*/ 27241 w 125"/>
              <a:gd name="T13" fmla="*/ 6760 h 93"/>
              <a:gd name="T14" fmla="*/ 28499 w 125"/>
              <a:gd name="T15" fmla="*/ 4916 h 93"/>
              <a:gd name="T16" fmla="*/ 29337 w 125"/>
              <a:gd name="T17" fmla="*/ 3073 h 93"/>
              <a:gd name="T18" fmla="*/ 30175 w 125"/>
              <a:gd name="T19" fmla="*/ 1844 h 93"/>
              <a:gd name="T20" fmla="*/ 30175 w 125"/>
              <a:gd name="T21" fmla="*/ 0 h 93"/>
              <a:gd name="T22" fmla="*/ 49453 w 125"/>
              <a:gd name="T23" fmla="*/ 0 h 93"/>
              <a:gd name="T24" fmla="*/ 51130 w 125"/>
              <a:gd name="T25" fmla="*/ 9218 h 93"/>
              <a:gd name="T26" fmla="*/ 52387 w 125"/>
              <a:gd name="T27" fmla="*/ 15363 h 93"/>
              <a:gd name="T28" fmla="*/ 51968 w 125"/>
              <a:gd name="T29" fmla="*/ 17821 h 93"/>
              <a:gd name="T30" fmla="*/ 51130 w 125"/>
              <a:gd name="T31" fmla="*/ 20279 h 93"/>
              <a:gd name="T32" fmla="*/ 49872 w 125"/>
              <a:gd name="T33" fmla="*/ 21508 h 93"/>
              <a:gd name="T34" fmla="*/ 49034 w 125"/>
              <a:gd name="T35" fmla="*/ 22737 h 93"/>
              <a:gd name="T36" fmla="*/ 46520 w 125"/>
              <a:gd name="T37" fmla="*/ 24581 h 93"/>
              <a:gd name="T38" fmla="*/ 43586 w 125"/>
              <a:gd name="T39" fmla="*/ 25195 h 93"/>
              <a:gd name="T40" fmla="*/ 36880 w 125"/>
              <a:gd name="T41" fmla="*/ 25195 h 93"/>
              <a:gd name="T42" fmla="*/ 30175 w 125"/>
              <a:gd name="T43" fmla="*/ 26424 h 93"/>
              <a:gd name="T44" fmla="*/ 29337 w 125"/>
              <a:gd name="T45" fmla="*/ 28882 h 93"/>
              <a:gd name="T46" fmla="*/ 28918 w 125"/>
              <a:gd name="T47" fmla="*/ 32569 h 93"/>
              <a:gd name="T48" fmla="*/ 28079 w 125"/>
              <a:gd name="T49" fmla="*/ 37485 h 93"/>
              <a:gd name="T50" fmla="*/ 28079 w 125"/>
              <a:gd name="T51" fmla="*/ 43631 h 93"/>
              <a:gd name="T52" fmla="*/ 27660 w 125"/>
              <a:gd name="T53" fmla="*/ 52848 h 93"/>
              <a:gd name="T54" fmla="*/ 27660 w 125"/>
              <a:gd name="T55" fmla="*/ 57150 h 93"/>
              <a:gd name="T56" fmla="*/ 20536 w 125"/>
              <a:gd name="T57" fmla="*/ 52234 h 93"/>
              <a:gd name="T58" fmla="*/ 11316 w 125"/>
              <a:gd name="T59" fmla="*/ 44860 h 93"/>
              <a:gd name="T60" fmla="*/ 6706 w 125"/>
              <a:gd name="T61" fmla="*/ 39944 h 93"/>
              <a:gd name="T62" fmla="*/ 2934 w 125"/>
              <a:gd name="T63" fmla="*/ 35642 h 93"/>
              <a:gd name="T64" fmla="*/ 1676 w 125"/>
              <a:gd name="T65" fmla="*/ 33184 h 93"/>
              <a:gd name="T66" fmla="*/ 838 w 125"/>
              <a:gd name="T67" fmla="*/ 30726 h 93"/>
              <a:gd name="T68" fmla="*/ 0 w 125"/>
              <a:gd name="T69" fmla="*/ 28882 h 93"/>
              <a:gd name="T70" fmla="*/ 0 w 125"/>
              <a:gd name="T71" fmla="*/ 26424 h 93"/>
              <a:gd name="T72" fmla="*/ 2934 w 125"/>
              <a:gd name="T73" fmla="*/ 26424 h 93"/>
              <a:gd name="T74" fmla="*/ 6286 w 125"/>
              <a:gd name="T75" fmla="*/ 25195 h 93"/>
              <a:gd name="T76" fmla="*/ 8382 w 125"/>
              <a:gd name="T77" fmla="*/ 23966 h 93"/>
              <a:gd name="T78" fmla="*/ 9639 w 125"/>
              <a:gd name="T79" fmla="*/ 22123 h 93"/>
              <a:gd name="T80" fmla="*/ 11735 w 125"/>
              <a:gd name="T81" fmla="*/ 17206 h 93"/>
              <a:gd name="T82" fmla="*/ 13830 w 125"/>
              <a:gd name="T83" fmla="*/ 11676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33" name="Freeform 484">
            <a:extLst>
              <a:ext uri="{FF2B5EF4-FFF2-40B4-BE49-F238E27FC236}">
                <a16:creationId xmlns:a16="http://schemas.microsoft.com/office/drawing/2014/main" id="{7DC56155-02EB-4D2D-A91C-3705628C2F10}"/>
              </a:ext>
            </a:extLst>
          </p:cNvPr>
          <p:cNvSpPr>
            <a:spLocks/>
          </p:cNvSpPr>
          <p:nvPr>
            <p:custDataLst>
              <p:tags r:id="rId321"/>
            </p:custDataLst>
          </p:nvPr>
        </p:nvSpPr>
        <p:spPr bwMode="auto">
          <a:xfrm>
            <a:off x="14181680" y="5294608"/>
            <a:ext cx="127998" cy="178523"/>
          </a:xfrm>
          <a:custGeom>
            <a:avLst/>
            <a:gdLst>
              <a:gd name="T0" fmla="*/ 9071 w 133"/>
              <a:gd name="T1" fmla="*/ 6556 h 154"/>
              <a:gd name="T2" fmla="*/ 10886 w 133"/>
              <a:gd name="T3" fmla="*/ 5463 h 154"/>
              <a:gd name="T4" fmla="*/ 14061 w 133"/>
              <a:gd name="T5" fmla="*/ 3278 h 154"/>
              <a:gd name="T6" fmla="*/ 15421 w 133"/>
              <a:gd name="T7" fmla="*/ 2185 h 154"/>
              <a:gd name="T8" fmla="*/ 16782 w 133"/>
              <a:gd name="T9" fmla="*/ 1093 h 154"/>
              <a:gd name="T10" fmla="*/ 19050 w 133"/>
              <a:gd name="T11" fmla="*/ 546 h 154"/>
              <a:gd name="T12" fmla="*/ 20864 w 133"/>
              <a:gd name="T13" fmla="*/ 0 h 154"/>
              <a:gd name="T14" fmla="*/ 26761 w 133"/>
              <a:gd name="T15" fmla="*/ 546 h 154"/>
              <a:gd name="T16" fmla="*/ 31750 w 133"/>
              <a:gd name="T17" fmla="*/ 2185 h 154"/>
              <a:gd name="T18" fmla="*/ 36739 w 133"/>
              <a:gd name="T19" fmla="*/ 4371 h 154"/>
              <a:gd name="T20" fmla="*/ 40821 w 133"/>
              <a:gd name="T21" fmla="*/ 7649 h 154"/>
              <a:gd name="T22" fmla="*/ 44904 w 133"/>
              <a:gd name="T23" fmla="*/ 11473 h 154"/>
              <a:gd name="T24" fmla="*/ 47625 w 133"/>
              <a:gd name="T25" fmla="*/ 16390 h 154"/>
              <a:gd name="T26" fmla="*/ 50800 w 133"/>
              <a:gd name="T27" fmla="*/ 21854 h 154"/>
              <a:gd name="T28" fmla="*/ 52614 w 133"/>
              <a:gd name="T29" fmla="*/ 27317 h 154"/>
              <a:gd name="T30" fmla="*/ 54882 w 133"/>
              <a:gd name="T31" fmla="*/ 32781 h 154"/>
              <a:gd name="T32" fmla="*/ 56243 w 133"/>
              <a:gd name="T33" fmla="*/ 38790 h 154"/>
              <a:gd name="T34" fmla="*/ 57604 w 133"/>
              <a:gd name="T35" fmla="*/ 44800 h 154"/>
              <a:gd name="T36" fmla="*/ 58964 w 133"/>
              <a:gd name="T37" fmla="*/ 51356 h 154"/>
              <a:gd name="T38" fmla="*/ 59871 w 133"/>
              <a:gd name="T39" fmla="*/ 63376 h 154"/>
              <a:gd name="T40" fmla="*/ 60325 w 133"/>
              <a:gd name="T41" fmla="*/ 73756 h 154"/>
              <a:gd name="T42" fmla="*/ 59871 w 133"/>
              <a:gd name="T43" fmla="*/ 75395 h 154"/>
              <a:gd name="T44" fmla="*/ 58964 w 133"/>
              <a:gd name="T45" fmla="*/ 77035 h 154"/>
              <a:gd name="T46" fmla="*/ 56696 w 133"/>
              <a:gd name="T47" fmla="*/ 78674 h 154"/>
              <a:gd name="T48" fmla="*/ 54882 w 133"/>
              <a:gd name="T49" fmla="*/ 80313 h 154"/>
              <a:gd name="T50" fmla="*/ 52161 w 133"/>
              <a:gd name="T51" fmla="*/ 81952 h 154"/>
              <a:gd name="T52" fmla="*/ 49893 w 133"/>
              <a:gd name="T53" fmla="*/ 83591 h 154"/>
              <a:gd name="T54" fmla="*/ 47171 w 133"/>
              <a:gd name="T55" fmla="*/ 84137 h 154"/>
              <a:gd name="T56" fmla="*/ 44904 w 133"/>
              <a:gd name="T57" fmla="*/ 84137 h 154"/>
              <a:gd name="T58" fmla="*/ 42182 w 133"/>
              <a:gd name="T59" fmla="*/ 83591 h 154"/>
              <a:gd name="T60" fmla="*/ 39461 w 133"/>
              <a:gd name="T61" fmla="*/ 81405 h 154"/>
              <a:gd name="T62" fmla="*/ 35832 w 133"/>
              <a:gd name="T63" fmla="*/ 77035 h 154"/>
              <a:gd name="T64" fmla="*/ 32204 w 133"/>
              <a:gd name="T65" fmla="*/ 73210 h 154"/>
              <a:gd name="T66" fmla="*/ 29029 w 133"/>
              <a:gd name="T67" fmla="*/ 68839 h 154"/>
              <a:gd name="T68" fmla="*/ 26307 w 133"/>
              <a:gd name="T69" fmla="*/ 64469 h 154"/>
              <a:gd name="T70" fmla="*/ 24493 w 133"/>
              <a:gd name="T71" fmla="*/ 60644 h 154"/>
              <a:gd name="T72" fmla="*/ 24039 w 133"/>
              <a:gd name="T73" fmla="*/ 57366 h 154"/>
              <a:gd name="T74" fmla="*/ 24493 w 133"/>
              <a:gd name="T75" fmla="*/ 53542 h 154"/>
              <a:gd name="T76" fmla="*/ 25400 w 133"/>
              <a:gd name="T77" fmla="*/ 45347 h 154"/>
              <a:gd name="T78" fmla="*/ 26307 w 133"/>
              <a:gd name="T79" fmla="*/ 37151 h 154"/>
              <a:gd name="T80" fmla="*/ 26761 w 133"/>
              <a:gd name="T81" fmla="*/ 33873 h 154"/>
              <a:gd name="T82" fmla="*/ 21318 w 133"/>
              <a:gd name="T83" fmla="*/ 33327 h 154"/>
              <a:gd name="T84" fmla="*/ 16329 w 133"/>
              <a:gd name="T85" fmla="*/ 32234 h 154"/>
              <a:gd name="T86" fmla="*/ 11339 w 133"/>
              <a:gd name="T87" fmla="*/ 30595 h 154"/>
              <a:gd name="T88" fmla="*/ 7711 w 133"/>
              <a:gd name="T89" fmla="*/ 28410 h 154"/>
              <a:gd name="T90" fmla="*/ 5896 w 133"/>
              <a:gd name="T91" fmla="*/ 26771 h 154"/>
              <a:gd name="T92" fmla="*/ 4536 w 133"/>
              <a:gd name="T93" fmla="*/ 25132 h 154"/>
              <a:gd name="T94" fmla="*/ 3175 w 133"/>
              <a:gd name="T95" fmla="*/ 23493 h 154"/>
              <a:gd name="T96" fmla="*/ 1814 w 133"/>
              <a:gd name="T97" fmla="*/ 21307 h 154"/>
              <a:gd name="T98" fmla="*/ 907 w 133"/>
              <a:gd name="T99" fmla="*/ 18576 h 154"/>
              <a:gd name="T100" fmla="*/ 454 w 133"/>
              <a:gd name="T101" fmla="*/ 15844 h 154"/>
              <a:gd name="T102" fmla="*/ 0 w 133"/>
              <a:gd name="T103" fmla="*/ 13112 h 154"/>
              <a:gd name="T104" fmla="*/ 0 w 133"/>
              <a:gd name="T105" fmla="*/ 9834 h 154"/>
              <a:gd name="T106" fmla="*/ 3175 w 133"/>
              <a:gd name="T107" fmla="*/ 8195 h 154"/>
              <a:gd name="T108" fmla="*/ 9071 w 133"/>
              <a:gd name="T109" fmla="*/ 6556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34" name="Freeform 485">
            <a:extLst>
              <a:ext uri="{FF2B5EF4-FFF2-40B4-BE49-F238E27FC236}">
                <a16:creationId xmlns:a16="http://schemas.microsoft.com/office/drawing/2014/main" id="{91AFFD46-543A-40FF-97EE-66E3FFA2C044}"/>
              </a:ext>
            </a:extLst>
          </p:cNvPr>
          <p:cNvSpPr>
            <a:spLocks/>
          </p:cNvSpPr>
          <p:nvPr>
            <p:custDataLst>
              <p:tags r:id="rId322"/>
            </p:custDataLst>
          </p:nvPr>
        </p:nvSpPr>
        <p:spPr bwMode="auto">
          <a:xfrm>
            <a:off x="14215364" y="4789352"/>
            <a:ext cx="444626" cy="518730"/>
          </a:xfrm>
          <a:custGeom>
            <a:avLst/>
            <a:gdLst>
              <a:gd name="T0" fmla="*/ 57896 w 485"/>
              <a:gd name="T1" fmla="*/ 183356 h 468"/>
              <a:gd name="T2" fmla="*/ 72154 w 485"/>
              <a:gd name="T3" fmla="*/ 177088 h 468"/>
              <a:gd name="T4" fmla="*/ 86412 w 485"/>
              <a:gd name="T5" fmla="*/ 177088 h 468"/>
              <a:gd name="T6" fmla="*/ 97646 w 485"/>
              <a:gd name="T7" fmla="*/ 181789 h 468"/>
              <a:gd name="T8" fmla="*/ 96782 w 485"/>
              <a:gd name="T9" fmla="*/ 170819 h 468"/>
              <a:gd name="T10" fmla="*/ 95054 w 485"/>
              <a:gd name="T11" fmla="*/ 165073 h 468"/>
              <a:gd name="T12" fmla="*/ 100670 w 485"/>
              <a:gd name="T13" fmla="*/ 158282 h 468"/>
              <a:gd name="T14" fmla="*/ 103263 w 485"/>
              <a:gd name="T15" fmla="*/ 144178 h 468"/>
              <a:gd name="T16" fmla="*/ 104559 w 485"/>
              <a:gd name="T17" fmla="*/ 128506 h 468"/>
              <a:gd name="T18" fmla="*/ 115793 w 485"/>
              <a:gd name="T19" fmla="*/ 133208 h 468"/>
              <a:gd name="T20" fmla="*/ 129619 w 485"/>
              <a:gd name="T21" fmla="*/ 124327 h 468"/>
              <a:gd name="T22" fmla="*/ 136532 w 485"/>
              <a:gd name="T23" fmla="*/ 113357 h 468"/>
              <a:gd name="T24" fmla="*/ 126594 w 485"/>
              <a:gd name="T25" fmla="*/ 101342 h 468"/>
              <a:gd name="T26" fmla="*/ 137396 w 485"/>
              <a:gd name="T27" fmla="*/ 103954 h 468"/>
              <a:gd name="T28" fmla="*/ 148197 w 485"/>
              <a:gd name="T29" fmla="*/ 105521 h 468"/>
              <a:gd name="T30" fmla="*/ 149493 w 485"/>
              <a:gd name="T31" fmla="*/ 96641 h 468"/>
              <a:gd name="T32" fmla="*/ 127458 w 485"/>
              <a:gd name="T33" fmla="*/ 50149 h 468"/>
              <a:gd name="T34" fmla="*/ 123138 w 485"/>
              <a:gd name="T35" fmla="*/ 27686 h 468"/>
              <a:gd name="T36" fmla="*/ 125730 w 485"/>
              <a:gd name="T37" fmla="*/ 9925 h 468"/>
              <a:gd name="T38" fmla="*/ 136532 w 485"/>
              <a:gd name="T39" fmla="*/ 522 h 468"/>
              <a:gd name="T40" fmla="*/ 145173 w 485"/>
              <a:gd name="T41" fmla="*/ 9403 h 468"/>
              <a:gd name="T42" fmla="*/ 162887 w 485"/>
              <a:gd name="T43" fmla="*/ 23507 h 468"/>
              <a:gd name="T44" fmla="*/ 179306 w 485"/>
              <a:gd name="T45" fmla="*/ 37612 h 468"/>
              <a:gd name="T46" fmla="*/ 184058 w 485"/>
              <a:gd name="T47" fmla="*/ 51193 h 468"/>
              <a:gd name="T48" fmla="*/ 188379 w 485"/>
              <a:gd name="T49" fmla="*/ 71566 h 468"/>
              <a:gd name="T50" fmla="*/ 192268 w 485"/>
              <a:gd name="T51" fmla="*/ 90372 h 468"/>
              <a:gd name="T52" fmla="*/ 184922 w 485"/>
              <a:gd name="T53" fmla="*/ 93506 h 468"/>
              <a:gd name="T54" fmla="*/ 178009 w 485"/>
              <a:gd name="T55" fmla="*/ 96641 h 468"/>
              <a:gd name="T56" fmla="*/ 184058 w 485"/>
              <a:gd name="T57" fmla="*/ 103954 h 468"/>
              <a:gd name="T58" fmla="*/ 192268 w 485"/>
              <a:gd name="T59" fmla="*/ 106044 h 468"/>
              <a:gd name="T60" fmla="*/ 196588 w 485"/>
              <a:gd name="T61" fmla="*/ 136864 h 468"/>
              <a:gd name="T62" fmla="*/ 205229 w 485"/>
              <a:gd name="T63" fmla="*/ 162983 h 468"/>
              <a:gd name="T64" fmla="*/ 207390 w 485"/>
              <a:gd name="T65" fmla="*/ 199028 h 468"/>
              <a:gd name="T66" fmla="*/ 200045 w 485"/>
              <a:gd name="T67" fmla="*/ 190147 h 468"/>
              <a:gd name="T68" fmla="*/ 195724 w 485"/>
              <a:gd name="T69" fmla="*/ 185968 h 468"/>
              <a:gd name="T70" fmla="*/ 188379 w 485"/>
              <a:gd name="T71" fmla="*/ 189625 h 468"/>
              <a:gd name="T72" fmla="*/ 185355 w 485"/>
              <a:gd name="T73" fmla="*/ 208431 h 468"/>
              <a:gd name="T74" fmla="*/ 176281 w 485"/>
              <a:gd name="T75" fmla="*/ 203207 h 468"/>
              <a:gd name="T76" fmla="*/ 168072 w 485"/>
              <a:gd name="T77" fmla="*/ 199550 h 468"/>
              <a:gd name="T78" fmla="*/ 162455 w 485"/>
              <a:gd name="T79" fmla="*/ 209998 h 468"/>
              <a:gd name="T80" fmla="*/ 149061 w 485"/>
              <a:gd name="T81" fmla="*/ 215744 h 468"/>
              <a:gd name="T82" fmla="*/ 144309 w 485"/>
              <a:gd name="T83" fmla="*/ 208953 h 468"/>
              <a:gd name="T84" fmla="*/ 134803 w 485"/>
              <a:gd name="T85" fmla="*/ 206341 h 468"/>
              <a:gd name="T86" fmla="*/ 130915 w 485"/>
              <a:gd name="T87" fmla="*/ 222535 h 468"/>
              <a:gd name="T88" fmla="*/ 129186 w 485"/>
              <a:gd name="T89" fmla="*/ 235072 h 468"/>
              <a:gd name="T90" fmla="*/ 132643 w 485"/>
              <a:gd name="T91" fmla="*/ 243430 h 468"/>
              <a:gd name="T92" fmla="*/ 117521 w 485"/>
              <a:gd name="T93" fmla="*/ 244475 h 468"/>
              <a:gd name="T94" fmla="*/ 111472 w 485"/>
              <a:gd name="T95" fmla="*/ 242908 h 468"/>
              <a:gd name="T96" fmla="*/ 105423 w 485"/>
              <a:gd name="T97" fmla="*/ 229848 h 468"/>
              <a:gd name="T98" fmla="*/ 98942 w 485"/>
              <a:gd name="T99" fmla="*/ 218356 h 468"/>
              <a:gd name="T100" fmla="*/ 88141 w 485"/>
              <a:gd name="T101" fmla="*/ 212087 h 468"/>
              <a:gd name="T102" fmla="*/ 82092 w 485"/>
              <a:gd name="T103" fmla="*/ 205819 h 468"/>
              <a:gd name="T104" fmla="*/ 58760 w 485"/>
              <a:gd name="T105" fmla="*/ 217833 h 468"/>
              <a:gd name="T106" fmla="*/ 38886 w 485"/>
              <a:gd name="T107" fmla="*/ 227236 h 468"/>
              <a:gd name="T108" fmla="*/ 28084 w 485"/>
              <a:gd name="T109" fmla="*/ 239774 h 468"/>
              <a:gd name="T110" fmla="*/ 11666 w 485"/>
              <a:gd name="T111" fmla="*/ 240818 h 468"/>
              <a:gd name="T112" fmla="*/ 3024 w 485"/>
              <a:gd name="T113" fmla="*/ 228804 h 468"/>
              <a:gd name="T114" fmla="*/ 0 w 485"/>
              <a:gd name="T115" fmla="*/ 217833 h 468"/>
              <a:gd name="T116" fmla="*/ 3024 w 485"/>
              <a:gd name="T117" fmla="*/ 215744 h 468"/>
              <a:gd name="T118" fmla="*/ 11666 w 485"/>
              <a:gd name="T119" fmla="*/ 216266 h 468"/>
              <a:gd name="T120" fmla="*/ 20739 w 485"/>
              <a:gd name="T121" fmla="*/ 211565 h 468"/>
              <a:gd name="T122" fmla="*/ 31108 w 485"/>
              <a:gd name="T123" fmla="*/ 192759 h 468"/>
              <a:gd name="T124" fmla="*/ 40182 w 485"/>
              <a:gd name="T125" fmla="*/ 183879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35" name="Freeform 486">
            <a:extLst>
              <a:ext uri="{FF2B5EF4-FFF2-40B4-BE49-F238E27FC236}">
                <a16:creationId xmlns:a16="http://schemas.microsoft.com/office/drawing/2014/main" id="{2495E876-6000-40F2-834C-245CC3EAEA76}"/>
              </a:ext>
            </a:extLst>
          </p:cNvPr>
          <p:cNvSpPr>
            <a:spLocks/>
          </p:cNvSpPr>
          <p:nvPr>
            <p:custDataLst>
              <p:tags r:id="rId323"/>
            </p:custDataLst>
          </p:nvPr>
        </p:nvSpPr>
        <p:spPr bwMode="auto">
          <a:xfrm>
            <a:off x="9088697" y="2434856"/>
            <a:ext cx="229050" cy="127998"/>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36" name="Freeform 487">
            <a:extLst>
              <a:ext uri="{FF2B5EF4-FFF2-40B4-BE49-F238E27FC236}">
                <a16:creationId xmlns:a16="http://schemas.microsoft.com/office/drawing/2014/main" id="{370DD083-B9F1-41F6-B725-4C4FC9C0C2F3}"/>
              </a:ext>
            </a:extLst>
          </p:cNvPr>
          <p:cNvSpPr>
            <a:spLocks/>
          </p:cNvSpPr>
          <p:nvPr>
            <p:custDataLst>
              <p:tags r:id="rId324"/>
            </p:custDataLst>
          </p:nvPr>
        </p:nvSpPr>
        <p:spPr bwMode="auto">
          <a:xfrm>
            <a:off x="9391851" y="2397805"/>
            <a:ext cx="134735" cy="121262"/>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37" name="Freeform 488">
            <a:extLst>
              <a:ext uri="{FF2B5EF4-FFF2-40B4-BE49-F238E27FC236}">
                <a16:creationId xmlns:a16="http://schemas.microsoft.com/office/drawing/2014/main" id="{88CAAE63-E379-4D39-B6BC-EDDFA7BD58C1}"/>
              </a:ext>
            </a:extLst>
          </p:cNvPr>
          <p:cNvSpPr>
            <a:spLocks/>
          </p:cNvSpPr>
          <p:nvPr>
            <p:custDataLst>
              <p:tags r:id="rId325"/>
            </p:custDataLst>
          </p:nvPr>
        </p:nvSpPr>
        <p:spPr bwMode="auto">
          <a:xfrm>
            <a:off x="9469322" y="2414646"/>
            <a:ext cx="276207" cy="121262"/>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38" name="Freeform 489">
            <a:extLst>
              <a:ext uri="{FF2B5EF4-FFF2-40B4-BE49-F238E27FC236}">
                <a16:creationId xmlns:a16="http://schemas.microsoft.com/office/drawing/2014/main" id="{79E779CF-CA4B-444B-8FEB-AA6021D57CD1}"/>
              </a:ext>
            </a:extLst>
          </p:cNvPr>
          <p:cNvSpPr>
            <a:spLocks/>
          </p:cNvSpPr>
          <p:nvPr>
            <p:custDataLst>
              <p:tags r:id="rId326"/>
            </p:custDataLst>
          </p:nvPr>
        </p:nvSpPr>
        <p:spPr bwMode="auto">
          <a:xfrm>
            <a:off x="10601096" y="2808747"/>
            <a:ext cx="87578" cy="121262"/>
          </a:xfrm>
          <a:custGeom>
            <a:avLst/>
            <a:gdLst>
              <a:gd name="T0" fmla="*/ 38386 w 100"/>
              <a:gd name="T1" fmla="*/ 0 h 42"/>
              <a:gd name="T2" fmla="*/ 40037 w 100"/>
              <a:gd name="T3" fmla="*/ 9525 h 42"/>
              <a:gd name="T4" fmla="*/ 41275 w 100"/>
              <a:gd name="T5" fmla="*/ 24493 h 42"/>
              <a:gd name="T6" fmla="*/ 37973 w 100"/>
              <a:gd name="T7" fmla="*/ 32657 h 42"/>
              <a:gd name="T8" fmla="*/ 35497 w 100"/>
              <a:gd name="T9" fmla="*/ 39461 h 42"/>
              <a:gd name="T10" fmla="*/ 32607 w 100"/>
              <a:gd name="T11" fmla="*/ 46264 h 42"/>
              <a:gd name="T12" fmla="*/ 29718 w 100"/>
              <a:gd name="T13" fmla="*/ 50346 h 42"/>
              <a:gd name="T14" fmla="*/ 26829 w 100"/>
              <a:gd name="T15" fmla="*/ 53068 h 42"/>
              <a:gd name="T16" fmla="*/ 23527 w 100"/>
              <a:gd name="T17" fmla="*/ 55789 h 42"/>
              <a:gd name="T18" fmla="*/ 20225 w 100"/>
              <a:gd name="T19" fmla="*/ 57150 h 42"/>
              <a:gd name="T20" fmla="*/ 16510 w 100"/>
              <a:gd name="T21" fmla="*/ 57150 h 42"/>
              <a:gd name="T22" fmla="*/ 11144 w 100"/>
              <a:gd name="T23" fmla="*/ 55789 h 42"/>
              <a:gd name="T24" fmla="*/ 4953 w 100"/>
              <a:gd name="T25" fmla="*/ 53068 h 42"/>
              <a:gd name="T26" fmla="*/ 413 w 100"/>
              <a:gd name="T27" fmla="*/ 50346 h 42"/>
              <a:gd name="T28" fmla="*/ 0 w 100"/>
              <a:gd name="T29" fmla="*/ 48986 h 42"/>
              <a:gd name="T30" fmla="*/ 2477 w 100"/>
              <a:gd name="T31" fmla="*/ 48986 h 42"/>
              <a:gd name="T32" fmla="*/ 4953 w 100"/>
              <a:gd name="T33" fmla="*/ 47625 h 42"/>
              <a:gd name="T34" fmla="*/ 7430 w 100"/>
              <a:gd name="T35" fmla="*/ 44904 h 42"/>
              <a:gd name="T36" fmla="*/ 9493 w 100"/>
              <a:gd name="T37" fmla="*/ 40821 h 42"/>
              <a:gd name="T38" fmla="*/ 13621 w 100"/>
              <a:gd name="T39" fmla="*/ 34018 h 42"/>
              <a:gd name="T40" fmla="*/ 18161 w 100"/>
              <a:gd name="T41" fmla="*/ 24493 h 42"/>
              <a:gd name="T42" fmla="*/ 22701 w 100"/>
              <a:gd name="T43" fmla="*/ 14968 h 42"/>
              <a:gd name="T44" fmla="*/ 27242 w 100"/>
              <a:gd name="T45" fmla="*/ 6804 h 42"/>
              <a:gd name="T46" fmla="*/ 29718 w 100"/>
              <a:gd name="T47" fmla="*/ 4082 h 42"/>
              <a:gd name="T48" fmla="*/ 32607 w 100"/>
              <a:gd name="T49" fmla="*/ 1361 h 42"/>
              <a:gd name="T50" fmla="*/ 35497 w 100"/>
              <a:gd name="T51" fmla="*/ 0 h 42"/>
              <a:gd name="T52" fmla="*/ 38386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39" name="Freeform 490">
            <a:extLst>
              <a:ext uri="{FF2B5EF4-FFF2-40B4-BE49-F238E27FC236}">
                <a16:creationId xmlns:a16="http://schemas.microsoft.com/office/drawing/2014/main" id="{47D4239C-B2F5-4FC7-B8FA-EC0D43CC2B34}"/>
              </a:ext>
            </a:extLst>
          </p:cNvPr>
          <p:cNvSpPr>
            <a:spLocks/>
          </p:cNvSpPr>
          <p:nvPr>
            <p:custDataLst>
              <p:tags r:id="rId327"/>
            </p:custDataLst>
          </p:nvPr>
        </p:nvSpPr>
        <p:spPr bwMode="auto">
          <a:xfrm>
            <a:off x="10409100" y="2508961"/>
            <a:ext cx="33684" cy="124631"/>
          </a:xfrm>
          <a:custGeom>
            <a:avLst/>
            <a:gdLst>
              <a:gd name="T0" fmla="*/ 15875 w 40"/>
              <a:gd name="T1" fmla="*/ 58738 h 5"/>
              <a:gd name="T2" fmla="*/ 0 w 40"/>
              <a:gd name="T3" fmla="*/ 58738 h 5"/>
              <a:gd name="T4" fmla="*/ 1984 w 40"/>
              <a:gd name="T5" fmla="*/ 35243 h 5"/>
              <a:gd name="T6" fmla="*/ 3572 w 40"/>
              <a:gd name="T7" fmla="*/ 11748 h 5"/>
              <a:gd name="T8" fmla="*/ 5953 w 40"/>
              <a:gd name="T9" fmla="*/ 0 h 5"/>
              <a:gd name="T10" fmla="*/ 7938 w 40"/>
              <a:gd name="T11" fmla="*/ 0 h 5"/>
              <a:gd name="T12" fmla="*/ 9922 w 40"/>
              <a:gd name="T13" fmla="*/ 0 h 5"/>
              <a:gd name="T14" fmla="*/ 11906 w 40"/>
              <a:gd name="T15" fmla="*/ 11748 h 5"/>
              <a:gd name="T16" fmla="*/ 13891 w 40"/>
              <a:gd name="T17" fmla="*/ 35243 h 5"/>
              <a:gd name="T18" fmla="*/ 15875 w 40"/>
              <a:gd name="T19" fmla="*/ 58738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40" name="Freeform 491">
            <a:extLst>
              <a:ext uri="{FF2B5EF4-FFF2-40B4-BE49-F238E27FC236}">
                <a16:creationId xmlns:a16="http://schemas.microsoft.com/office/drawing/2014/main" id="{5428B9D9-832D-48F4-9ADC-E9DF52CEC2D8}"/>
              </a:ext>
            </a:extLst>
          </p:cNvPr>
          <p:cNvSpPr>
            <a:spLocks/>
          </p:cNvSpPr>
          <p:nvPr>
            <p:custDataLst>
              <p:tags r:id="rId328"/>
            </p:custDataLst>
          </p:nvPr>
        </p:nvSpPr>
        <p:spPr bwMode="auto">
          <a:xfrm>
            <a:off x="10456257" y="2421383"/>
            <a:ext cx="30314" cy="127998"/>
          </a:xfrm>
          <a:custGeom>
            <a:avLst/>
            <a:gdLst>
              <a:gd name="T0" fmla="*/ 0 w 33"/>
              <a:gd name="T1" fmla="*/ 36973 h 31"/>
              <a:gd name="T2" fmla="*/ 8659 w 33"/>
              <a:gd name="T3" fmla="*/ 0 h 31"/>
              <a:gd name="T4" fmla="*/ 8659 w 33"/>
              <a:gd name="T5" fmla="*/ 7784 h 31"/>
              <a:gd name="T6" fmla="*/ 9525 w 33"/>
              <a:gd name="T7" fmla="*/ 19460 h 31"/>
              <a:gd name="T8" fmla="*/ 10823 w 33"/>
              <a:gd name="T9" fmla="*/ 27244 h 31"/>
              <a:gd name="T10" fmla="*/ 11689 w 33"/>
              <a:gd name="T11" fmla="*/ 35027 h 31"/>
              <a:gd name="T12" fmla="*/ 13421 w 33"/>
              <a:gd name="T13" fmla="*/ 50595 h 31"/>
              <a:gd name="T14" fmla="*/ 14287 w 33"/>
              <a:gd name="T15" fmla="*/ 60325 h 31"/>
              <a:gd name="T16" fmla="*/ 0 w 33"/>
              <a:gd name="T17" fmla="*/ 60325 h 31"/>
              <a:gd name="T18" fmla="*/ 0 w 33"/>
              <a:gd name="T19" fmla="*/ 48649 h 31"/>
              <a:gd name="T20" fmla="*/ 0 w 33"/>
              <a:gd name="T21" fmla="*/ 36973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41" name="Freeform 492">
            <a:extLst>
              <a:ext uri="{FF2B5EF4-FFF2-40B4-BE49-F238E27FC236}">
                <a16:creationId xmlns:a16="http://schemas.microsoft.com/office/drawing/2014/main" id="{591C895D-F4F3-4751-B7E3-65F210E53DF0}"/>
              </a:ext>
            </a:extLst>
          </p:cNvPr>
          <p:cNvSpPr>
            <a:spLocks/>
          </p:cNvSpPr>
          <p:nvPr>
            <p:custDataLst>
              <p:tags r:id="rId329"/>
            </p:custDataLst>
          </p:nvPr>
        </p:nvSpPr>
        <p:spPr bwMode="auto">
          <a:xfrm>
            <a:off x="10762778" y="2667275"/>
            <a:ext cx="37053" cy="121262"/>
          </a:xfrm>
          <a:custGeom>
            <a:avLst/>
            <a:gdLst>
              <a:gd name="T0" fmla="*/ 17463 w 41"/>
              <a:gd name="T1" fmla="*/ 0 h 43"/>
              <a:gd name="T2" fmla="*/ 17463 w 41"/>
              <a:gd name="T3" fmla="*/ 57150 h 43"/>
              <a:gd name="T4" fmla="*/ 13204 w 41"/>
              <a:gd name="T5" fmla="*/ 55821 h 43"/>
              <a:gd name="T6" fmla="*/ 10222 w 41"/>
              <a:gd name="T7" fmla="*/ 53163 h 43"/>
              <a:gd name="T8" fmla="*/ 7667 w 41"/>
              <a:gd name="T9" fmla="*/ 49176 h 43"/>
              <a:gd name="T10" fmla="*/ 5537 w 41"/>
              <a:gd name="T11" fmla="*/ 43859 h 43"/>
              <a:gd name="T12" fmla="*/ 2130 w 41"/>
              <a:gd name="T13" fmla="*/ 33227 h 43"/>
              <a:gd name="T14" fmla="*/ 0 w 41"/>
              <a:gd name="T15" fmla="*/ 25252 h 43"/>
              <a:gd name="T16" fmla="*/ 5111 w 41"/>
              <a:gd name="T17" fmla="*/ 17278 h 43"/>
              <a:gd name="T18" fmla="*/ 10648 w 41"/>
              <a:gd name="T19" fmla="*/ 9303 h 43"/>
              <a:gd name="T20" fmla="*/ 15333 w 41"/>
              <a:gd name="T21" fmla="*/ 2658 h 43"/>
              <a:gd name="T22" fmla="*/ 17463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42" name="Freeform 493">
            <a:extLst>
              <a:ext uri="{FF2B5EF4-FFF2-40B4-BE49-F238E27FC236}">
                <a16:creationId xmlns:a16="http://schemas.microsoft.com/office/drawing/2014/main" id="{4EAA1531-86A7-4C47-9A66-1EE710F05AEF}"/>
              </a:ext>
            </a:extLst>
          </p:cNvPr>
          <p:cNvSpPr>
            <a:spLocks/>
          </p:cNvSpPr>
          <p:nvPr>
            <p:custDataLst>
              <p:tags r:id="rId330"/>
            </p:custDataLst>
          </p:nvPr>
        </p:nvSpPr>
        <p:spPr bwMode="auto">
          <a:xfrm>
            <a:off x="10877303" y="2421383"/>
            <a:ext cx="198735" cy="127998"/>
          </a:xfrm>
          <a:custGeom>
            <a:avLst/>
            <a:gdLst>
              <a:gd name="T0" fmla="*/ 26824 w 213"/>
              <a:gd name="T1" fmla="*/ 0 h 62"/>
              <a:gd name="T2" fmla="*/ 36498 w 213"/>
              <a:gd name="T3" fmla="*/ 0 h 62"/>
              <a:gd name="T4" fmla="*/ 46172 w 213"/>
              <a:gd name="T5" fmla="*/ 973 h 62"/>
              <a:gd name="T6" fmla="*/ 55846 w 213"/>
              <a:gd name="T7" fmla="*/ 2919 h 62"/>
              <a:gd name="T8" fmla="*/ 64201 w 213"/>
              <a:gd name="T9" fmla="*/ 6811 h 62"/>
              <a:gd name="T10" fmla="*/ 72996 w 213"/>
              <a:gd name="T11" fmla="*/ 10703 h 62"/>
              <a:gd name="T12" fmla="*/ 80911 w 213"/>
              <a:gd name="T13" fmla="*/ 15568 h 62"/>
              <a:gd name="T14" fmla="*/ 83989 w 213"/>
              <a:gd name="T15" fmla="*/ 18487 h 62"/>
              <a:gd name="T16" fmla="*/ 87507 w 213"/>
              <a:gd name="T17" fmla="*/ 22379 h 62"/>
              <a:gd name="T18" fmla="*/ 91025 w 213"/>
              <a:gd name="T19" fmla="*/ 26271 h 62"/>
              <a:gd name="T20" fmla="*/ 93663 w 213"/>
              <a:gd name="T21" fmla="*/ 30163 h 62"/>
              <a:gd name="T22" fmla="*/ 92784 w 213"/>
              <a:gd name="T23" fmla="*/ 34054 h 62"/>
              <a:gd name="T24" fmla="*/ 91025 w 213"/>
              <a:gd name="T25" fmla="*/ 36973 h 62"/>
              <a:gd name="T26" fmla="*/ 88386 w 213"/>
              <a:gd name="T27" fmla="*/ 39892 h 62"/>
              <a:gd name="T28" fmla="*/ 85748 w 213"/>
              <a:gd name="T29" fmla="*/ 42811 h 62"/>
              <a:gd name="T30" fmla="*/ 77833 w 213"/>
              <a:gd name="T31" fmla="*/ 47676 h 62"/>
              <a:gd name="T32" fmla="*/ 68598 w 213"/>
              <a:gd name="T33" fmla="*/ 51568 h 62"/>
              <a:gd name="T34" fmla="*/ 59364 w 213"/>
              <a:gd name="T35" fmla="*/ 55460 h 62"/>
              <a:gd name="T36" fmla="*/ 50129 w 213"/>
              <a:gd name="T37" fmla="*/ 57406 h 62"/>
              <a:gd name="T38" fmla="*/ 41775 w 213"/>
              <a:gd name="T39" fmla="*/ 60325 h 62"/>
              <a:gd name="T40" fmla="*/ 35179 w 213"/>
              <a:gd name="T41" fmla="*/ 60325 h 62"/>
              <a:gd name="T42" fmla="*/ 27263 w 213"/>
              <a:gd name="T43" fmla="*/ 60325 h 62"/>
              <a:gd name="T44" fmla="*/ 18908 w 213"/>
              <a:gd name="T45" fmla="*/ 57406 h 62"/>
              <a:gd name="T46" fmla="*/ 14511 w 213"/>
              <a:gd name="T47" fmla="*/ 57406 h 62"/>
              <a:gd name="T48" fmla="*/ 10114 w 213"/>
              <a:gd name="T49" fmla="*/ 57406 h 62"/>
              <a:gd name="T50" fmla="*/ 5277 w 213"/>
              <a:gd name="T51" fmla="*/ 58379 h 62"/>
              <a:gd name="T52" fmla="*/ 0 w 213"/>
              <a:gd name="T53" fmla="*/ 60325 h 62"/>
              <a:gd name="T54" fmla="*/ 2638 w 213"/>
              <a:gd name="T55" fmla="*/ 48649 h 62"/>
              <a:gd name="T56" fmla="*/ 4837 w 213"/>
              <a:gd name="T57" fmla="*/ 37946 h 62"/>
              <a:gd name="T58" fmla="*/ 7475 w 213"/>
              <a:gd name="T59" fmla="*/ 28217 h 62"/>
              <a:gd name="T60" fmla="*/ 10114 w 213"/>
              <a:gd name="T61" fmla="*/ 19460 h 62"/>
              <a:gd name="T62" fmla="*/ 11873 w 213"/>
              <a:gd name="T63" fmla="*/ 15568 h 62"/>
              <a:gd name="T64" fmla="*/ 13192 w 213"/>
              <a:gd name="T65" fmla="*/ 11676 h 62"/>
              <a:gd name="T66" fmla="*/ 14951 w 213"/>
              <a:gd name="T67" fmla="*/ 8757 h 62"/>
              <a:gd name="T68" fmla="*/ 17150 w 213"/>
              <a:gd name="T69" fmla="*/ 5838 h 62"/>
              <a:gd name="T70" fmla="*/ 18908 w 213"/>
              <a:gd name="T71" fmla="*/ 2919 h 62"/>
              <a:gd name="T72" fmla="*/ 21547 w 213"/>
              <a:gd name="T73" fmla="*/ 973 h 62"/>
              <a:gd name="T74" fmla="*/ 23746 w 213"/>
              <a:gd name="T75" fmla="*/ 0 h 62"/>
              <a:gd name="T76" fmla="*/ 26824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43" name="Freeform 494">
            <a:extLst>
              <a:ext uri="{FF2B5EF4-FFF2-40B4-BE49-F238E27FC236}">
                <a16:creationId xmlns:a16="http://schemas.microsoft.com/office/drawing/2014/main" id="{06413AF7-0850-4A37-A8D3-8CE740EA9A51}"/>
              </a:ext>
            </a:extLst>
          </p:cNvPr>
          <p:cNvSpPr>
            <a:spLocks/>
          </p:cNvSpPr>
          <p:nvPr>
            <p:custDataLst>
              <p:tags r:id="rId331"/>
            </p:custDataLst>
          </p:nvPr>
        </p:nvSpPr>
        <p:spPr bwMode="auto">
          <a:xfrm>
            <a:off x="11005301" y="2475277"/>
            <a:ext cx="218945" cy="127998"/>
          </a:xfrm>
          <a:custGeom>
            <a:avLst/>
            <a:gdLst>
              <a:gd name="T0" fmla="*/ 17702 w 239"/>
              <a:gd name="T1" fmla="*/ 0 h 56"/>
              <a:gd name="T2" fmla="*/ 12952 w 239"/>
              <a:gd name="T3" fmla="*/ 3232 h 56"/>
              <a:gd name="T4" fmla="*/ 9930 w 239"/>
              <a:gd name="T5" fmla="*/ 5386 h 56"/>
              <a:gd name="T6" fmla="*/ 8203 w 239"/>
              <a:gd name="T7" fmla="*/ 7541 h 56"/>
              <a:gd name="T8" fmla="*/ 6476 w 239"/>
              <a:gd name="T9" fmla="*/ 9695 h 56"/>
              <a:gd name="T10" fmla="*/ 5613 w 239"/>
              <a:gd name="T11" fmla="*/ 14004 h 56"/>
              <a:gd name="T12" fmla="*/ 4317 w 239"/>
              <a:gd name="T13" fmla="*/ 16158 h 56"/>
              <a:gd name="T14" fmla="*/ 3022 w 239"/>
              <a:gd name="T15" fmla="*/ 18313 h 56"/>
              <a:gd name="T16" fmla="*/ 0 w 239"/>
              <a:gd name="T17" fmla="*/ 20467 h 56"/>
              <a:gd name="T18" fmla="*/ 863 w 239"/>
              <a:gd name="T19" fmla="*/ 25854 h 56"/>
              <a:gd name="T20" fmla="*/ 2159 w 239"/>
              <a:gd name="T21" fmla="*/ 29085 h 56"/>
              <a:gd name="T22" fmla="*/ 3022 w 239"/>
              <a:gd name="T23" fmla="*/ 32317 h 56"/>
              <a:gd name="T24" fmla="*/ 4317 w 239"/>
              <a:gd name="T25" fmla="*/ 35549 h 56"/>
              <a:gd name="T26" fmla="*/ 7340 w 239"/>
              <a:gd name="T27" fmla="*/ 38780 h 56"/>
              <a:gd name="T28" fmla="*/ 10362 w 239"/>
              <a:gd name="T29" fmla="*/ 40935 h 56"/>
              <a:gd name="T30" fmla="*/ 17702 w 239"/>
              <a:gd name="T31" fmla="*/ 40935 h 56"/>
              <a:gd name="T32" fmla="*/ 23314 w 239"/>
              <a:gd name="T33" fmla="*/ 40935 h 56"/>
              <a:gd name="T34" fmla="*/ 66058 w 239"/>
              <a:gd name="T35" fmla="*/ 40935 h 56"/>
              <a:gd name="T36" fmla="*/ 66921 w 239"/>
              <a:gd name="T37" fmla="*/ 44167 h 56"/>
              <a:gd name="T38" fmla="*/ 67353 w 239"/>
              <a:gd name="T39" fmla="*/ 47398 h 56"/>
              <a:gd name="T40" fmla="*/ 68648 w 239"/>
              <a:gd name="T41" fmla="*/ 49553 h 56"/>
              <a:gd name="T42" fmla="*/ 69943 w 239"/>
              <a:gd name="T43" fmla="*/ 51707 h 56"/>
              <a:gd name="T44" fmla="*/ 72102 w 239"/>
              <a:gd name="T45" fmla="*/ 54939 h 56"/>
              <a:gd name="T46" fmla="*/ 75124 w 239"/>
              <a:gd name="T47" fmla="*/ 58171 h 56"/>
              <a:gd name="T48" fmla="*/ 81169 w 239"/>
              <a:gd name="T49" fmla="*/ 60325 h 56"/>
              <a:gd name="T50" fmla="*/ 86350 w 239"/>
              <a:gd name="T51" fmla="*/ 60325 h 56"/>
              <a:gd name="T52" fmla="*/ 88077 w 239"/>
              <a:gd name="T53" fmla="*/ 59248 h 56"/>
              <a:gd name="T54" fmla="*/ 90667 w 239"/>
              <a:gd name="T55" fmla="*/ 58171 h 56"/>
              <a:gd name="T56" fmla="*/ 92394 w 239"/>
              <a:gd name="T57" fmla="*/ 56016 h 56"/>
              <a:gd name="T58" fmla="*/ 94985 w 239"/>
              <a:gd name="T59" fmla="*/ 52784 h 56"/>
              <a:gd name="T60" fmla="*/ 99302 w 239"/>
              <a:gd name="T61" fmla="*/ 46321 h 56"/>
              <a:gd name="T62" fmla="*/ 103188 w 239"/>
              <a:gd name="T63" fmla="*/ 40935 h 56"/>
              <a:gd name="T64" fmla="*/ 100166 w 239"/>
              <a:gd name="T65" fmla="*/ 39858 h 56"/>
              <a:gd name="T66" fmla="*/ 97144 w 239"/>
              <a:gd name="T67" fmla="*/ 38780 h 56"/>
              <a:gd name="T68" fmla="*/ 94553 w 239"/>
              <a:gd name="T69" fmla="*/ 36626 h 56"/>
              <a:gd name="T70" fmla="*/ 91963 w 239"/>
              <a:gd name="T71" fmla="*/ 34471 h 56"/>
              <a:gd name="T72" fmla="*/ 86782 w 239"/>
              <a:gd name="T73" fmla="*/ 28008 h 56"/>
              <a:gd name="T74" fmla="*/ 82032 w 239"/>
              <a:gd name="T75" fmla="*/ 20467 h 56"/>
              <a:gd name="T76" fmla="*/ 76851 w 239"/>
              <a:gd name="T77" fmla="*/ 14004 h 56"/>
              <a:gd name="T78" fmla="*/ 72102 w 239"/>
              <a:gd name="T79" fmla="*/ 6463 h 56"/>
              <a:gd name="T80" fmla="*/ 69080 w 239"/>
              <a:gd name="T81" fmla="*/ 4309 h 56"/>
              <a:gd name="T82" fmla="*/ 66489 w 239"/>
              <a:gd name="T83" fmla="*/ 2154 h 56"/>
              <a:gd name="T84" fmla="*/ 63467 w 239"/>
              <a:gd name="T85" fmla="*/ 1077 h 56"/>
              <a:gd name="T86" fmla="*/ 60445 w 239"/>
              <a:gd name="T87" fmla="*/ 0 h 56"/>
              <a:gd name="T88" fmla="*/ 57854 w 239"/>
              <a:gd name="T89" fmla="*/ 1077 h 56"/>
              <a:gd name="T90" fmla="*/ 54832 w 239"/>
              <a:gd name="T91" fmla="*/ 4309 h 56"/>
              <a:gd name="T92" fmla="*/ 53537 w 239"/>
              <a:gd name="T93" fmla="*/ 6463 h 56"/>
              <a:gd name="T94" fmla="*/ 52673 w 239"/>
              <a:gd name="T95" fmla="*/ 8618 h 56"/>
              <a:gd name="T96" fmla="*/ 52242 w 239"/>
              <a:gd name="T97" fmla="*/ 10772 h 56"/>
              <a:gd name="T98" fmla="*/ 51810 w 239"/>
              <a:gd name="T99" fmla="*/ 14004 h 56"/>
              <a:gd name="T100" fmla="*/ 43175 w 239"/>
              <a:gd name="T101" fmla="*/ 8618 h 56"/>
              <a:gd name="T102" fmla="*/ 34540 w 239"/>
              <a:gd name="T103" fmla="*/ 4309 h 56"/>
              <a:gd name="T104" fmla="*/ 26337 w 239"/>
              <a:gd name="T105" fmla="*/ 1077 h 56"/>
              <a:gd name="T106" fmla="*/ 17702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44" name="Freeform 495">
            <a:extLst>
              <a:ext uri="{FF2B5EF4-FFF2-40B4-BE49-F238E27FC236}">
                <a16:creationId xmlns:a16="http://schemas.microsoft.com/office/drawing/2014/main" id="{03856BBA-9ED2-452E-9698-764A1B9FF4E0}"/>
              </a:ext>
            </a:extLst>
          </p:cNvPr>
          <p:cNvSpPr>
            <a:spLocks/>
          </p:cNvSpPr>
          <p:nvPr>
            <p:custDataLst>
              <p:tags r:id="rId332"/>
            </p:custDataLst>
          </p:nvPr>
        </p:nvSpPr>
        <p:spPr bwMode="auto">
          <a:xfrm>
            <a:off x="11254561" y="2505593"/>
            <a:ext cx="175156" cy="121262"/>
          </a:xfrm>
          <a:custGeom>
            <a:avLst/>
            <a:gdLst>
              <a:gd name="T0" fmla="*/ 6180 w 187"/>
              <a:gd name="T1" fmla="*/ 13573 h 80"/>
              <a:gd name="T2" fmla="*/ 18099 w 187"/>
              <a:gd name="T3" fmla="*/ 0 h 80"/>
              <a:gd name="T4" fmla="*/ 19424 w 187"/>
              <a:gd name="T5" fmla="*/ 2143 h 80"/>
              <a:gd name="T6" fmla="*/ 22072 w 187"/>
              <a:gd name="T7" fmla="*/ 4286 h 80"/>
              <a:gd name="T8" fmla="*/ 25604 w 187"/>
              <a:gd name="T9" fmla="*/ 6429 h 80"/>
              <a:gd name="T10" fmla="*/ 29577 w 187"/>
              <a:gd name="T11" fmla="*/ 8573 h 80"/>
              <a:gd name="T12" fmla="*/ 39289 w 187"/>
              <a:gd name="T13" fmla="*/ 13573 h 80"/>
              <a:gd name="T14" fmla="*/ 50325 w 187"/>
              <a:gd name="T15" fmla="*/ 18574 h 80"/>
              <a:gd name="T16" fmla="*/ 61361 w 187"/>
              <a:gd name="T17" fmla="*/ 23574 h 80"/>
              <a:gd name="T18" fmla="*/ 71072 w 187"/>
              <a:gd name="T19" fmla="*/ 27146 h 80"/>
              <a:gd name="T20" fmla="*/ 78136 w 187"/>
              <a:gd name="T21" fmla="*/ 30004 h 80"/>
              <a:gd name="T22" fmla="*/ 82550 w 187"/>
              <a:gd name="T23" fmla="*/ 30718 h 80"/>
              <a:gd name="T24" fmla="*/ 82550 w 187"/>
              <a:gd name="T25" fmla="*/ 40005 h 80"/>
              <a:gd name="T26" fmla="*/ 82550 w 187"/>
              <a:gd name="T27" fmla="*/ 48578 h 80"/>
              <a:gd name="T28" fmla="*/ 75045 w 187"/>
              <a:gd name="T29" fmla="*/ 50006 h 80"/>
              <a:gd name="T30" fmla="*/ 66658 w 187"/>
              <a:gd name="T31" fmla="*/ 50721 h 80"/>
              <a:gd name="T32" fmla="*/ 58712 w 187"/>
              <a:gd name="T33" fmla="*/ 50721 h 80"/>
              <a:gd name="T34" fmla="*/ 51207 w 187"/>
              <a:gd name="T35" fmla="*/ 50006 h 80"/>
              <a:gd name="T36" fmla="*/ 37523 w 187"/>
              <a:gd name="T37" fmla="*/ 49292 h 80"/>
              <a:gd name="T38" fmla="*/ 26928 w 187"/>
              <a:gd name="T39" fmla="*/ 48578 h 80"/>
              <a:gd name="T40" fmla="*/ 24279 w 187"/>
              <a:gd name="T41" fmla="*/ 49292 h 80"/>
              <a:gd name="T42" fmla="*/ 22514 w 187"/>
              <a:gd name="T43" fmla="*/ 50006 h 80"/>
              <a:gd name="T44" fmla="*/ 19865 w 187"/>
              <a:gd name="T45" fmla="*/ 51435 h 80"/>
              <a:gd name="T46" fmla="*/ 18099 w 187"/>
              <a:gd name="T47" fmla="*/ 52864 h 80"/>
              <a:gd name="T48" fmla="*/ 14568 w 187"/>
              <a:gd name="T49" fmla="*/ 55721 h 80"/>
              <a:gd name="T50" fmla="*/ 12360 w 187"/>
              <a:gd name="T51" fmla="*/ 57150 h 80"/>
              <a:gd name="T52" fmla="*/ 9712 w 187"/>
              <a:gd name="T53" fmla="*/ 56436 h 80"/>
              <a:gd name="T54" fmla="*/ 7946 w 187"/>
              <a:gd name="T55" fmla="*/ 54293 h 80"/>
              <a:gd name="T56" fmla="*/ 6180 w 187"/>
              <a:gd name="T57" fmla="*/ 51435 h 80"/>
              <a:gd name="T58" fmla="*/ 3973 w 187"/>
              <a:gd name="T59" fmla="*/ 47863 h 80"/>
              <a:gd name="T60" fmla="*/ 2649 w 187"/>
              <a:gd name="T61" fmla="*/ 44291 h 80"/>
              <a:gd name="T62" fmla="*/ 1324 w 187"/>
              <a:gd name="T63" fmla="*/ 40719 h 80"/>
              <a:gd name="T64" fmla="*/ 883 w 187"/>
              <a:gd name="T65" fmla="*/ 37862 h 80"/>
              <a:gd name="T66" fmla="*/ 0 w 187"/>
              <a:gd name="T67" fmla="*/ 35719 h 80"/>
              <a:gd name="T68" fmla="*/ 883 w 187"/>
              <a:gd name="T69" fmla="*/ 31433 h 80"/>
              <a:gd name="T70" fmla="*/ 1324 w 187"/>
              <a:gd name="T71" fmla="*/ 28575 h 80"/>
              <a:gd name="T72" fmla="*/ 2207 w 187"/>
              <a:gd name="T73" fmla="*/ 25718 h 80"/>
              <a:gd name="T74" fmla="*/ 3090 w 187"/>
              <a:gd name="T75" fmla="*/ 22146 h 80"/>
              <a:gd name="T76" fmla="*/ 5739 w 187"/>
              <a:gd name="T77" fmla="*/ 17145 h 80"/>
              <a:gd name="T78" fmla="*/ 6180 w 187"/>
              <a:gd name="T79" fmla="*/ 13573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45" name="Freeform 496">
            <a:extLst>
              <a:ext uri="{FF2B5EF4-FFF2-40B4-BE49-F238E27FC236}">
                <a16:creationId xmlns:a16="http://schemas.microsoft.com/office/drawing/2014/main" id="{9AA15848-F10B-4941-BC81-8C47FE0FC269}"/>
              </a:ext>
            </a:extLst>
          </p:cNvPr>
          <p:cNvSpPr>
            <a:spLocks/>
          </p:cNvSpPr>
          <p:nvPr>
            <p:custDataLst>
              <p:tags r:id="rId333"/>
            </p:custDataLst>
          </p:nvPr>
        </p:nvSpPr>
        <p:spPr bwMode="auto">
          <a:xfrm>
            <a:off x="12372862" y="2771694"/>
            <a:ext cx="168419" cy="124631"/>
          </a:xfrm>
          <a:custGeom>
            <a:avLst/>
            <a:gdLst>
              <a:gd name="T0" fmla="*/ 21687 w 183"/>
              <a:gd name="T1" fmla="*/ 0 h 73"/>
              <a:gd name="T2" fmla="*/ 27326 w 183"/>
              <a:gd name="T3" fmla="*/ 0 h 73"/>
              <a:gd name="T4" fmla="*/ 32531 w 183"/>
              <a:gd name="T5" fmla="*/ 805 h 73"/>
              <a:gd name="T6" fmla="*/ 37302 w 183"/>
              <a:gd name="T7" fmla="*/ 3219 h 73"/>
              <a:gd name="T8" fmla="*/ 42073 w 183"/>
              <a:gd name="T9" fmla="*/ 5632 h 73"/>
              <a:gd name="T10" fmla="*/ 45977 w 183"/>
              <a:gd name="T11" fmla="*/ 8046 h 73"/>
              <a:gd name="T12" fmla="*/ 50314 w 183"/>
              <a:gd name="T13" fmla="*/ 12069 h 73"/>
              <a:gd name="T14" fmla="*/ 53784 w 183"/>
              <a:gd name="T15" fmla="*/ 15288 h 73"/>
              <a:gd name="T16" fmla="*/ 56820 w 183"/>
              <a:gd name="T17" fmla="*/ 20116 h 73"/>
              <a:gd name="T18" fmla="*/ 68965 w 183"/>
              <a:gd name="T19" fmla="*/ 39427 h 73"/>
              <a:gd name="T20" fmla="*/ 79375 w 183"/>
              <a:gd name="T21" fmla="*/ 58738 h 73"/>
              <a:gd name="T22" fmla="*/ 59423 w 183"/>
              <a:gd name="T23" fmla="*/ 58738 h 73"/>
              <a:gd name="T24" fmla="*/ 55519 w 183"/>
              <a:gd name="T25" fmla="*/ 57933 h 73"/>
              <a:gd name="T26" fmla="*/ 50748 w 183"/>
              <a:gd name="T27" fmla="*/ 56324 h 73"/>
              <a:gd name="T28" fmla="*/ 45109 w 183"/>
              <a:gd name="T29" fmla="*/ 53106 h 73"/>
              <a:gd name="T30" fmla="*/ 39037 w 183"/>
              <a:gd name="T31" fmla="*/ 49887 h 73"/>
              <a:gd name="T32" fmla="*/ 31663 w 183"/>
              <a:gd name="T33" fmla="*/ 45059 h 73"/>
              <a:gd name="T34" fmla="*/ 25157 w 183"/>
              <a:gd name="T35" fmla="*/ 40232 h 73"/>
              <a:gd name="T36" fmla="*/ 18217 w 183"/>
              <a:gd name="T37" fmla="*/ 35404 h 73"/>
              <a:gd name="T38" fmla="*/ 12145 w 183"/>
              <a:gd name="T39" fmla="*/ 29771 h 73"/>
              <a:gd name="T40" fmla="*/ 6940 w 183"/>
              <a:gd name="T41" fmla="*/ 24139 h 73"/>
              <a:gd name="T42" fmla="*/ 3036 w 183"/>
              <a:gd name="T43" fmla="*/ 18506 h 73"/>
              <a:gd name="T44" fmla="*/ 1735 w 183"/>
              <a:gd name="T45" fmla="*/ 15288 h 73"/>
              <a:gd name="T46" fmla="*/ 867 w 183"/>
              <a:gd name="T47" fmla="*/ 12874 h 73"/>
              <a:gd name="T48" fmla="*/ 434 w 183"/>
              <a:gd name="T49" fmla="*/ 11265 h 73"/>
              <a:gd name="T50" fmla="*/ 0 w 183"/>
              <a:gd name="T51" fmla="*/ 8851 h 73"/>
              <a:gd name="T52" fmla="*/ 434 w 183"/>
              <a:gd name="T53" fmla="*/ 6437 h 73"/>
              <a:gd name="T54" fmla="*/ 1301 w 183"/>
              <a:gd name="T55" fmla="*/ 4828 h 73"/>
              <a:gd name="T56" fmla="*/ 3036 w 183"/>
              <a:gd name="T57" fmla="*/ 3219 h 73"/>
              <a:gd name="T58" fmla="*/ 5639 w 183"/>
              <a:gd name="T59" fmla="*/ 2414 h 73"/>
              <a:gd name="T60" fmla="*/ 8241 w 183"/>
              <a:gd name="T61" fmla="*/ 805 h 73"/>
              <a:gd name="T62" fmla="*/ 12145 w 183"/>
              <a:gd name="T63" fmla="*/ 0 h 73"/>
              <a:gd name="T64" fmla="*/ 16482 w 183"/>
              <a:gd name="T65" fmla="*/ 0 h 73"/>
              <a:gd name="T66" fmla="*/ 2168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46" name="Freeform 497">
            <a:extLst>
              <a:ext uri="{FF2B5EF4-FFF2-40B4-BE49-F238E27FC236}">
                <a16:creationId xmlns:a16="http://schemas.microsoft.com/office/drawing/2014/main" id="{2312A61A-1BCA-482D-8559-F19C8DD675A5}"/>
              </a:ext>
            </a:extLst>
          </p:cNvPr>
          <p:cNvSpPr>
            <a:spLocks/>
          </p:cNvSpPr>
          <p:nvPr>
            <p:custDataLst>
              <p:tags r:id="rId334"/>
            </p:custDataLst>
          </p:nvPr>
        </p:nvSpPr>
        <p:spPr bwMode="auto">
          <a:xfrm>
            <a:off x="12514333" y="2808747"/>
            <a:ext cx="70737" cy="121262"/>
          </a:xfrm>
          <a:custGeom>
            <a:avLst/>
            <a:gdLst>
              <a:gd name="T0" fmla="*/ 0 w 79"/>
              <a:gd name="T1" fmla="*/ 8164 h 42"/>
              <a:gd name="T2" fmla="*/ 9706 w 79"/>
              <a:gd name="T3" fmla="*/ 2721 h 42"/>
              <a:gd name="T4" fmla="*/ 17302 w 79"/>
              <a:gd name="T5" fmla="*/ 1361 h 42"/>
              <a:gd name="T6" fmla="*/ 25320 w 79"/>
              <a:gd name="T7" fmla="*/ 0 h 42"/>
              <a:gd name="T8" fmla="*/ 33338 w 79"/>
              <a:gd name="T9" fmla="*/ 0 h 42"/>
              <a:gd name="T10" fmla="*/ 33338 w 79"/>
              <a:gd name="T11" fmla="*/ 12246 h 42"/>
              <a:gd name="T12" fmla="*/ 33338 w 79"/>
              <a:gd name="T13" fmla="*/ 24493 h 42"/>
              <a:gd name="T14" fmla="*/ 33338 w 79"/>
              <a:gd name="T15" fmla="*/ 29936 h 42"/>
              <a:gd name="T16" fmla="*/ 31650 w 79"/>
              <a:gd name="T17" fmla="*/ 36739 h 42"/>
              <a:gd name="T18" fmla="*/ 30384 w 79"/>
              <a:gd name="T19" fmla="*/ 42182 h 42"/>
              <a:gd name="T20" fmla="*/ 28696 w 79"/>
              <a:gd name="T21" fmla="*/ 47625 h 42"/>
              <a:gd name="T22" fmla="*/ 26164 w 79"/>
              <a:gd name="T23" fmla="*/ 51707 h 42"/>
              <a:gd name="T24" fmla="*/ 24054 w 79"/>
              <a:gd name="T25" fmla="*/ 54429 h 42"/>
              <a:gd name="T26" fmla="*/ 21522 w 79"/>
              <a:gd name="T27" fmla="*/ 57150 h 42"/>
              <a:gd name="T28" fmla="*/ 19412 w 79"/>
              <a:gd name="T29" fmla="*/ 57150 h 42"/>
              <a:gd name="T30" fmla="*/ 16880 w 79"/>
              <a:gd name="T31" fmla="*/ 57150 h 42"/>
              <a:gd name="T32" fmla="*/ 14770 w 79"/>
              <a:gd name="T33" fmla="*/ 55789 h 42"/>
              <a:gd name="T34" fmla="*/ 12238 w 79"/>
              <a:gd name="T35" fmla="*/ 53068 h 42"/>
              <a:gd name="T36" fmla="*/ 10550 w 79"/>
              <a:gd name="T37" fmla="*/ 50346 h 42"/>
              <a:gd name="T38" fmla="*/ 6752 w 79"/>
              <a:gd name="T39" fmla="*/ 43543 h 42"/>
              <a:gd name="T40" fmla="*/ 4642 w 79"/>
              <a:gd name="T41" fmla="*/ 35379 h 42"/>
              <a:gd name="T42" fmla="*/ 2110 w 79"/>
              <a:gd name="T43" fmla="*/ 27214 h 42"/>
              <a:gd name="T44" fmla="*/ 844 w 79"/>
              <a:gd name="T45" fmla="*/ 19050 h 42"/>
              <a:gd name="T46" fmla="*/ 0 w 79"/>
              <a:gd name="T47" fmla="*/ 12246 h 42"/>
              <a:gd name="T48" fmla="*/ 0 w 79"/>
              <a:gd name="T49" fmla="*/ 8164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47" name="Freeform 498">
            <a:extLst>
              <a:ext uri="{FF2B5EF4-FFF2-40B4-BE49-F238E27FC236}">
                <a16:creationId xmlns:a16="http://schemas.microsoft.com/office/drawing/2014/main" id="{9C0F43C8-2270-4739-9180-9424CBF0FD3C}"/>
              </a:ext>
            </a:extLst>
          </p:cNvPr>
          <p:cNvSpPr>
            <a:spLocks/>
          </p:cNvSpPr>
          <p:nvPr>
            <p:custDataLst>
              <p:tags r:id="rId335"/>
            </p:custDataLst>
          </p:nvPr>
        </p:nvSpPr>
        <p:spPr bwMode="auto">
          <a:xfrm>
            <a:off x="12578334" y="2832325"/>
            <a:ext cx="111155" cy="124631"/>
          </a:xfrm>
          <a:custGeom>
            <a:avLst/>
            <a:gdLst>
              <a:gd name="T0" fmla="*/ 52387 w 113"/>
              <a:gd name="T1" fmla="*/ 44054 h 52"/>
              <a:gd name="T2" fmla="*/ 51923 w 113"/>
              <a:gd name="T3" fmla="*/ 47442 h 52"/>
              <a:gd name="T4" fmla="*/ 50533 w 113"/>
              <a:gd name="T5" fmla="*/ 50831 h 52"/>
              <a:gd name="T6" fmla="*/ 49142 w 113"/>
              <a:gd name="T7" fmla="*/ 53090 h 52"/>
              <a:gd name="T8" fmla="*/ 47751 w 113"/>
              <a:gd name="T9" fmla="*/ 55349 h 52"/>
              <a:gd name="T10" fmla="*/ 43579 w 113"/>
              <a:gd name="T11" fmla="*/ 57608 h 52"/>
              <a:gd name="T12" fmla="*/ 39406 w 113"/>
              <a:gd name="T13" fmla="*/ 58738 h 52"/>
              <a:gd name="T14" fmla="*/ 30598 w 113"/>
              <a:gd name="T15" fmla="*/ 58738 h 52"/>
              <a:gd name="T16" fmla="*/ 24571 w 113"/>
              <a:gd name="T17" fmla="*/ 57608 h 52"/>
              <a:gd name="T18" fmla="*/ 21789 w 113"/>
              <a:gd name="T19" fmla="*/ 57608 h 52"/>
              <a:gd name="T20" fmla="*/ 18080 w 113"/>
              <a:gd name="T21" fmla="*/ 54220 h 52"/>
              <a:gd name="T22" fmla="*/ 13908 w 113"/>
              <a:gd name="T23" fmla="*/ 50831 h 52"/>
              <a:gd name="T24" fmla="*/ 9736 w 113"/>
              <a:gd name="T25" fmla="*/ 46313 h 52"/>
              <a:gd name="T26" fmla="*/ 6027 w 113"/>
              <a:gd name="T27" fmla="*/ 40665 h 52"/>
              <a:gd name="T28" fmla="*/ 2782 w 113"/>
              <a:gd name="T29" fmla="*/ 35017 h 52"/>
              <a:gd name="T30" fmla="*/ 1854 w 113"/>
              <a:gd name="T31" fmla="*/ 31628 h 52"/>
              <a:gd name="T32" fmla="*/ 927 w 113"/>
              <a:gd name="T33" fmla="*/ 28239 h 52"/>
              <a:gd name="T34" fmla="*/ 464 w 113"/>
              <a:gd name="T35" fmla="*/ 24851 h 52"/>
              <a:gd name="T36" fmla="*/ 0 w 113"/>
              <a:gd name="T37" fmla="*/ 22592 h 52"/>
              <a:gd name="T38" fmla="*/ 464 w 113"/>
              <a:gd name="T39" fmla="*/ 16944 h 52"/>
              <a:gd name="T40" fmla="*/ 464 w 113"/>
              <a:gd name="T41" fmla="*/ 12425 h 52"/>
              <a:gd name="T42" fmla="*/ 1391 w 113"/>
              <a:gd name="T43" fmla="*/ 9037 h 52"/>
              <a:gd name="T44" fmla="*/ 2318 w 113"/>
              <a:gd name="T45" fmla="*/ 5648 h 52"/>
              <a:gd name="T46" fmla="*/ 3245 w 113"/>
              <a:gd name="T47" fmla="*/ 3389 h 52"/>
              <a:gd name="T48" fmla="*/ 4636 w 113"/>
              <a:gd name="T49" fmla="*/ 2259 h 52"/>
              <a:gd name="T50" fmla="*/ 6490 w 113"/>
              <a:gd name="T51" fmla="*/ 1130 h 52"/>
              <a:gd name="T52" fmla="*/ 7881 w 113"/>
              <a:gd name="T53" fmla="*/ 0 h 52"/>
              <a:gd name="T54" fmla="*/ 12054 w 113"/>
              <a:gd name="T55" fmla="*/ 0 h 52"/>
              <a:gd name="T56" fmla="*/ 16690 w 113"/>
              <a:gd name="T57" fmla="*/ 2259 h 52"/>
              <a:gd name="T58" fmla="*/ 21326 w 113"/>
              <a:gd name="T59" fmla="*/ 5648 h 52"/>
              <a:gd name="T60" fmla="*/ 26425 w 113"/>
              <a:gd name="T61" fmla="*/ 10166 h 52"/>
              <a:gd name="T62" fmla="*/ 35697 w 113"/>
              <a:gd name="T63" fmla="*/ 20332 h 52"/>
              <a:gd name="T64" fmla="*/ 44042 w 113"/>
              <a:gd name="T65" fmla="*/ 32758 h 52"/>
              <a:gd name="T66" fmla="*/ 50069 w 113"/>
              <a:gd name="T67" fmla="*/ 40665 h 52"/>
              <a:gd name="T68" fmla="*/ 52387 w 113"/>
              <a:gd name="T69" fmla="*/ 44054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48" name="Freeform 499">
            <a:extLst>
              <a:ext uri="{FF2B5EF4-FFF2-40B4-BE49-F238E27FC236}">
                <a16:creationId xmlns:a16="http://schemas.microsoft.com/office/drawing/2014/main" id="{1BF3EBE0-8E39-40AF-8A3B-521E7C075EDE}"/>
              </a:ext>
            </a:extLst>
          </p:cNvPr>
          <p:cNvSpPr>
            <a:spLocks/>
          </p:cNvSpPr>
          <p:nvPr>
            <p:custDataLst>
              <p:tags r:id="rId336"/>
            </p:custDataLst>
          </p:nvPr>
        </p:nvSpPr>
        <p:spPr bwMode="auto">
          <a:xfrm>
            <a:off x="12093288" y="2775063"/>
            <a:ext cx="131366" cy="124629"/>
          </a:xfrm>
          <a:custGeom>
            <a:avLst/>
            <a:gdLst>
              <a:gd name="T0" fmla="*/ 0 w 139"/>
              <a:gd name="T1" fmla="*/ 11747 h 40"/>
              <a:gd name="T2" fmla="*/ 3563 w 139"/>
              <a:gd name="T3" fmla="*/ 13216 h 40"/>
              <a:gd name="T4" fmla="*/ 8463 w 139"/>
              <a:gd name="T5" fmla="*/ 11747 h 40"/>
              <a:gd name="T6" fmla="*/ 13362 w 139"/>
              <a:gd name="T7" fmla="*/ 10279 h 40"/>
              <a:gd name="T8" fmla="*/ 18707 w 139"/>
              <a:gd name="T9" fmla="*/ 7342 h 40"/>
              <a:gd name="T10" fmla="*/ 23607 w 139"/>
              <a:gd name="T11" fmla="*/ 2937 h 40"/>
              <a:gd name="T12" fmla="*/ 28506 w 139"/>
              <a:gd name="T13" fmla="*/ 1468 h 40"/>
              <a:gd name="T14" fmla="*/ 32515 w 139"/>
              <a:gd name="T15" fmla="*/ 0 h 40"/>
              <a:gd name="T16" fmla="*/ 35633 w 139"/>
              <a:gd name="T17" fmla="*/ 2937 h 40"/>
              <a:gd name="T18" fmla="*/ 61912 w 139"/>
              <a:gd name="T19" fmla="*/ 57269 h 40"/>
              <a:gd name="T20" fmla="*/ 59240 w 139"/>
              <a:gd name="T21" fmla="*/ 58737 h 40"/>
              <a:gd name="T22" fmla="*/ 55676 w 139"/>
              <a:gd name="T23" fmla="*/ 57269 h 40"/>
              <a:gd name="T24" fmla="*/ 51668 w 139"/>
              <a:gd name="T25" fmla="*/ 55800 h 40"/>
              <a:gd name="T26" fmla="*/ 47213 w 139"/>
              <a:gd name="T27" fmla="*/ 52863 h 40"/>
              <a:gd name="T28" fmla="*/ 38305 w 139"/>
              <a:gd name="T29" fmla="*/ 44053 h 40"/>
              <a:gd name="T30" fmla="*/ 28506 w 139"/>
              <a:gd name="T31" fmla="*/ 35242 h 40"/>
              <a:gd name="T32" fmla="*/ 19598 w 139"/>
              <a:gd name="T33" fmla="*/ 23495 h 40"/>
              <a:gd name="T34" fmla="*/ 11581 w 139"/>
              <a:gd name="T35" fmla="*/ 16153 h 40"/>
              <a:gd name="T36" fmla="*/ 7572 w 139"/>
              <a:gd name="T37" fmla="*/ 13216 h 40"/>
              <a:gd name="T38" fmla="*/ 4900 w 139"/>
              <a:gd name="T39" fmla="*/ 10279 h 40"/>
              <a:gd name="T40" fmla="*/ 1782 w 139"/>
              <a:gd name="T41" fmla="*/ 10279 h 40"/>
              <a:gd name="T42" fmla="*/ 0 w 139"/>
              <a:gd name="T43" fmla="*/ 117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49" name="Freeform 500">
            <a:extLst>
              <a:ext uri="{FF2B5EF4-FFF2-40B4-BE49-F238E27FC236}">
                <a16:creationId xmlns:a16="http://schemas.microsoft.com/office/drawing/2014/main" id="{0F6F24DA-F8B9-4CF1-84DA-9218C9A6F47D}"/>
              </a:ext>
            </a:extLst>
          </p:cNvPr>
          <p:cNvSpPr>
            <a:spLocks/>
          </p:cNvSpPr>
          <p:nvPr>
            <p:custDataLst>
              <p:tags r:id="rId337"/>
            </p:custDataLst>
          </p:nvPr>
        </p:nvSpPr>
        <p:spPr bwMode="auto">
          <a:xfrm>
            <a:off x="12729909" y="2650432"/>
            <a:ext cx="296417" cy="121262"/>
          </a:xfrm>
          <a:custGeom>
            <a:avLst/>
            <a:gdLst>
              <a:gd name="T0" fmla="*/ 4298 w 325"/>
              <a:gd name="T1" fmla="*/ 5635 h 71"/>
              <a:gd name="T2" fmla="*/ 13325 w 325"/>
              <a:gd name="T3" fmla="*/ 805 h 71"/>
              <a:gd name="T4" fmla="*/ 22782 w 325"/>
              <a:gd name="T5" fmla="*/ 0 h 71"/>
              <a:gd name="T6" fmla="*/ 31379 w 325"/>
              <a:gd name="T7" fmla="*/ 3220 h 71"/>
              <a:gd name="T8" fmla="*/ 39546 w 325"/>
              <a:gd name="T9" fmla="*/ 8049 h 71"/>
              <a:gd name="T10" fmla="*/ 47283 w 325"/>
              <a:gd name="T11" fmla="*/ 14489 h 71"/>
              <a:gd name="T12" fmla="*/ 52441 w 325"/>
              <a:gd name="T13" fmla="*/ 23343 h 71"/>
              <a:gd name="T14" fmla="*/ 55880 w 325"/>
              <a:gd name="T15" fmla="*/ 30587 h 71"/>
              <a:gd name="T16" fmla="*/ 58459 w 325"/>
              <a:gd name="T17" fmla="*/ 27368 h 71"/>
              <a:gd name="T18" fmla="*/ 59749 w 325"/>
              <a:gd name="T19" fmla="*/ 12074 h 71"/>
              <a:gd name="T20" fmla="*/ 69205 w 325"/>
              <a:gd name="T21" fmla="*/ 5635 h 71"/>
              <a:gd name="T22" fmla="*/ 92847 w 325"/>
              <a:gd name="T23" fmla="*/ 10464 h 71"/>
              <a:gd name="T24" fmla="*/ 110900 w 325"/>
              <a:gd name="T25" fmla="*/ 18513 h 71"/>
              <a:gd name="T26" fmla="*/ 121646 w 325"/>
              <a:gd name="T27" fmla="*/ 25758 h 71"/>
              <a:gd name="T28" fmla="*/ 131103 w 325"/>
              <a:gd name="T29" fmla="*/ 34612 h 71"/>
              <a:gd name="T30" fmla="*/ 137551 w 325"/>
              <a:gd name="T31" fmla="*/ 44271 h 71"/>
              <a:gd name="T32" fmla="*/ 135831 w 325"/>
              <a:gd name="T33" fmla="*/ 51515 h 71"/>
              <a:gd name="T34" fmla="*/ 126375 w 325"/>
              <a:gd name="T35" fmla="*/ 54735 h 71"/>
              <a:gd name="T36" fmla="*/ 111330 w 325"/>
              <a:gd name="T37" fmla="*/ 57150 h 71"/>
              <a:gd name="T38" fmla="*/ 90268 w 325"/>
              <a:gd name="T39" fmla="*/ 56345 h 71"/>
              <a:gd name="T40" fmla="*/ 71784 w 325"/>
              <a:gd name="T41" fmla="*/ 54735 h 71"/>
              <a:gd name="T42" fmla="*/ 57170 w 325"/>
              <a:gd name="T43" fmla="*/ 55540 h 71"/>
              <a:gd name="T44" fmla="*/ 38686 w 325"/>
              <a:gd name="T45" fmla="*/ 57150 h 71"/>
              <a:gd name="T46" fmla="*/ 30949 w 325"/>
              <a:gd name="T47" fmla="*/ 54735 h 71"/>
              <a:gd name="T48" fmla="*/ 28800 w 325"/>
              <a:gd name="T49" fmla="*/ 51515 h 71"/>
              <a:gd name="T50" fmla="*/ 24931 w 325"/>
              <a:gd name="T51" fmla="*/ 49101 h 71"/>
              <a:gd name="T52" fmla="*/ 19773 w 325"/>
              <a:gd name="T53" fmla="*/ 47491 h 71"/>
              <a:gd name="T54" fmla="*/ 15045 w 325"/>
              <a:gd name="T55" fmla="*/ 42661 h 71"/>
              <a:gd name="T56" fmla="*/ 10746 w 325"/>
              <a:gd name="T57" fmla="*/ 36222 h 71"/>
              <a:gd name="T58" fmla="*/ 6878 w 325"/>
              <a:gd name="T59" fmla="*/ 31392 h 71"/>
              <a:gd name="T60" fmla="*/ 2579 w 325"/>
              <a:gd name="T61" fmla="*/ 29782 h 71"/>
              <a:gd name="T62" fmla="*/ 0 w 325"/>
              <a:gd name="T63" fmla="*/ 17708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50" name="Freeform 501">
            <a:extLst>
              <a:ext uri="{FF2B5EF4-FFF2-40B4-BE49-F238E27FC236}">
                <a16:creationId xmlns:a16="http://schemas.microsoft.com/office/drawing/2014/main" id="{A343D5F5-D834-48DC-82A3-E930251155AC}"/>
              </a:ext>
            </a:extLst>
          </p:cNvPr>
          <p:cNvSpPr>
            <a:spLocks/>
          </p:cNvSpPr>
          <p:nvPr>
            <p:custDataLst>
              <p:tags r:id="rId338"/>
            </p:custDataLst>
          </p:nvPr>
        </p:nvSpPr>
        <p:spPr bwMode="auto">
          <a:xfrm>
            <a:off x="13070116" y="2667275"/>
            <a:ext cx="202103" cy="121262"/>
          </a:xfrm>
          <a:custGeom>
            <a:avLst/>
            <a:gdLst>
              <a:gd name="T0" fmla="*/ 37667 w 220"/>
              <a:gd name="T1" fmla="*/ 19844 h 72"/>
              <a:gd name="T2" fmla="*/ 39832 w 220"/>
              <a:gd name="T3" fmla="*/ 20638 h 72"/>
              <a:gd name="T4" fmla="*/ 42430 w 220"/>
              <a:gd name="T5" fmla="*/ 21431 h 72"/>
              <a:gd name="T6" fmla="*/ 43728 w 220"/>
              <a:gd name="T7" fmla="*/ 22225 h 72"/>
              <a:gd name="T8" fmla="*/ 45027 w 220"/>
              <a:gd name="T9" fmla="*/ 21431 h 72"/>
              <a:gd name="T10" fmla="*/ 47192 w 220"/>
              <a:gd name="T11" fmla="*/ 21431 h 72"/>
              <a:gd name="T12" fmla="*/ 48924 w 220"/>
              <a:gd name="T13" fmla="*/ 19844 h 72"/>
              <a:gd name="T14" fmla="*/ 49357 w 220"/>
              <a:gd name="T15" fmla="*/ 20638 h 72"/>
              <a:gd name="T16" fmla="*/ 49790 w 220"/>
              <a:gd name="T17" fmla="*/ 20638 h 72"/>
              <a:gd name="T18" fmla="*/ 50223 w 220"/>
              <a:gd name="T19" fmla="*/ 19844 h 72"/>
              <a:gd name="T20" fmla="*/ 50656 w 220"/>
              <a:gd name="T21" fmla="*/ 19844 h 72"/>
              <a:gd name="T22" fmla="*/ 51522 w 220"/>
              <a:gd name="T23" fmla="*/ 17463 h 72"/>
              <a:gd name="T24" fmla="*/ 51955 w 220"/>
              <a:gd name="T25" fmla="*/ 13494 h 72"/>
              <a:gd name="T26" fmla="*/ 51955 w 220"/>
              <a:gd name="T27" fmla="*/ 5556 h 72"/>
              <a:gd name="T28" fmla="*/ 51955 w 220"/>
              <a:gd name="T29" fmla="*/ 0 h 72"/>
              <a:gd name="T30" fmla="*/ 54119 w 220"/>
              <a:gd name="T31" fmla="*/ 3969 h 72"/>
              <a:gd name="T32" fmla="*/ 56717 w 220"/>
              <a:gd name="T33" fmla="*/ 7938 h 72"/>
              <a:gd name="T34" fmla="*/ 59315 w 220"/>
              <a:gd name="T35" fmla="*/ 11906 h 72"/>
              <a:gd name="T36" fmla="*/ 61913 w 220"/>
              <a:gd name="T37" fmla="*/ 15081 h 72"/>
              <a:gd name="T38" fmla="*/ 67541 w 220"/>
              <a:gd name="T39" fmla="*/ 19844 h 72"/>
              <a:gd name="T40" fmla="*/ 73602 w 220"/>
              <a:gd name="T41" fmla="*/ 23813 h 72"/>
              <a:gd name="T42" fmla="*/ 79231 w 220"/>
              <a:gd name="T43" fmla="*/ 27781 h 72"/>
              <a:gd name="T44" fmla="*/ 84859 w 220"/>
              <a:gd name="T45" fmla="*/ 32544 h 72"/>
              <a:gd name="T46" fmla="*/ 87890 w 220"/>
              <a:gd name="T47" fmla="*/ 34925 h 72"/>
              <a:gd name="T48" fmla="*/ 90488 w 220"/>
              <a:gd name="T49" fmla="*/ 37306 h 72"/>
              <a:gd name="T50" fmla="*/ 92652 w 220"/>
              <a:gd name="T51" fmla="*/ 40481 h 72"/>
              <a:gd name="T52" fmla="*/ 95250 w 220"/>
              <a:gd name="T53" fmla="*/ 43656 h 72"/>
              <a:gd name="T54" fmla="*/ 89189 w 220"/>
              <a:gd name="T55" fmla="*/ 44450 h 72"/>
              <a:gd name="T56" fmla="*/ 83993 w 220"/>
              <a:gd name="T57" fmla="*/ 45244 h 72"/>
              <a:gd name="T58" fmla="*/ 78798 w 220"/>
              <a:gd name="T59" fmla="*/ 46038 h 72"/>
              <a:gd name="T60" fmla="*/ 74035 w 220"/>
              <a:gd name="T61" fmla="*/ 47625 h 72"/>
              <a:gd name="T62" fmla="*/ 65376 w 220"/>
              <a:gd name="T63" fmla="*/ 51594 h 72"/>
              <a:gd name="T64" fmla="*/ 58016 w 220"/>
              <a:gd name="T65" fmla="*/ 55563 h 72"/>
              <a:gd name="T66" fmla="*/ 54552 w 220"/>
              <a:gd name="T67" fmla="*/ 56356 h 72"/>
              <a:gd name="T68" fmla="*/ 50656 w 220"/>
              <a:gd name="T69" fmla="*/ 57150 h 72"/>
              <a:gd name="T70" fmla="*/ 47625 w 220"/>
              <a:gd name="T71" fmla="*/ 57150 h 72"/>
              <a:gd name="T72" fmla="*/ 44594 w 220"/>
              <a:gd name="T73" fmla="*/ 57150 h 72"/>
              <a:gd name="T74" fmla="*/ 41131 w 220"/>
              <a:gd name="T75" fmla="*/ 55563 h 72"/>
              <a:gd name="T76" fmla="*/ 38100 w 220"/>
              <a:gd name="T77" fmla="*/ 52388 h 72"/>
              <a:gd name="T78" fmla="*/ 35069 w 220"/>
              <a:gd name="T79" fmla="*/ 48419 h 72"/>
              <a:gd name="T80" fmla="*/ 32039 w 220"/>
              <a:gd name="T81" fmla="*/ 43656 h 72"/>
              <a:gd name="T82" fmla="*/ 25544 w 220"/>
              <a:gd name="T83" fmla="*/ 42069 h 72"/>
              <a:gd name="T84" fmla="*/ 19483 w 220"/>
              <a:gd name="T85" fmla="*/ 39688 h 72"/>
              <a:gd name="T86" fmla="*/ 14288 w 220"/>
              <a:gd name="T87" fmla="*/ 37306 h 72"/>
              <a:gd name="T88" fmla="*/ 9525 w 220"/>
              <a:gd name="T89" fmla="*/ 34131 h 72"/>
              <a:gd name="T90" fmla="*/ 7793 w 220"/>
              <a:gd name="T91" fmla="*/ 32544 h 72"/>
              <a:gd name="T92" fmla="*/ 5628 w 220"/>
              <a:gd name="T93" fmla="*/ 30163 h 72"/>
              <a:gd name="T94" fmla="*/ 3897 w 220"/>
              <a:gd name="T95" fmla="*/ 27781 h 72"/>
              <a:gd name="T96" fmla="*/ 3031 w 220"/>
              <a:gd name="T97" fmla="*/ 24606 h 72"/>
              <a:gd name="T98" fmla="*/ 1299 w 220"/>
              <a:gd name="T99" fmla="*/ 21431 h 72"/>
              <a:gd name="T100" fmla="*/ 866 w 220"/>
              <a:gd name="T101" fmla="*/ 18256 h 72"/>
              <a:gd name="T102" fmla="*/ 433 w 220"/>
              <a:gd name="T103" fmla="*/ 14288 h 72"/>
              <a:gd name="T104" fmla="*/ 0 w 220"/>
              <a:gd name="T105" fmla="*/ 10319 h 72"/>
              <a:gd name="T106" fmla="*/ 9958 w 220"/>
              <a:gd name="T107" fmla="*/ 13494 h 72"/>
              <a:gd name="T108" fmla="*/ 19050 w 220"/>
              <a:gd name="T109" fmla="*/ 16669 h 72"/>
              <a:gd name="T110" fmla="*/ 27709 w 220"/>
              <a:gd name="T111" fmla="*/ 19050 h 72"/>
              <a:gd name="T112" fmla="*/ 37667 w 220"/>
              <a:gd name="T113" fmla="*/ 19844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51" name="Freeform 502">
            <a:extLst>
              <a:ext uri="{FF2B5EF4-FFF2-40B4-BE49-F238E27FC236}">
                <a16:creationId xmlns:a16="http://schemas.microsoft.com/office/drawing/2014/main" id="{A0441E69-0CF3-43D7-B645-8E1856C13271}"/>
              </a:ext>
            </a:extLst>
          </p:cNvPr>
          <p:cNvSpPr>
            <a:spLocks/>
          </p:cNvSpPr>
          <p:nvPr>
            <p:custDataLst>
              <p:tags r:id="rId339"/>
            </p:custDataLst>
          </p:nvPr>
        </p:nvSpPr>
        <p:spPr bwMode="auto">
          <a:xfrm>
            <a:off x="12985906" y="2768326"/>
            <a:ext cx="134735" cy="124629"/>
          </a:xfrm>
          <a:custGeom>
            <a:avLst/>
            <a:gdLst>
              <a:gd name="T0" fmla="*/ 63500 w 146"/>
              <a:gd name="T1" fmla="*/ 48948 h 30"/>
              <a:gd name="T2" fmla="*/ 60890 w 146"/>
              <a:gd name="T3" fmla="*/ 31326 h 30"/>
              <a:gd name="T4" fmla="*/ 59586 w 146"/>
              <a:gd name="T5" fmla="*/ 17621 h 30"/>
              <a:gd name="T6" fmla="*/ 57846 w 146"/>
              <a:gd name="T7" fmla="*/ 7832 h 30"/>
              <a:gd name="T8" fmla="*/ 55671 w 146"/>
              <a:gd name="T9" fmla="*/ 1958 h 30"/>
              <a:gd name="T10" fmla="*/ 54801 w 146"/>
              <a:gd name="T11" fmla="*/ 1958 h 30"/>
              <a:gd name="T12" fmla="*/ 53932 w 146"/>
              <a:gd name="T13" fmla="*/ 1958 h 30"/>
              <a:gd name="T14" fmla="*/ 52192 w 146"/>
              <a:gd name="T15" fmla="*/ 3916 h 30"/>
              <a:gd name="T16" fmla="*/ 51322 w 146"/>
              <a:gd name="T17" fmla="*/ 5874 h 30"/>
              <a:gd name="T18" fmla="*/ 49147 w 146"/>
              <a:gd name="T19" fmla="*/ 17621 h 30"/>
              <a:gd name="T20" fmla="*/ 45668 w 146"/>
              <a:gd name="T21" fmla="*/ 37200 h 30"/>
              <a:gd name="T22" fmla="*/ 31315 w 146"/>
              <a:gd name="T23" fmla="*/ 37200 h 30"/>
              <a:gd name="T24" fmla="*/ 27401 w 146"/>
              <a:gd name="T25" fmla="*/ 35242 h 30"/>
              <a:gd name="T26" fmla="*/ 23921 w 146"/>
              <a:gd name="T27" fmla="*/ 33284 h 30"/>
              <a:gd name="T28" fmla="*/ 20442 w 146"/>
              <a:gd name="T29" fmla="*/ 27411 h 30"/>
              <a:gd name="T30" fmla="*/ 17397 w 146"/>
              <a:gd name="T31" fmla="*/ 23495 h 30"/>
              <a:gd name="T32" fmla="*/ 12613 w 146"/>
              <a:gd name="T33" fmla="*/ 11747 h 30"/>
              <a:gd name="T34" fmla="*/ 8264 w 146"/>
              <a:gd name="T35" fmla="*/ 0 h 30"/>
              <a:gd name="T36" fmla="*/ 6089 w 146"/>
              <a:gd name="T37" fmla="*/ 17621 h 30"/>
              <a:gd name="T38" fmla="*/ 4349 w 146"/>
              <a:gd name="T39" fmla="*/ 29369 h 30"/>
              <a:gd name="T40" fmla="*/ 1740 w 146"/>
              <a:gd name="T41" fmla="*/ 39158 h 30"/>
              <a:gd name="T42" fmla="*/ 0 w 146"/>
              <a:gd name="T43" fmla="*/ 48948 h 30"/>
              <a:gd name="T44" fmla="*/ 14353 w 146"/>
              <a:gd name="T45" fmla="*/ 48948 h 30"/>
              <a:gd name="T46" fmla="*/ 24791 w 146"/>
              <a:gd name="T47" fmla="*/ 48948 h 30"/>
              <a:gd name="T48" fmla="*/ 33490 w 146"/>
              <a:gd name="T49" fmla="*/ 48948 h 30"/>
              <a:gd name="T50" fmla="*/ 43058 w 146"/>
              <a:gd name="T51" fmla="*/ 48948 h 30"/>
              <a:gd name="T52" fmla="*/ 47842 w 146"/>
              <a:gd name="T53" fmla="*/ 50905 h 30"/>
              <a:gd name="T54" fmla="*/ 53497 w 146"/>
              <a:gd name="T55" fmla="*/ 56779 h 30"/>
              <a:gd name="T56" fmla="*/ 55671 w 146"/>
              <a:gd name="T57" fmla="*/ 58737 h 30"/>
              <a:gd name="T58" fmla="*/ 58716 w 146"/>
              <a:gd name="T59" fmla="*/ 58737 h 30"/>
              <a:gd name="T60" fmla="*/ 60890 w 146"/>
              <a:gd name="T61" fmla="*/ 54821 h 30"/>
              <a:gd name="T62" fmla="*/ 63500 w 146"/>
              <a:gd name="T63" fmla="*/ 48948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52" name="Freeform 503">
            <a:extLst>
              <a:ext uri="{FF2B5EF4-FFF2-40B4-BE49-F238E27FC236}">
                <a16:creationId xmlns:a16="http://schemas.microsoft.com/office/drawing/2014/main" id="{1798999A-5C47-438E-949E-989918BF5D1C}"/>
              </a:ext>
            </a:extLst>
          </p:cNvPr>
          <p:cNvSpPr>
            <a:spLocks/>
          </p:cNvSpPr>
          <p:nvPr>
            <p:custDataLst>
              <p:tags r:id="rId340"/>
            </p:custDataLst>
          </p:nvPr>
        </p:nvSpPr>
        <p:spPr bwMode="auto">
          <a:xfrm>
            <a:off x="12942118" y="2761590"/>
            <a:ext cx="43788" cy="124629"/>
          </a:xfrm>
          <a:custGeom>
            <a:avLst/>
            <a:gdLst>
              <a:gd name="T0" fmla="*/ 0 w 53"/>
              <a:gd name="T1" fmla="*/ 58737 h 9"/>
              <a:gd name="T2" fmla="*/ 6619 w 53"/>
              <a:gd name="T3" fmla="*/ 58737 h 9"/>
              <a:gd name="T4" fmla="*/ 11292 w 53"/>
              <a:gd name="T5" fmla="*/ 58737 h 9"/>
              <a:gd name="T6" fmla="*/ 15575 w 53"/>
              <a:gd name="T7" fmla="*/ 58737 h 9"/>
              <a:gd name="T8" fmla="*/ 20637 w 53"/>
              <a:gd name="T9" fmla="*/ 58737 h 9"/>
              <a:gd name="T10" fmla="*/ 17911 w 53"/>
              <a:gd name="T11" fmla="*/ 39158 h 9"/>
              <a:gd name="T12" fmla="*/ 14796 w 53"/>
              <a:gd name="T13" fmla="*/ 19579 h 9"/>
              <a:gd name="T14" fmla="*/ 12071 w 53"/>
              <a:gd name="T15" fmla="*/ 6526 h 9"/>
              <a:gd name="T16" fmla="*/ 9734 w 53"/>
              <a:gd name="T17" fmla="*/ 0 h 9"/>
              <a:gd name="T18" fmla="*/ 7398 w 53"/>
              <a:gd name="T19" fmla="*/ 0 h 9"/>
              <a:gd name="T20" fmla="*/ 5451 w 53"/>
              <a:gd name="T21" fmla="*/ 0 h 9"/>
              <a:gd name="T22" fmla="*/ 3504 w 53"/>
              <a:gd name="T23" fmla="*/ 6526 h 9"/>
              <a:gd name="T24" fmla="*/ 2336 w 53"/>
              <a:gd name="T25" fmla="*/ 19579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53" name="Line 504">
            <a:extLst>
              <a:ext uri="{FF2B5EF4-FFF2-40B4-BE49-F238E27FC236}">
                <a16:creationId xmlns:a16="http://schemas.microsoft.com/office/drawing/2014/main" id="{52E5D4A8-147F-4660-A218-8B76987F9235}"/>
              </a:ext>
            </a:extLst>
          </p:cNvPr>
          <p:cNvSpPr>
            <a:spLocks noChangeShapeType="1"/>
          </p:cNvSpPr>
          <p:nvPr>
            <p:custDataLst>
              <p:tags r:id="rId341"/>
            </p:custDataLst>
          </p:nvPr>
        </p:nvSpPr>
        <p:spPr bwMode="auto">
          <a:xfrm flipV="1">
            <a:off x="12945485" y="2758220"/>
            <a:ext cx="0" cy="3369"/>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1054" name="Freeform 505">
            <a:extLst>
              <a:ext uri="{FF2B5EF4-FFF2-40B4-BE49-F238E27FC236}">
                <a16:creationId xmlns:a16="http://schemas.microsoft.com/office/drawing/2014/main" id="{C088C115-7328-4EAA-9F5A-07C678290B54}"/>
              </a:ext>
            </a:extLst>
          </p:cNvPr>
          <p:cNvSpPr>
            <a:spLocks/>
          </p:cNvSpPr>
          <p:nvPr>
            <p:custDataLst>
              <p:tags r:id="rId342"/>
            </p:custDataLst>
          </p:nvPr>
        </p:nvSpPr>
        <p:spPr bwMode="auto">
          <a:xfrm>
            <a:off x="11183826" y="2606644"/>
            <a:ext cx="23578" cy="117892"/>
          </a:xfrm>
          <a:custGeom>
            <a:avLst/>
            <a:gdLst>
              <a:gd name="T0" fmla="*/ 0 w 26"/>
              <a:gd name="T1" fmla="*/ 55562 h 25"/>
              <a:gd name="T2" fmla="*/ 2137 w 26"/>
              <a:gd name="T3" fmla="*/ 37782 h 25"/>
              <a:gd name="T4" fmla="*/ 5556 w 26"/>
              <a:gd name="T5" fmla="*/ 17780 h 25"/>
              <a:gd name="T6" fmla="*/ 6838 w 26"/>
              <a:gd name="T7" fmla="*/ 11112 h 25"/>
              <a:gd name="T8" fmla="*/ 8548 w 26"/>
              <a:gd name="T9" fmla="*/ 4445 h 25"/>
              <a:gd name="T10" fmla="*/ 9830 w 26"/>
              <a:gd name="T11" fmla="*/ 2222 h 25"/>
              <a:gd name="T12" fmla="*/ 11112 w 26"/>
              <a:gd name="T13" fmla="*/ 0 h 25"/>
              <a:gd name="T14" fmla="*/ 11112 w 26"/>
              <a:gd name="T15" fmla="*/ 55562 h 25"/>
              <a:gd name="T16" fmla="*/ 8548 w 26"/>
              <a:gd name="T17" fmla="*/ 55562 h 25"/>
              <a:gd name="T18" fmla="*/ 5556 w 26"/>
              <a:gd name="T19" fmla="*/ 55562 h 25"/>
              <a:gd name="T20" fmla="*/ 0 w 26"/>
              <a:gd name="T21" fmla="*/ 55562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55" name="Freeform 506">
            <a:extLst>
              <a:ext uri="{FF2B5EF4-FFF2-40B4-BE49-F238E27FC236}">
                <a16:creationId xmlns:a16="http://schemas.microsoft.com/office/drawing/2014/main" id="{43A2CF3C-02E3-4A60-85D6-2049CDE2E9E9}"/>
              </a:ext>
            </a:extLst>
          </p:cNvPr>
          <p:cNvSpPr>
            <a:spLocks/>
          </p:cNvSpPr>
          <p:nvPr>
            <p:custDataLst>
              <p:tags r:id="rId343"/>
            </p:custDataLst>
          </p:nvPr>
        </p:nvSpPr>
        <p:spPr bwMode="auto">
          <a:xfrm>
            <a:off x="12773699" y="2758220"/>
            <a:ext cx="20210" cy="121262"/>
          </a:xfrm>
          <a:custGeom>
            <a:avLst/>
            <a:gdLst>
              <a:gd name="T0" fmla="*/ 9525 w 33"/>
              <a:gd name="T1" fmla="*/ 57150 h 25"/>
              <a:gd name="T2" fmla="*/ 9525 w 33"/>
              <a:gd name="T3" fmla="*/ 27432 h 25"/>
              <a:gd name="T4" fmla="*/ 9525 w 33"/>
              <a:gd name="T5" fmla="*/ 0 h 25"/>
              <a:gd name="T6" fmla="*/ 0 w 33"/>
              <a:gd name="T7" fmla="*/ 0 h 25"/>
              <a:gd name="T8" fmla="*/ 2598 w 33"/>
              <a:gd name="T9" fmla="*/ 20574 h 25"/>
              <a:gd name="T10" fmla="*/ 4618 w 33"/>
              <a:gd name="T11" fmla="*/ 38862 h 25"/>
              <a:gd name="T12" fmla="*/ 5773 w 33"/>
              <a:gd name="T13" fmla="*/ 45720 h 25"/>
              <a:gd name="T14" fmla="*/ 6927 w 33"/>
              <a:gd name="T15" fmla="*/ 52578 h 25"/>
              <a:gd name="T16" fmla="*/ 8082 w 33"/>
              <a:gd name="T17" fmla="*/ 54864 h 25"/>
              <a:gd name="T18" fmla="*/ 9525 w 33"/>
              <a:gd name="T19" fmla="*/ 5715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56" name="Freeform 507">
            <a:extLst>
              <a:ext uri="{FF2B5EF4-FFF2-40B4-BE49-F238E27FC236}">
                <a16:creationId xmlns:a16="http://schemas.microsoft.com/office/drawing/2014/main" id="{4EC06362-ED4F-40B8-8871-8ED3D4FC0030}"/>
              </a:ext>
            </a:extLst>
          </p:cNvPr>
          <p:cNvSpPr>
            <a:spLocks/>
          </p:cNvSpPr>
          <p:nvPr>
            <p:custDataLst>
              <p:tags r:id="rId344"/>
            </p:custDataLst>
          </p:nvPr>
        </p:nvSpPr>
        <p:spPr bwMode="auto">
          <a:xfrm>
            <a:off x="12676015" y="2680749"/>
            <a:ext cx="20210" cy="121262"/>
          </a:xfrm>
          <a:custGeom>
            <a:avLst/>
            <a:gdLst>
              <a:gd name="T0" fmla="*/ 0 w 20"/>
              <a:gd name="T1" fmla="*/ 0 h 18"/>
              <a:gd name="T2" fmla="*/ 6191 w 20"/>
              <a:gd name="T3" fmla="*/ 57150 h 18"/>
              <a:gd name="T4" fmla="*/ 7620 w 20"/>
              <a:gd name="T5" fmla="*/ 34925 h 18"/>
              <a:gd name="T6" fmla="*/ 9525 w 20"/>
              <a:gd name="T7" fmla="*/ 0 h 18"/>
              <a:gd name="T8" fmla="*/ 0 w 2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8">
                <a:moveTo>
                  <a:pt x="0" y="0"/>
                </a:moveTo>
                <a:lnTo>
                  <a:pt x="13" y="18"/>
                </a:lnTo>
                <a:lnTo>
                  <a:pt x="16" y="11"/>
                </a:lnTo>
                <a:lnTo>
                  <a:pt x="20" y="0"/>
                </a:lnTo>
                <a:lnTo>
                  <a:pt x="0"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57" name="Freeform 508">
            <a:extLst>
              <a:ext uri="{FF2B5EF4-FFF2-40B4-BE49-F238E27FC236}">
                <a16:creationId xmlns:a16="http://schemas.microsoft.com/office/drawing/2014/main" id="{E693E3F0-9156-4988-B14A-82E91DC90F66}"/>
              </a:ext>
            </a:extLst>
          </p:cNvPr>
          <p:cNvSpPr>
            <a:spLocks/>
          </p:cNvSpPr>
          <p:nvPr>
            <p:custDataLst>
              <p:tags r:id="rId345"/>
            </p:custDataLst>
          </p:nvPr>
        </p:nvSpPr>
        <p:spPr bwMode="auto">
          <a:xfrm>
            <a:off x="13737055" y="3889994"/>
            <a:ext cx="26947" cy="124631"/>
          </a:xfrm>
          <a:custGeom>
            <a:avLst/>
            <a:gdLst>
              <a:gd name="T0" fmla="*/ 0 w 33"/>
              <a:gd name="T1" fmla="*/ 58738 h 31"/>
              <a:gd name="T2" fmla="*/ 0 w 33"/>
              <a:gd name="T3" fmla="*/ 0 h 31"/>
              <a:gd name="T4" fmla="*/ 3464 w 33"/>
              <a:gd name="T5" fmla="*/ 0 h 31"/>
              <a:gd name="T6" fmla="*/ 6158 w 33"/>
              <a:gd name="T7" fmla="*/ 0 h 31"/>
              <a:gd name="T8" fmla="*/ 9236 w 33"/>
              <a:gd name="T9" fmla="*/ 0 h 31"/>
              <a:gd name="T10" fmla="*/ 12700 w 33"/>
              <a:gd name="T11" fmla="*/ 0 h 31"/>
              <a:gd name="T12" fmla="*/ 11545 w 33"/>
              <a:gd name="T13" fmla="*/ 3790 h 31"/>
              <a:gd name="T14" fmla="*/ 11161 w 33"/>
              <a:gd name="T15" fmla="*/ 9474 h 31"/>
              <a:gd name="T16" fmla="*/ 10776 w 33"/>
              <a:gd name="T17" fmla="*/ 17053 h 31"/>
              <a:gd name="T18" fmla="*/ 10776 w 33"/>
              <a:gd name="T19" fmla="*/ 24632 h 31"/>
              <a:gd name="T20" fmla="*/ 10776 w 33"/>
              <a:gd name="T21" fmla="*/ 32211 h 31"/>
              <a:gd name="T22" fmla="*/ 11161 w 33"/>
              <a:gd name="T23" fmla="*/ 39790 h 31"/>
              <a:gd name="T24" fmla="*/ 11545 w 33"/>
              <a:gd name="T25" fmla="*/ 49264 h 31"/>
              <a:gd name="T26" fmla="*/ 12700 w 33"/>
              <a:gd name="T27" fmla="*/ 58738 h 31"/>
              <a:gd name="T28" fmla="*/ 0 w 33"/>
              <a:gd name="T29" fmla="*/ 58738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58" name="Freeform 509">
            <a:extLst>
              <a:ext uri="{FF2B5EF4-FFF2-40B4-BE49-F238E27FC236}">
                <a16:creationId xmlns:a16="http://schemas.microsoft.com/office/drawing/2014/main" id="{4D28D14A-EC84-4860-B299-2451BE5FED44}"/>
              </a:ext>
            </a:extLst>
          </p:cNvPr>
          <p:cNvSpPr>
            <a:spLocks/>
          </p:cNvSpPr>
          <p:nvPr>
            <p:custDataLst>
              <p:tags r:id="rId346"/>
            </p:custDataLst>
          </p:nvPr>
        </p:nvSpPr>
        <p:spPr bwMode="auto">
          <a:xfrm>
            <a:off x="14360203" y="2876114"/>
            <a:ext cx="117894" cy="124629"/>
          </a:xfrm>
          <a:custGeom>
            <a:avLst/>
            <a:gdLst>
              <a:gd name="T0" fmla="*/ 1292 w 129"/>
              <a:gd name="T1" fmla="*/ 46151 h 56"/>
              <a:gd name="T2" fmla="*/ 431 w 129"/>
              <a:gd name="T3" fmla="*/ 44053 h 56"/>
              <a:gd name="T4" fmla="*/ 431 w 129"/>
              <a:gd name="T5" fmla="*/ 41955 h 56"/>
              <a:gd name="T6" fmla="*/ 0 w 129"/>
              <a:gd name="T7" fmla="*/ 38808 h 56"/>
              <a:gd name="T8" fmla="*/ 431 w 129"/>
              <a:gd name="T9" fmla="*/ 34613 h 56"/>
              <a:gd name="T10" fmla="*/ 861 w 129"/>
              <a:gd name="T11" fmla="*/ 26222 h 56"/>
              <a:gd name="T12" fmla="*/ 1292 w 129"/>
              <a:gd name="T13" fmla="*/ 18880 h 56"/>
              <a:gd name="T14" fmla="*/ 3876 w 129"/>
              <a:gd name="T15" fmla="*/ 13635 h 56"/>
              <a:gd name="T16" fmla="*/ 6892 w 129"/>
              <a:gd name="T17" fmla="*/ 9440 h 56"/>
              <a:gd name="T18" fmla="*/ 9045 w 129"/>
              <a:gd name="T19" fmla="*/ 6293 h 56"/>
              <a:gd name="T20" fmla="*/ 11629 w 129"/>
              <a:gd name="T21" fmla="*/ 5244 h 56"/>
              <a:gd name="T22" fmla="*/ 16798 w 129"/>
              <a:gd name="T23" fmla="*/ 3147 h 56"/>
              <a:gd name="T24" fmla="*/ 24551 w 129"/>
              <a:gd name="T25" fmla="*/ 0 h 56"/>
              <a:gd name="T26" fmla="*/ 25843 w 129"/>
              <a:gd name="T27" fmla="*/ 5244 h 56"/>
              <a:gd name="T28" fmla="*/ 27566 w 129"/>
              <a:gd name="T29" fmla="*/ 8391 h 56"/>
              <a:gd name="T30" fmla="*/ 29720 w 129"/>
              <a:gd name="T31" fmla="*/ 11538 h 56"/>
              <a:gd name="T32" fmla="*/ 31443 w 129"/>
              <a:gd name="T33" fmla="*/ 14684 h 56"/>
              <a:gd name="T34" fmla="*/ 35750 w 129"/>
              <a:gd name="T35" fmla="*/ 18880 h 56"/>
              <a:gd name="T36" fmla="*/ 40057 w 129"/>
              <a:gd name="T37" fmla="*/ 22026 h 56"/>
              <a:gd name="T38" fmla="*/ 44364 w 129"/>
              <a:gd name="T39" fmla="*/ 26222 h 56"/>
              <a:gd name="T40" fmla="*/ 48671 w 129"/>
              <a:gd name="T41" fmla="*/ 30417 h 56"/>
              <a:gd name="T42" fmla="*/ 50394 w 129"/>
              <a:gd name="T43" fmla="*/ 33564 h 56"/>
              <a:gd name="T44" fmla="*/ 52117 w 129"/>
              <a:gd name="T45" fmla="*/ 36711 h 56"/>
              <a:gd name="T46" fmla="*/ 54271 w 129"/>
              <a:gd name="T47" fmla="*/ 39857 h 56"/>
              <a:gd name="T48" fmla="*/ 55563 w 129"/>
              <a:gd name="T49" fmla="*/ 46151 h 56"/>
              <a:gd name="T50" fmla="*/ 51256 w 129"/>
              <a:gd name="T51" fmla="*/ 50346 h 56"/>
              <a:gd name="T52" fmla="*/ 46949 w 129"/>
              <a:gd name="T53" fmla="*/ 53493 h 56"/>
              <a:gd name="T54" fmla="*/ 42641 w 129"/>
              <a:gd name="T55" fmla="*/ 55590 h 56"/>
              <a:gd name="T56" fmla="*/ 38765 w 129"/>
              <a:gd name="T57" fmla="*/ 56639 h 56"/>
              <a:gd name="T58" fmla="*/ 30150 w 129"/>
              <a:gd name="T59" fmla="*/ 58737 h 56"/>
              <a:gd name="T60" fmla="*/ 21105 w 129"/>
              <a:gd name="T61" fmla="*/ 58737 h 56"/>
              <a:gd name="T62" fmla="*/ 17229 w 129"/>
              <a:gd name="T63" fmla="*/ 57688 h 56"/>
              <a:gd name="T64" fmla="*/ 13352 w 129"/>
              <a:gd name="T65" fmla="*/ 56639 h 56"/>
              <a:gd name="T66" fmla="*/ 9907 w 129"/>
              <a:gd name="T67" fmla="*/ 54542 h 56"/>
              <a:gd name="T68" fmla="*/ 6892 w 129"/>
              <a:gd name="T69" fmla="*/ 52444 h 56"/>
              <a:gd name="T70" fmla="*/ 2584 w 129"/>
              <a:gd name="T71" fmla="*/ 48248 h 56"/>
              <a:gd name="T72" fmla="*/ 1292 w 129"/>
              <a:gd name="T73" fmla="*/ 4615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59" name="Freeform 510">
            <a:extLst>
              <a:ext uri="{FF2B5EF4-FFF2-40B4-BE49-F238E27FC236}">
                <a16:creationId xmlns:a16="http://schemas.microsoft.com/office/drawing/2014/main" id="{5C8A75B2-6BAA-4E19-AEAB-A9A85C012B8E}"/>
              </a:ext>
            </a:extLst>
          </p:cNvPr>
          <p:cNvSpPr>
            <a:spLocks/>
          </p:cNvSpPr>
          <p:nvPr>
            <p:custDataLst>
              <p:tags r:id="rId347"/>
            </p:custDataLst>
          </p:nvPr>
        </p:nvSpPr>
        <p:spPr bwMode="auto">
          <a:xfrm>
            <a:off x="14649883" y="3623894"/>
            <a:ext cx="30316" cy="121262"/>
          </a:xfrm>
          <a:custGeom>
            <a:avLst/>
            <a:gdLst>
              <a:gd name="T0" fmla="*/ 7318 w 41"/>
              <a:gd name="T1" fmla="*/ 57150 h 42"/>
              <a:gd name="T2" fmla="*/ 0 w 41"/>
              <a:gd name="T3" fmla="*/ 40821 h 42"/>
              <a:gd name="T4" fmla="*/ 0 w 41"/>
              <a:gd name="T5" fmla="*/ 8164 h 42"/>
              <a:gd name="T6" fmla="*/ 2439 w 41"/>
              <a:gd name="T7" fmla="*/ 6804 h 42"/>
              <a:gd name="T8" fmla="*/ 4879 w 41"/>
              <a:gd name="T9" fmla="*/ 4082 h 42"/>
              <a:gd name="T10" fmla="*/ 8364 w 41"/>
              <a:gd name="T11" fmla="*/ 1361 h 42"/>
              <a:gd name="T12" fmla="*/ 11849 w 41"/>
              <a:gd name="T13" fmla="*/ 0 h 42"/>
              <a:gd name="T14" fmla="*/ 11849 w 41"/>
              <a:gd name="T15" fmla="*/ 24493 h 42"/>
              <a:gd name="T16" fmla="*/ 14288 w 41"/>
              <a:gd name="T17" fmla="*/ 24493 h 42"/>
              <a:gd name="T18" fmla="*/ 7318 w 41"/>
              <a:gd name="T19" fmla="*/ 57150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60" name="Freeform 511">
            <a:extLst>
              <a:ext uri="{FF2B5EF4-FFF2-40B4-BE49-F238E27FC236}">
                <a16:creationId xmlns:a16="http://schemas.microsoft.com/office/drawing/2014/main" id="{258A31D1-67BD-446B-A880-DD19B2878AB0}"/>
              </a:ext>
            </a:extLst>
          </p:cNvPr>
          <p:cNvSpPr>
            <a:spLocks/>
          </p:cNvSpPr>
          <p:nvPr>
            <p:custDataLst>
              <p:tags r:id="rId348"/>
            </p:custDataLst>
          </p:nvPr>
        </p:nvSpPr>
        <p:spPr bwMode="auto">
          <a:xfrm>
            <a:off x="14966511" y="3863047"/>
            <a:ext cx="90947" cy="127998"/>
          </a:xfrm>
          <a:custGeom>
            <a:avLst/>
            <a:gdLst>
              <a:gd name="T0" fmla="*/ 27654 w 93"/>
              <a:gd name="T1" fmla="*/ 13921 h 39"/>
              <a:gd name="T2" fmla="*/ 30880 w 93"/>
              <a:gd name="T3" fmla="*/ 27842 h 39"/>
              <a:gd name="T4" fmla="*/ 35489 w 93"/>
              <a:gd name="T5" fmla="*/ 43310 h 39"/>
              <a:gd name="T6" fmla="*/ 37332 w 93"/>
              <a:gd name="T7" fmla="*/ 51044 h 39"/>
              <a:gd name="T8" fmla="*/ 39637 w 93"/>
              <a:gd name="T9" fmla="*/ 55685 h 39"/>
              <a:gd name="T10" fmla="*/ 41480 w 93"/>
              <a:gd name="T11" fmla="*/ 58778 h 39"/>
              <a:gd name="T12" fmla="*/ 42863 w 93"/>
              <a:gd name="T13" fmla="*/ 60325 h 39"/>
              <a:gd name="T14" fmla="*/ 27654 w 93"/>
              <a:gd name="T15" fmla="*/ 60325 h 39"/>
              <a:gd name="T16" fmla="*/ 23045 w 93"/>
              <a:gd name="T17" fmla="*/ 55685 h 39"/>
              <a:gd name="T18" fmla="*/ 19818 w 93"/>
              <a:gd name="T19" fmla="*/ 49497 h 39"/>
              <a:gd name="T20" fmla="*/ 16592 w 93"/>
              <a:gd name="T21" fmla="*/ 43310 h 39"/>
              <a:gd name="T22" fmla="*/ 13827 w 93"/>
              <a:gd name="T23" fmla="*/ 35576 h 39"/>
              <a:gd name="T24" fmla="*/ 11061 w 93"/>
              <a:gd name="T25" fmla="*/ 27842 h 39"/>
              <a:gd name="T26" fmla="*/ 7374 w 93"/>
              <a:gd name="T27" fmla="*/ 20108 h 39"/>
              <a:gd name="T28" fmla="*/ 4148 w 93"/>
              <a:gd name="T29" fmla="*/ 10828 h 39"/>
              <a:gd name="T30" fmla="*/ 0 w 93"/>
              <a:gd name="T31" fmla="*/ 4640 h 39"/>
              <a:gd name="T32" fmla="*/ 5070 w 93"/>
              <a:gd name="T33" fmla="*/ 1547 h 39"/>
              <a:gd name="T34" fmla="*/ 9218 w 93"/>
              <a:gd name="T35" fmla="*/ 0 h 39"/>
              <a:gd name="T36" fmla="*/ 11983 w 93"/>
              <a:gd name="T37" fmla="*/ 0 h 39"/>
              <a:gd name="T38" fmla="*/ 15209 w 93"/>
              <a:gd name="T39" fmla="*/ 1547 h 39"/>
              <a:gd name="T40" fmla="*/ 20279 w 93"/>
              <a:gd name="T41" fmla="*/ 6187 h 39"/>
              <a:gd name="T42" fmla="*/ 27654 w 93"/>
              <a:gd name="T43" fmla="*/ 13921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61" name="Freeform 512">
            <a:extLst>
              <a:ext uri="{FF2B5EF4-FFF2-40B4-BE49-F238E27FC236}">
                <a16:creationId xmlns:a16="http://schemas.microsoft.com/office/drawing/2014/main" id="{24376B53-D27E-4F63-BDEB-203F4A354059}"/>
              </a:ext>
            </a:extLst>
          </p:cNvPr>
          <p:cNvSpPr>
            <a:spLocks/>
          </p:cNvSpPr>
          <p:nvPr>
            <p:custDataLst>
              <p:tags r:id="rId349"/>
            </p:custDataLst>
          </p:nvPr>
        </p:nvSpPr>
        <p:spPr bwMode="auto">
          <a:xfrm>
            <a:off x="15074299" y="3896731"/>
            <a:ext cx="40421" cy="124631"/>
          </a:xfrm>
          <a:custGeom>
            <a:avLst/>
            <a:gdLst>
              <a:gd name="T0" fmla="*/ 19050 w 39"/>
              <a:gd name="T1" fmla="*/ 58738 h 19"/>
              <a:gd name="T2" fmla="*/ 6350 w 39"/>
              <a:gd name="T3" fmla="*/ 58738 h 19"/>
              <a:gd name="T4" fmla="*/ 3908 w 39"/>
              <a:gd name="T5" fmla="*/ 58738 h 19"/>
              <a:gd name="T6" fmla="*/ 2442 w 39"/>
              <a:gd name="T7" fmla="*/ 52555 h 19"/>
              <a:gd name="T8" fmla="*/ 1465 w 39"/>
              <a:gd name="T9" fmla="*/ 43281 h 19"/>
              <a:gd name="T10" fmla="*/ 977 w 39"/>
              <a:gd name="T11" fmla="*/ 34006 h 19"/>
              <a:gd name="T12" fmla="*/ 0 w 39"/>
              <a:gd name="T13" fmla="*/ 15457 h 19"/>
              <a:gd name="T14" fmla="*/ 0 w 39"/>
              <a:gd name="T15" fmla="*/ 0 h 19"/>
              <a:gd name="T16" fmla="*/ 6350 w 39"/>
              <a:gd name="T17" fmla="*/ 12366 h 19"/>
              <a:gd name="T18" fmla="*/ 10746 w 39"/>
              <a:gd name="T19" fmla="*/ 27823 h 19"/>
              <a:gd name="T20" fmla="*/ 14654 w 39"/>
              <a:gd name="T21" fmla="*/ 43281 h 19"/>
              <a:gd name="T22" fmla="*/ 19050 w 39"/>
              <a:gd name="T23" fmla="*/ 58738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62" name="Freeform 513">
            <a:extLst>
              <a:ext uri="{FF2B5EF4-FFF2-40B4-BE49-F238E27FC236}">
                <a16:creationId xmlns:a16="http://schemas.microsoft.com/office/drawing/2014/main" id="{DF3981FA-F231-4C11-ADF3-3F6B6A0A0734}"/>
              </a:ext>
            </a:extLst>
          </p:cNvPr>
          <p:cNvSpPr>
            <a:spLocks/>
          </p:cNvSpPr>
          <p:nvPr>
            <p:custDataLst>
              <p:tags r:id="rId350"/>
            </p:custDataLst>
          </p:nvPr>
        </p:nvSpPr>
        <p:spPr bwMode="auto">
          <a:xfrm>
            <a:off x="14787988" y="4166201"/>
            <a:ext cx="30314" cy="121262"/>
          </a:xfrm>
          <a:custGeom>
            <a:avLst/>
            <a:gdLst>
              <a:gd name="T0" fmla="*/ 0 w 26"/>
              <a:gd name="T1" fmla="*/ 57150 h 36"/>
              <a:gd name="T2" fmla="*/ 1649 w 26"/>
              <a:gd name="T3" fmla="*/ 49213 h 36"/>
              <a:gd name="T4" fmla="*/ 5495 w 26"/>
              <a:gd name="T5" fmla="*/ 31750 h 36"/>
              <a:gd name="T6" fmla="*/ 9891 w 26"/>
              <a:gd name="T7" fmla="*/ 12700 h 36"/>
              <a:gd name="T8" fmla="*/ 14287 w 26"/>
              <a:gd name="T9" fmla="*/ 0 h 36"/>
              <a:gd name="T10" fmla="*/ 14287 w 26"/>
              <a:gd name="T11" fmla="*/ 14288 h 36"/>
              <a:gd name="T12" fmla="*/ 14287 w 26"/>
              <a:gd name="T13" fmla="*/ 28575 h 36"/>
              <a:gd name="T14" fmla="*/ 13738 w 26"/>
              <a:gd name="T15" fmla="*/ 34925 h 36"/>
              <a:gd name="T16" fmla="*/ 13188 w 26"/>
              <a:gd name="T17" fmla="*/ 41275 h 36"/>
              <a:gd name="T18" fmla="*/ 11540 w 26"/>
              <a:gd name="T19" fmla="*/ 46038 h 36"/>
              <a:gd name="T20" fmla="*/ 9342 w 26"/>
              <a:gd name="T21" fmla="*/ 50800 h 36"/>
              <a:gd name="T22" fmla="*/ 7693 w 26"/>
              <a:gd name="T23" fmla="*/ 53975 h 36"/>
              <a:gd name="T24" fmla="*/ 5495 w 26"/>
              <a:gd name="T25" fmla="*/ 55563 h 36"/>
              <a:gd name="T26" fmla="*/ 2198 w 26"/>
              <a:gd name="T27" fmla="*/ 57150 h 36"/>
              <a:gd name="T28" fmla="*/ 0 w 26"/>
              <a:gd name="T29" fmla="*/ 57150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63" name="Freeform 514">
            <a:extLst>
              <a:ext uri="{FF2B5EF4-FFF2-40B4-BE49-F238E27FC236}">
                <a16:creationId xmlns:a16="http://schemas.microsoft.com/office/drawing/2014/main" id="{F179BB5C-07E3-42A2-880F-5A9E8488A870}"/>
              </a:ext>
            </a:extLst>
          </p:cNvPr>
          <p:cNvSpPr>
            <a:spLocks/>
          </p:cNvSpPr>
          <p:nvPr>
            <p:custDataLst>
              <p:tags r:id="rId351"/>
            </p:custDataLst>
          </p:nvPr>
        </p:nvSpPr>
        <p:spPr bwMode="auto">
          <a:xfrm>
            <a:off x="14811565" y="4226832"/>
            <a:ext cx="6737" cy="127998"/>
          </a:xfrm>
          <a:custGeom>
            <a:avLst/>
            <a:gdLst>
              <a:gd name="T0" fmla="*/ 0 w 6"/>
              <a:gd name="T1" fmla="*/ 60325 h 37"/>
              <a:gd name="T2" fmla="*/ 0 w 6"/>
              <a:gd name="T3" fmla="*/ 0 h 37"/>
              <a:gd name="T4" fmla="*/ 3175 w 6"/>
              <a:gd name="T5" fmla="*/ 0 h 37"/>
              <a:gd name="T6" fmla="*/ 3175 w 6"/>
              <a:gd name="T7" fmla="*/ 50543 h 37"/>
              <a:gd name="T8" fmla="*/ 0 w 6"/>
              <a:gd name="T9" fmla="*/ 60325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7">
                <a:moveTo>
                  <a:pt x="0" y="37"/>
                </a:moveTo>
                <a:lnTo>
                  <a:pt x="0" y="0"/>
                </a:lnTo>
                <a:lnTo>
                  <a:pt x="6" y="0"/>
                </a:lnTo>
                <a:lnTo>
                  <a:pt x="6" y="31"/>
                </a:lnTo>
                <a:lnTo>
                  <a:pt x="0" y="37"/>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64" name="Freeform 515">
            <a:extLst>
              <a:ext uri="{FF2B5EF4-FFF2-40B4-BE49-F238E27FC236}">
                <a16:creationId xmlns:a16="http://schemas.microsoft.com/office/drawing/2014/main" id="{659DBFDA-902B-4E22-850F-EC47E48FAEFF}"/>
              </a:ext>
            </a:extLst>
          </p:cNvPr>
          <p:cNvSpPr>
            <a:spLocks/>
          </p:cNvSpPr>
          <p:nvPr>
            <p:custDataLst>
              <p:tags r:id="rId352"/>
            </p:custDataLst>
          </p:nvPr>
        </p:nvSpPr>
        <p:spPr bwMode="auto">
          <a:xfrm>
            <a:off x="14784618" y="4401987"/>
            <a:ext cx="20210" cy="117894"/>
          </a:xfrm>
          <a:custGeom>
            <a:avLst/>
            <a:gdLst>
              <a:gd name="T0" fmla="*/ 0 w 20"/>
              <a:gd name="T1" fmla="*/ 40057 h 43"/>
              <a:gd name="T2" fmla="*/ 0 w 20"/>
              <a:gd name="T3" fmla="*/ 32304 h 43"/>
              <a:gd name="T4" fmla="*/ 0 w 20"/>
              <a:gd name="T5" fmla="*/ 23259 h 43"/>
              <a:gd name="T6" fmla="*/ 953 w 20"/>
              <a:gd name="T7" fmla="*/ 11629 h 43"/>
              <a:gd name="T8" fmla="*/ 3334 w 20"/>
              <a:gd name="T9" fmla="*/ 0 h 43"/>
              <a:gd name="T10" fmla="*/ 5239 w 20"/>
              <a:gd name="T11" fmla="*/ 9045 h 43"/>
              <a:gd name="T12" fmla="*/ 7620 w 20"/>
              <a:gd name="T13" fmla="*/ 15506 h 43"/>
              <a:gd name="T14" fmla="*/ 8096 w 20"/>
              <a:gd name="T15" fmla="*/ 18090 h 43"/>
              <a:gd name="T16" fmla="*/ 9049 w 20"/>
              <a:gd name="T17" fmla="*/ 23259 h 43"/>
              <a:gd name="T18" fmla="*/ 9049 w 20"/>
              <a:gd name="T19" fmla="*/ 27135 h 43"/>
              <a:gd name="T20" fmla="*/ 9525 w 20"/>
              <a:gd name="T21" fmla="*/ 32304 h 43"/>
              <a:gd name="T22" fmla="*/ 9049 w 20"/>
              <a:gd name="T23" fmla="*/ 34888 h 43"/>
              <a:gd name="T24" fmla="*/ 8573 w 20"/>
              <a:gd name="T25" fmla="*/ 38765 h 43"/>
              <a:gd name="T26" fmla="*/ 7620 w 20"/>
              <a:gd name="T27" fmla="*/ 42641 h 43"/>
              <a:gd name="T28" fmla="*/ 5715 w 20"/>
              <a:gd name="T29" fmla="*/ 46518 h 43"/>
              <a:gd name="T30" fmla="*/ 4286 w 20"/>
              <a:gd name="T31" fmla="*/ 50394 h 43"/>
              <a:gd name="T32" fmla="*/ 2858 w 20"/>
              <a:gd name="T33" fmla="*/ 52979 h 43"/>
              <a:gd name="T34" fmla="*/ 953 w 20"/>
              <a:gd name="T35" fmla="*/ 54271 h 43"/>
              <a:gd name="T36" fmla="*/ 0 w 20"/>
              <a:gd name="T37" fmla="*/ 55563 h 43"/>
              <a:gd name="T38" fmla="*/ 0 w 20"/>
              <a:gd name="T39" fmla="*/ 4005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65" name="Freeform 516">
            <a:extLst>
              <a:ext uri="{FF2B5EF4-FFF2-40B4-BE49-F238E27FC236}">
                <a16:creationId xmlns:a16="http://schemas.microsoft.com/office/drawing/2014/main" id="{6C879025-71CE-4FB9-AB6C-F59AEE2E13EF}"/>
              </a:ext>
            </a:extLst>
          </p:cNvPr>
          <p:cNvSpPr>
            <a:spLocks/>
          </p:cNvSpPr>
          <p:nvPr>
            <p:custDataLst>
              <p:tags r:id="rId353"/>
            </p:custDataLst>
          </p:nvPr>
        </p:nvSpPr>
        <p:spPr bwMode="auto">
          <a:xfrm>
            <a:off x="14737461" y="4476092"/>
            <a:ext cx="0" cy="124631"/>
          </a:xfrm>
          <a:custGeom>
            <a:avLst/>
            <a:gdLst>
              <a:gd name="T0" fmla="*/ 58738 h 30"/>
              <a:gd name="T1" fmla="*/ 48948 h 30"/>
              <a:gd name="T2" fmla="*/ 35243 h 30"/>
              <a:gd name="T3" fmla="*/ 17621 h 30"/>
              <a:gd name="T4" fmla="*/ 0 h 30"/>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30">
                <a:moveTo>
                  <a:pt x="0" y="30"/>
                </a:moveTo>
                <a:lnTo>
                  <a:pt x="0" y="25"/>
                </a:lnTo>
                <a:lnTo>
                  <a:pt x="0" y="18"/>
                </a:lnTo>
                <a:lnTo>
                  <a:pt x="0" y="9"/>
                </a:lnTo>
                <a:lnTo>
                  <a:pt x="0"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66" name="Freeform 517">
            <a:extLst>
              <a:ext uri="{FF2B5EF4-FFF2-40B4-BE49-F238E27FC236}">
                <a16:creationId xmlns:a16="http://schemas.microsoft.com/office/drawing/2014/main" id="{DC4BB918-4C96-491B-9097-37C0025E5F0B}"/>
              </a:ext>
            </a:extLst>
          </p:cNvPr>
          <p:cNvSpPr>
            <a:spLocks/>
          </p:cNvSpPr>
          <p:nvPr>
            <p:custDataLst>
              <p:tags r:id="rId354"/>
            </p:custDataLst>
          </p:nvPr>
        </p:nvSpPr>
        <p:spPr bwMode="auto">
          <a:xfrm>
            <a:off x="14737461" y="4476092"/>
            <a:ext cx="16843" cy="124631"/>
          </a:xfrm>
          <a:custGeom>
            <a:avLst/>
            <a:gdLst>
              <a:gd name="T0" fmla="*/ 0 w 20"/>
              <a:gd name="T1" fmla="*/ 0 h 24"/>
              <a:gd name="T2" fmla="*/ 7938 w 20"/>
              <a:gd name="T3" fmla="*/ 0 h 24"/>
              <a:gd name="T4" fmla="*/ 0 w 20"/>
              <a:gd name="T5" fmla="*/ 58738 h 24"/>
              <a:gd name="T6" fmla="*/ 0 60000 65536"/>
              <a:gd name="T7" fmla="*/ 0 60000 65536"/>
              <a:gd name="T8" fmla="*/ 0 60000 65536"/>
            </a:gdLst>
            <a:ahLst/>
            <a:cxnLst>
              <a:cxn ang="T6">
                <a:pos x="T0" y="T1"/>
              </a:cxn>
              <a:cxn ang="T7">
                <a:pos x="T2" y="T3"/>
              </a:cxn>
              <a:cxn ang="T8">
                <a:pos x="T4" y="T5"/>
              </a:cxn>
            </a:cxnLst>
            <a:rect l="0" t="0" r="r" b="b"/>
            <a:pathLst>
              <a:path w="20" h="24">
                <a:moveTo>
                  <a:pt x="0" y="0"/>
                </a:moveTo>
                <a:lnTo>
                  <a:pt x="20" y="0"/>
                </a:lnTo>
                <a:lnTo>
                  <a:pt x="0" y="24"/>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67" name="Freeform 518">
            <a:extLst>
              <a:ext uri="{FF2B5EF4-FFF2-40B4-BE49-F238E27FC236}">
                <a16:creationId xmlns:a16="http://schemas.microsoft.com/office/drawing/2014/main" id="{605ECC10-F94F-4BEE-A4D2-6889249C7DFA}"/>
              </a:ext>
            </a:extLst>
          </p:cNvPr>
          <p:cNvSpPr>
            <a:spLocks/>
          </p:cNvSpPr>
          <p:nvPr>
            <p:custDataLst>
              <p:tags r:id="rId355"/>
            </p:custDataLst>
          </p:nvPr>
        </p:nvSpPr>
        <p:spPr bwMode="auto">
          <a:xfrm>
            <a:off x="14215364" y="3600314"/>
            <a:ext cx="37051" cy="127998"/>
          </a:xfrm>
          <a:custGeom>
            <a:avLst/>
            <a:gdLst>
              <a:gd name="T0" fmla="*/ 0 w 46"/>
              <a:gd name="T1" fmla="*/ 0 h 19"/>
              <a:gd name="T2" fmla="*/ 3416 w 46"/>
              <a:gd name="T3" fmla="*/ 9525 h 19"/>
              <a:gd name="T4" fmla="*/ 5315 w 46"/>
              <a:gd name="T5" fmla="*/ 15875 h 19"/>
              <a:gd name="T6" fmla="*/ 7213 w 46"/>
              <a:gd name="T7" fmla="*/ 25400 h 19"/>
              <a:gd name="T8" fmla="*/ 8731 w 46"/>
              <a:gd name="T9" fmla="*/ 31750 h 19"/>
              <a:gd name="T10" fmla="*/ 9870 w 46"/>
              <a:gd name="T11" fmla="*/ 38100 h 19"/>
              <a:gd name="T12" fmla="*/ 12147 w 46"/>
              <a:gd name="T13" fmla="*/ 44450 h 19"/>
              <a:gd name="T14" fmla="*/ 14046 w 46"/>
              <a:gd name="T15" fmla="*/ 53975 h 19"/>
              <a:gd name="T16" fmla="*/ 17462 w 46"/>
              <a:gd name="T17" fmla="*/ 60325 h 19"/>
              <a:gd name="T18" fmla="*/ 12527 w 46"/>
              <a:gd name="T19" fmla="*/ 60325 h 19"/>
              <a:gd name="T20" fmla="*/ 9111 w 46"/>
              <a:gd name="T21" fmla="*/ 60325 h 19"/>
              <a:gd name="T22" fmla="*/ 6833 w 46"/>
              <a:gd name="T23" fmla="*/ 57150 h 19"/>
              <a:gd name="T24" fmla="*/ 4935 w 46"/>
              <a:gd name="T25" fmla="*/ 53975 h 19"/>
              <a:gd name="T26" fmla="*/ 3796 w 46"/>
              <a:gd name="T27" fmla="*/ 44450 h 19"/>
              <a:gd name="T28" fmla="*/ 2657 w 46"/>
              <a:gd name="T29" fmla="*/ 34925 h 19"/>
              <a:gd name="T30" fmla="*/ 1518 w 46"/>
              <a:gd name="T31" fmla="*/ 22225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68" name="Freeform 519">
            <a:extLst>
              <a:ext uri="{FF2B5EF4-FFF2-40B4-BE49-F238E27FC236}">
                <a16:creationId xmlns:a16="http://schemas.microsoft.com/office/drawing/2014/main" id="{91F316CE-D851-4F85-8DAA-732A41854321}"/>
              </a:ext>
            </a:extLst>
          </p:cNvPr>
          <p:cNvSpPr>
            <a:spLocks/>
          </p:cNvSpPr>
          <p:nvPr>
            <p:custDataLst>
              <p:tags r:id="rId356"/>
            </p:custDataLst>
          </p:nvPr>
        </p:nvSpPr>
        <p:spPr bwMode="auto">
          <a:xfrm>
            <a:off x="8519440" y="3896731"/>
            <a:ext cx="101051" cy="124631"/>
          </a:xfrm>
          <a:custGeom>
            <a:avLst/>
            <a:gdLst>
              <a:gd name="T0" fmla="*/ 15716 w 100"/>
              <a:gd name="T1" fmla="*/ 0 h 55"/>
              <a:gd name="T2" fmla="*/ 47625 w 100"/>
              <a:gd name="T3" fmla="*/ 12816 h 55"/>
              <a:gd name="T4" fmla="*/ 47625 w 100"/>
              <a:gd name="T5" fmla="*/ 58738 h 55"/>
              <a:gd name="T6" fmla="*/ 6191 w 100"/>
              <a:gd name="T7" fmla="*/ 58738 h 55"/>
              <a:gd name="T8" fmla="*/ 0 w 100"/>
              <a:gd name="T9" fmla="*/ 45922 h 55"/>
              <a:gd name="T10" fmla="*/ 476 w 100"/>
              <a:gd name="T11" fmla="*/ 40583 h 55"/>
              <a:gd name="T12" fmla="*/ 1905 w 100"/>
              <a:gd name="T13" fmla="*/ 34175 h 55"/>
              <a:gd name="T14" fmla="*/ 4763 w 100"/>
              <a:gd name="T15" fmla="*/ 26699 h 55"/>
              <a:gd name="T16" fmla="*/ 7620 w 100"/>
              <a:gd name="T17" fmla="*/ 19223 h 55"/>
              <a:gd name="T18" fmla="*/ 12859 w 100"/>
              <a:gd name="T19" fmla="*/ 5340 h 55"/>
              <a:gd name="T20" fmla="*/ 15716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69" name="Freeform 520">
            <a:extLst>
              <a:ext uri="{FF2B5EF4-FFF2-40B4-BE49-F238E27FC236}">
                <a16:creationId xmlns:a16="http://schemas.microsoft.com/office/drawing/2014/main" id="{153D0A1B-32DE-45BA-A587-ABFB543E167F}"/>
              </a:ext>
            </a:extLst>
          </p:cNvPr>
          <p:cNvSpPr>
            <a:spLocks/>
          </p:cNvSpPr>
          <p:nvPr>
            <p:custDataLst>
              <p:tags r:id="rId357"/>
            </p:custDataLst>
          </p:nvPr>
        </p:nvSpPr>
        <p:spPr bwMode="auto">
          <a:xfrm>
            <a:off x="9472692" y="3031060"/>
            <a:ext cx="90945" cy="124629"/>
          </a:xfrm>
          <a:custGeom>
            <a:avLst/>
            <a:gdLst>
              <a:gd name="T0" fmla="*/ 22946 w 99"/>
              <a:gd name="T1" fmla="*/ 2303 h 51"/>
              <a:gd name="T2" fmla="*/ 25111 w 99"/>
              <a:gd name="T3" fmla="*/ 1152 h 51"/>
              <a:gd name="T4" fmla="*/ 26843 w 99"/>
              <a:gd name="T5" fmla="*/ 0 h 51"/>
              <a:gd name="T6" fmla="*/ 28142 w 99"/>
              <a:gd name="T7" fmla="*/ 0 h 51"/>
              <a:gd name="T8" fmla="*/ 29874 w 99"/>
              <a:gd name="T9" fmla="*/ 1152 h 51"/>
              <a:gd name="T10" fmla="*/ 32038 w 99"/>
              <a:gd name="T11" fmla="*/ 5759 h 51"/>
              <a:gd name="T12" fmla="*/ 34203 w 99"/>
              <a:gd name="T13" fmla="*/ 12669 h 51"/>
              <a:gd name="T14" fmla="*/ 35935 w 99"/>
              <a:gd name="T15" fmla="*/ 20731 h 51"/>
              <a:gd name="T16" fmla="*/ 37667 w 99"/>
              <a:gd name="T17" fmla="*/ 28793 h 51"/>
              <a:gd name="T18" fmla="*/ 39398 w 99"/>
              <a:gd name="T19" fmla="*/ 32248 h 51"/>
              <a:gd name="T20" fmla="*/ 40264 w 99"/>
              <a:gd name="T21" fmla="*/ 34551 h 51"/>
              <a:gd name="T22" fmla="*/ 41563 w 99"/>
              <a:gd name="T23" fmla="*/ 36855 h 51"/>
              <a:gd name="T24" fmla="*/ 42862 w 99"/>
              <a:gd name="T25" fmla="*/ 39158 h 51"/>
              <a:gd name="T26" fmla="*/ 42862 w 99"/>
              <a:gd name="T27" fmla="*/ 42613 h 51"/>
              <a:gd name="T28" fmla="*/ 41996 w 99"/>
              <a:gd name="T29" fmla="*/ 46068 h 51"/>
              <a:gd name="T30" fmla="*/ 41130 w 99"/>
              <a:gd name="T31" fmla="*/ 49523 h 51"/>
              <a:gd name="T32" fmla="*/ 39398 w 99"/>
              <a:gd name="T33" fmla="*/ 51827 h 51"/>
              <a:gd name="T34" fmla="*/ 37234 w 99"/>
              <a:gd name="T35" fmla="*/ 54130 h 51"/>
              <a:gd name="T36" fmla="*/ 35069 w 99"/>
              <a:gd name="T37" fmla="*/ 55282 h 51"/>
              <a:gd name="T38" fmla="*/ 32038 w 99"/>
              <a:gd name="T39" fmla="*/ 57585 h 51"/>
              <a:gd name="T40" fmla="*/ 29441 w 99"/>
              <a:gd name="T41" fmla="*/ 57585 h 51"/>
              <a:gd name="T42" fmla="*/ 22513 w 99"/>
              <a:gd name="T43" fmla="*/ 58737 h 51"/>
              <a:gd name="T44" fmla="*/ 15586 w 99"/>
              <a:gd name="T45" fmla="*/ 56434 h 51"/>
              <a:gd name="T46" fmla="*/ 11690 w 99"/>
              <a:gd name="T47" fmla="*/ 55282 h 51"/>
              <a:gd name="T48" fmla="*/ 7793 w 99"/>
              <a:gd name="T49" fmla="*/ 51827 h 51"/>
              <a:gd name="T50" fmla="*/ 3897 w 99"/>
              <a:gd name="T51" fmla="*/ 49523 h 51"/>
              <a:gd name="T52" fmla="*/ 433 w 99"/>
              <a:gd name="T53" fmla="*/ 46068 h 51"/>
              <a:gd name="T54" fmla="*/ 0 w 99"/>
              <a:gd name="T55" fmla="*/ 44917 h 51"/>
              <a:gd name="T56" fmla="*/ 433 w 99"/>
              <a:gd name="T57" fmla="*/ 42613 h 51"/>
              <a:gd name="T58" fmla="*/ 1299 w 99"/>
              <a:gd name="T59" fmla="*/ 40310 h 51"/>
              <a:gd name="T60" fmla="*/ 2598 w 99"/>
              <a:gd name="T61" fmla="*/ 38006 h 51"/>
              <a:gd name="T62" fmla="*/ 6061 w 99"/>
              <a:gd name="T63" fmla="*/ 33399 h 51"/>
              <a:gd name="T64" fmla="*/ 10824 w 99"/>
              <a:gd name="T65" fmla="*/ 27641 h 51"/>
              <a:gd name="T66" fmla="*/ 15153 w 99"/>
              <a:gd name="T67" fmla="*/ 21882 h 51"/>
              <a:gd name="T68" fmla="*/ 19483 w 99"/>
              <a:gd name="T69" fmla="*/ 13820 h 51"/>
              <a:gd name="T70" fmla="*/ 20782 w 99"/>
              <a:gd name="T71" fmla="*/ 11517 h 51"/>
              <a:gd name="T72" fmla="*/ 22080 w 99"/>
              <a:gd name="T73" fmla="*/ 8062 h 51"/>
              <a:gd name="T74" fmla="*/ 22513 w 99"/>
              <a:gd name="T75" fmla="*/ 5759 h 51"/>
              <a:gd name="T76" fmla="*/ 22946 w 99"/>
              <a:gd name="T77" fmla="*/ 2303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70" name="Freeform 521">
            <a:extLst>
              <a:ext uri="{FF2B5EF4-FFF2-40B4-BE49-F238E27FC236}">
                <a16:creationId xmlns:a16="http://schemas.microsoft.com/office/drawing/2014/main" id="{80669B71-05BE-42F7-B6AD-C9EBD97D5EC2}"/>
              </a:ext>
            </a:extLst>
          </p:cNvPr>
          <p:cNvSpPr>
            <a:spLocks/>
          </p:cNvSpPr>
          <p:nvPr>
            <p:custDataLst>
              <p:tags r:id="rId358"/>
            </p:custDataLst>
          </p:nvPr>
        </p:nvSpPr>
        <p:spPr bwMode="auto">
          <a:xfrm>
            <a:off x="9546796" y="2633591"/>
            <a:ext cx="485046" cy="346942"/>
          </a:xfrm>
          <a:custGeom>
            <a:avLst/>
            <a:gdLst>
              <a:gd name="T0" fmla="*/ 137160 w 525"/>
              <a:gd name="T1" fmla="*/ 14196 h 311"/>
              <a:gd name="T2" fmla="*/ 148917 w 525"/>
              <a:gd name="T3" fmla="*/ 11041 h 311"/>
              <a:gd name="T4" fmla="*/ 167640 w 525"/>
              <a:gd name="T5" fmla="*/ 10515 h 311"/>
              <a:gd name="T6" fmla="*/ 177655 w 525"/>
              <a:gd name="T7" fmla="*/ 8938 h 311"/>
              <a:gd name="T8" fmla="*/ 185928 w 525"/>
              <a:gd name="T9" fmla="*/ 3680 h 311"/>
              <a:gd name="T10" fmla="*/ 223810 w 525"/>
              <a:gd name="T11" fmla="*/ 3155 h 311"/>
              <a:gd name="T12" fmla="*/ 228600 w 525"/>
              <a:gd name="T13" fmla="*/ 9989 h 311"/>
              <a:gd name="T14" fmla="*/ 203781 w 525"/>
              <a:gd name="T15" fmla="*/ 24711 h 311"/>
              <a:gd name="T16" fmla="*/ 170688 w 525"/>
              <a:gd name="T17" fmla="*/ 38381 h 311"/>
              <a:gd name="T18" fmla="*/ 155013 w 525"/>
              <a:gd name="T19" fmla="*/ 42061 h 311"/>
              <a:gd name="T20" fmla="*/ 139773 w 525"/>
              <a:gd name="T21" fmla="*/ 43638 h 311"/>
              <a:gd name="T22" fmla="*/ 121485 w 525"/>
              <a:gd name="T23" fmla="*/ 53102 h 311"/>
              <a:gd name="T24" fmla="*/ 106245 w 525"/>
              <a:gd name="T25" fmla="*/ 63617 h 311"/>
              <a:gd name="T26" fmla="*/ 94923 w 525"/>
              <a:gd name="T27" fmla="*/ 67823 h 311"/>
              <a:gd name="T28" fmla="*/ 81425 w 525"/>
              <a:gd name="T29" fmla="*/ 64669 h 311"/>
              <a:gd name="T30" fmla="*/ 77506 w 525"/>
              <a:gd name="T31" fmla="*/ 72029 h 311"/>
              <a:gd name="T32" fmla="*/ 76200 w 525"/>
              <a:gd name="T33" fmla="*/ 76235 h 311"/>
              <a:gd name="T34" fmla="*/ 80554 w 525"/>
              <a:gd name="T35" fmla="*/ 77813 h 311"/>
              <a:gd name="T36" fmla="*/ 80119 w 525"/>
              <a:gd name="T37" fmla="*/ 82545 h 311"/>
              <a:gd name="T38" fmla="*/ 76635 w 525"/>
              <a:gd name="T39" fmla="*/ 87802 h 311"/>
              <a:gd name="T40" fmla="*/ 78377 w 525"/>
              <a:gd name="T41" fmla="*/ 94111 h 311"/>
              <a:gd name="T42" fmla="*/ 70539 w 525"/>
              <a:gd name="T43" fmla="*/ 101998 h 311"/>
              <a:gd name="T44" fmla="*/ 62702 w 525"/>
              <a:gd name="T45" fmla="*/ 107255 h 311"/>
              <a:gd name="T46" fmla="*/ 61395 w 525"/>
              <a:gd name="T47" fmla="*/ 111987 h 311"/>
              <a:gd name="T48" fmla="*/ 62702 w 525"/>
              <a:gd name="T49" fmla="*/ 119874 h 311"/>
              <a:gd name="T50" fmla="*/ 70975 w 525"/>
              <a:gd name="T51" fmla="*/ 129863 h 311"/>
              <a:gd name="T52" fmla="*/ 83167 w 525"/>
              <a:gd name="T53" fmla="*/ 140378 h 311"/>
              <a:gd name="T54" fmla="*/ 111470 w 525"/>
              <a:gd name="T55" fmla="*/ 157729 h 311"/>
              <a:gd name="T56" fmla="*/ 105809 w 525"/>
              <a:gd name="T57" fmla="*/ 163512 h 311"/>
              <a:gd name="T58" fmla="*/ 82296 w 525"/>
              <a:gd name="T59" fmla="*/ 162460 h 311"/>
              <a:gd name="T60" fmla="*/ 63137 w 525"/>
              <a:gd name="T61" fmla="*/ 161935 h 311"/>
              <a:gd name="T62" fmla="*/ 56170 w 525"/>
              <a:gd name="T63" fmla="*/ 159832 h 311"/>
              <a:gd name="T64" fmla="*/ 53558 w 525"/>
              <a:gd name="T65" fmla="*/ 156677 h 311"/>
              <a:gd name="T66" fmla="*/ 52251 w 525"/>
              <a:gd name="T67" fmla="*/ 148265 h 311"/>
              <a:gd name="T68" fmla="*/ 50510 w 525"/>
              <a:gd name="T69" fmla="*/ 146162 h 311"/>
              <a:gd name="T70" fmla="*/ 41366 w 525"/>
              <a:gd name="T71" fmla="*/ 145636 h 311"/>
              <a:gd name="T72" fmla="*/ 34834 w 525"/>
              <a:gd name="T73" fmla="*/ 155626 h 311"/>
              <a:gd name="T74" fmla="*/ 19159 w 525"/>
              <a:gd name="T75" fmla="*/ 148265 h 311"/>
              <a:gd name="T76" fmla="*/ 0 w 525"/>
              <a:gd name="T77" fmla="*/ 129337 h 311"/>
              <a:gd name="T78" fmla="*/ 7838 w 525"/>
              <a:gd name="T79" fmla="*/ 125657 h 311"/>
              <a:gd name="T80" fmla="*/ 14805 w 525"/>
              <a:gd name="T81" fmla="*/ 116719 h 311"/>
              <a:gd name="T82" fmla="*/ 12192 w 525"/>
              <a:gd name="T83" fmla="*/ 111987 h 311"/>
              <a:gd name="T84" fmla="*/ 14805 w 525"/>
              <a:gd name="T85" fmla="*/ 105152 h 311"/>
              <a:gd name="T86" fmla="*/ 17417 w 525"/>
              <a:gd name="T87" fmla="*/ 98843 h 311"/>
              <a:gd name="T88" fmla="*/ 14805 w 525"/>
              <a:gd name="T89" fmla="*/ 94111 h 311"/>
              <a:gd name="T90" fmla="*/ 58347 w 525"/>
              <a:gd name="T91" fmla="*/ 94111 h 311"/>
              <a:gd name="T92" fmla="*/ 57041 w 525"/>
              <a:gd name="T93" fmla="*/ 93060 h 311"/>
              <a:gd name="T94" fmla="*/ 39189 w 525"/>
              <a:gd name="T95" fmla="*/ 87277 h 311"/>
              <a:gd name="T96" fmla="*/ 23513 w 525"/>
              <a:gd name="T97" fmla="*/ 77813 h 311"/>
              <a:gd name="T98" fmla="*/ 36576 w 525"/>
              <a:gd name="T99" fmla="*/ 70452 h 311"/>
              <a:gd name="T100" fmla="*/ 52251 w 525"/>
              <a:gd name="T101" fmla="*/ 58360 h 311"/>
              <a:gd name="T102" fmla="*/ 48333 w 525"/>
              <a:gd name="T103" fmla="*/ 54153 h 311"/>
              <a:gd name="T104" fmla="*/ 43543 w 525"/>
              <a:gd name="T105" fmla="*/ 42061 h 311"/>
              <a:gd name="T106" fmla="*/ 55299 w 525"/>
              <a:gd name="T107" fmla="*/ 39958 h 311"/>
              <a:gd name="T108" fmla="*/ 80119 w 525"/>
              <a:gd name="T109" fmla="*/ 30494 h 311"/>
              <a:gd name="T110" fmla="*/ 110599 w 525"/>
              <a:gd name="T111" fmla="*/ 18402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71" name="Freeform 522">
            <a:extLst>
              <a:ext uri="{FF2B5EF4-FFF2-40B4-BE49-F238E27FC236}">
                <a16:creationId xmlns:a16="http://schemas.microsoft.com/office/drawing/2014/main" id="{9EA589E8-A17D-4385-B5CB-0A8177BD11B3}"/>
              </a:ext>
            </a:extLst>
          </p:cNvPr>
          <p:cNvSpPr>
            <a:spLocks/>
          </p:cNvSpPr>
          <p:nvPr>
            <p:custDataLst>
              <p:tags r:id="rId359"/>
            </p:custDataLst>
          </p:nvPr>
        </p:nvSpPr>
        <p:spPr bwMode="auto">
          <a:xfrm>
            <a:off x="9105538" y="3293793"/>
            <a:ext cx="67368" cy="117892"/>
          </a:xfrm>
          <a:custGeom>
            <a:avLst/>
            <a:gdLst>
              <a:gd name="T0" fmla="*/ 18487 w 79"/>
              <a:gd name="T1" fmla="*/ 0 h 38"/>
              <a:gd name="T2" fmla="*/ 21703 w 79"/>
              <a:gd name="T3" fmla="*/ 1462 h 38"/>
              <a:gd name="T4" fmla="*/ 24918 w 79"/>
              <a:gd name="T5" fmla="*/ 4386 h 38"/>
              <a:gd name="T6" fmla="*/ 27329 w 79"/>
              <a:gd name="T7" fmla="*/ 10235 h 38"/>
              <a:gd name="T8" fmla="*/ 28937 w 79"/>
              <a:gd name="T9" fmla="*/ 17546 h 38"/>
              <a:gd name="T10" fmla="*/ 30142 w 79"/>
              <a:gd name="T11" fmla="*/ 24857 h 38"/>
              <a:gd name="T12" fmla="*/ 30946 w 79"/>
              <a:gd name="T13" fmla="*/ 32167 h 38"/>
              <a:gd name="T14" fmla="*/ 31750 w 79"/>
              <a:gd name="T15" fmla="*/ 39478 h 38"/>
              <a:gd name="T16" fmla="*/ 31750 w 79"/>
              <a:gd name="T17" fmla="*/ 46789 h 38"/>
              <a:gd name="T18" fmla="*/ 30946 w 79"/>
              <a:gd name="T19" fmla="*/ 49713 h 38"/>
              <a:gd name="T20" fmla="*/ 30142 w 79"/>
              <a:gd name="T21" fmla="*/ 51176 h 38"/>
              <a:gd name="T22" fmla="*/ 28937 w 79"/>
              <a:gd name="T23" fmla="*/ 52638 h 38"/>
              <a:gd name="T24" fmla="*/ 27329 w 79"/>
              <a:gd name="T25" fmla="*/ 54100 h 38"/>
              <a:gd name="T26" fmla="*/ 22908 w 79"/>
              <a:gd name="T27" fmla="*/ 55562 h 38"/>
              <a:gd name="T28" fmla="*/ 18487 w 79"/>
              <a:gd name="T29" fmla="*/ 55562 h 38"/>
              <a:gd name="T30" fmla="*/ 15272 w 79"/>
              <a:gd name="T31" fmla="*/ 54100 h 38"/>
              <a:gd name="T32" fmla="*/ 12057 w 79"/>
              <a:gd name="T33" fmla="*/ 52638 h 38"/>
              <a:gd name="T34" fmla="*/ 8440 w 79"/>
              <a:gd name="T35" fmla="*/ 51176 h 38"/>
              <a:gd name="T36" fmla="*/ 6028 w 79"/>
              <a:gd name="T37" fmla="*/ 46789 h 38"/>
              <a:gd name="T38" fmla="*/ 3215 w 79"/>
              <a:gd name="T39" fmla="*/ 42403 h 38"/>
              <a:gd name="T40" fmla="*/ 1608 w 79"/>
              <a:gd name="T41" fmla="*/ 36554 h 38"/>
              <a:gd name="T42" fmla="*/ 804 w 79"/>
              <a:gd name="T43" fmla="*/ 32167 h 38"/>
              <a:gd name="T44" fmla="*/ 402 w 79"/>
              <a:gd name="T45" fmla="*/ 29243 h 38"/>
              <a:gd name="T46" fmla="*/ 0 w 79"/>
              <a:gd name="T47" fmla="*/ 24857 h 38"/>
              <a:gd name="T48" fmla="*/ 0 w 79"/>
              <a:gd name="T49" fmla="*/ 19008 h 38"/>
              <a:gd name="T50" fmla="*/ 402 w 79"/>
              <a:gd name="T51" fmla="*/ 16084 h 38"/>
              <a:gd name="T52" fmla="*/ 1608 w 79"/>
              <a:gd name="T53" fmla="*/ 13159 h 38"/>
              <a:gd name="T54" fmla="*/ 4019 w 79"/>
              <a:gd name="T55" fmla="*/ 8773 h 38"/>
              <a:gd name="T56" fmla="*/ 6832 w 79"/>
              <a:gd name="T57" fmla="*/ 5849 h 38"/>
              <a:gd name="T58" fmla="*/ 12861 w 79"/>
              <a:gd name="T59" fmla="*/ 1462 h 38"/>
              <a:gd name="T60" fmla="*/ 1848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72" name="Freeform 523">
            <a:extLst>
              <a:ext uri="{FF2B5EF4-FFF2-40B4-BE49-F238E27FC236}">
                <a16:creationId xmlns:a16="http://schemas.microsoft.com/office/drawing/2014/main" id="{3BC1BC2A-A23C-4958-B614-916B0FEFD768}"/>
              </a:ext>
            </a:extLst>
          </p:cNvPr>
          <p:cNvSpPr>
            <a:spLocks/>
          </p:cNvSpPr>
          <p:nvPr>
            <p:custDataLst>
              <p:tags r:id="rId360"/>
            </p:custDataLst>
          </p:nvPr>
        </p:nvSpPr>
        <p:spPr bwMode="auto">
          <a:xfrm>
            <a:off x="13996419" y="3923678"/>
            <a:ext cx="417679" cy="569256"/>
          </a:xfrm>
          <a:custGeom>
            <a:avLst/>
            <a:gdLst>
              <a:gd name="T0" fmla="*/ 11151 w 459"/>
              <a:gd name="T1" fmla="*/ 23626 h 511"/>
              <a:gd name="T2" fmla="*/ 5146 w 459"/>
              <a:gd name="T3" fmla="*/ 13126 h 511"/>
              <a:gd name="T4" fmla="*/ 0 w 459"/>
              <a:gd name="T5" fmla="*/ 0 h 511"/>
              <a:gd name="T6" fmla="*/ 9435 w 459"/>
              <a:gd name="T7" fmla="*/ 3675 h 511"/>
              <a:gd name="T8" fmla="*/ 14153 w 459"/>
              <a:gd name="T9" fmla="*/ 3150 h 511"/>
              <a:gd name="T10" fmla="*/ 40742 w 459"/>
              <a:gd name="T11" fmla="*/ 35177 h 511"/>
              <a:gd name="T12" fmla="*/ 62615 w 459"/>
              <a:gd name="T13" fmla="*/ 64578 h 511"/>
              <a:gd name="T14" fmla="*/ 92635 w 459"/>
              <a:gd name="T15" fmla="*/ 103955 h 511"/>
              <a:gd name="T16" fmla="*/ 110648 w 459"/>
              <a:gd name="T17" fmla="*/ 124431 h 511"/>
              <a:gd name="T18" fmla="*/ 129947 w 459"/>
              <a:gd name="T19" fmla="*/ 139657 h 511"/>
              <a:gd name="T20" fmla="*/ 159539 w 459"/>
              <a:gd name="T21" fmla="*/ 163283 h 511"/>
              <a:gd name="T22" fmla="*/ 170689 w 459"/>
              <a:gd name="T23" fmla="*/ 176409 h 511"/>
              <a:gd name="T24" fmla="*/ 156536 w 459"/>
              <a:gd name="T25" fmla="*/ 168008 h 511"/>
              <a:gd name="T26" fmla="*/ 138953 w 459"/>
              <a:gd name="T27" fmla="*/ 155408 h 511"/>
              <a:gd name="T28" fmla="*/ 134664 w 459"/>
              <a:gd name="T29" fmla="*/ 156458 h 511"/>
              <a:gd name="T30" fmla="*/ 134235 w 459"/>
              <a:gd name="T31" fmla="*/ 163283 h 511"/>
              <a:gd name="T32" fmla="*/ 135951 w 459"/>
              <a:gd name="T33" fmla="*/ 176934 h 511"/>
              <a:gd name="T34" fmla="*/ 139811 w 459"/>
              <a:gd name="T35" fmla="*/ 187959 h 511"/>
              <a:gd name="T36" fmla="*/ 149246 w 459"/>
              <a:gd name="T37" fmla="*/ 203185 h 511"/>
              <a:gd name="T38" fmla="*/ 168974 w 459"/>
              <a:gd name="T39" fmla="*/ 221036 h 511"/>
              <a:gd name="T40" fmla="*/ 188702 w 459"/>
              <a:gd name="T41" fmla="*/ 240462 h 511"/>
              <a:gd name="T42" fmla="*/ 192132 w 459"/>
              <a:gd name="T43" fmla="*/ 249912 h 511"/>
              <a:gd name="T44" fmla="*/ 183555 w 459"/>
              <a:gd name="T45" fmla="*/ 246237 h 511"/>
              <a:gd name="T46" fmla="*/ 168116 w 459"/>
              <a:gd name="T47" fmla="*/ 242562 h 511"/>
              <a:gd name="T48" fmla="*/ 168545 w 459"/>
              <a:gd name="T49" fmla="*/ 259363 h 511"/>
              <a:gd name="T50" fmla="*/ 170689 w 459"/>
              <a:gd name="T51" fmla="*/ 268288 h 511"/>
              <a:gd name="T52" fmla="*/ 166400 w 459"/>
              <a:gd name="T53" fmla="*/ 258313 h 511"/>
              <a:gd name="T54" fmla="*/ 155679 w 459"/>
              <a:gd name="T55" fmla="*/ 244662 h 511"/>
              <a:gd name="T56" fmla="*/ 147101 w 459"/>
              <a:gd name="T57" fmla="*/ 233636 h 511"/>
              <a:gd name="T58" fmla="*/ 145386 w 459"/>
              <a:gd name="T59" fmla="*/ 226286 h 511"/>
              <a:gd name="T60" fmla="*/ 140668 w 459"/>
              <a:gd name="T61" fmla="*/ 215785 h 511"/>
              <a:gd name="T62" fmla="*/ 132949 w 459"/>
              <a:gd name="T63" fmla="*/ 201610 h 511"/>
              <a:gd name="T64" fmla="*/ 127802 w 459"/>
              <a:gd name="T65" fmla="*/ 192684 h 511"/>
              <a:gd name="T66" fmla="*/ 120083 w 459"/>
              <a:gd name="T67" fmla="*/ 187959 h 511"/>
              <a:gd name="T68" fmla="*/ 113221 w 459"/>
              <a:gd name="T69" fmla="*/ 180084 h 511"/>
              <a:gd name="T70" fmla="*/ 106788 w 459"/>
              <a:gd name="T71" fmla="*/ 164858 h 511"/>
              <a:gd name="T72" fmla="*/ 105072 w 459"/>
              <a:gd name="T73" fmla="*/ 153832 h 511"/>
              <a:gd name="T74" fmla="*/ 100355 w 459"/>
              <a:gd name="T75" fmla="*/ 147532 h 511"/>
              <a:gd name="T76" fmla="*/ 83200 w 459"/>
              <a:gd name="T77" fmla="*/ 128106 h 511"/>
              <a:gd name="T78" fmla="*/ 73336 w 459"/>
              <a:gd name="T79" fmla="*/ 115506 h 511"/>
              <a:gd name="T80" fmla="*/ 69905 w 459"/>
              <a:gd name="T81" fmla="*/ 106580 h 511"/>
              <a:gd name="T82" fmla="*/ 66046 w 459"/>
              <a:gd name="T83" fmla="*/ 98180 h 511"/>
              <a:gd name="T84" fmla="*/ 49320 w 459"/>
              <a:gd name="T85" fmla="*/ 81379 h 511"/>
              <a:gd name="T86" fmla="*/ 30021 w 459"/>
              <a:gd name="T87" fmla="*/ 68253 h 511"/>
              <a:gd name="T88" fmla="*/ 20157 w 459"/>
              <a:gd name="T89" fmla="*/ 57753 h 511"/>
              <a:gd name="T90" fmla="*/ 16297 w 459"/>
              <a:gd name="T91" fmla="*/ 48827 h 511"/>
              <a:gd name="T92" fmla="*/ 14581 w 459"/>
              <a:gd name="T93" fmla="*/ 3937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grpSp>
        <p:nvGrpSpPr>
          <p:cNvPr id="1073" name="Group 524">
            <a:extLst>
              <a:ext uri="{FF2B5EF4-FFF2-40B4-BE49-F238E27FC236}">
                <a16:creationId xmlns:a16="http://schemas.microsoft.com/office/drawing/2014/main" id="{108CEBED-AE71-4A8C-AC39-E5017E9E825E}"/>
              </a:ext>
            </a:extLst>
          </p:cNvPr>
          <p:cNvGrpSpPr>
            <a:grpSpLocks/>
          </p:cNvGrpSpPr>
          <p:nvPr>
            <p:custDataLst>
              <p:tags r:id="rId361"/>
            </p:custDataLst>
          </p:nvPr>
        </p:nvGrpSpPr>
        <p:grpSpPr bwMode="auto">
          <a:xfrm>
            <a:off x="11429717" y="3829364"/>
            <a:ext cx="1424824" cy="815147"/>
            <a:chOff x="4115" y="1551"/>
            <a:chExt cx="504" cy="244"/>
          </a:xfrm>
          <a:solidFill>
            <a:schemeClr val="bg2">
              <a:lumMod val="50000"/>
              <a:alpha val="18000"/>
            </a:schemeClr>
          </a:solidFill>
        </p:grpSpPr>
        <p:sp>
          <p:nvSpPr>
            <p:cNvPr id="1074" name="Freeform 525">
              <a:extLst>
                <a:ext uri="{FF2B5EF4-FFF2-40B4-BE49-F238E27FC236}">
                  <a16:creationId xmlns:a16="http://schemas.microsoft.com/office/drawing/2014/main" id="{2D7FD960-A696-4A60-9C35-DD535468F44E}"/>
                </a:ext>
              </a:extLst>
            </p:cNvPr>
            <p:cNvSpPr>
              <a:spLocks/>
            </p:cNvSpPr>
            <p:nvPr/>
          </p:nvSpPr>
          <p:spPr bwMode="auto">
            <a:xfrm>
              <a:off x="4540" y="1551"/>
              <a:ext cx="79" cy="86"/>
            </a:xfrm>
            <a:custGeom>
              <a:avLst/>
              <a:gdLst>
                <a:gd name="T0" fmla="*/ 4 w 240"/>
                <a:gd name="T1" fmla="*/ 82 h 259"/>
                <a:gd name="T2" fmla="*/ 26 w 240"/>
                <a:gd name="T3" fmla="*/ 86 h 259"/>
                <a:gd name="T4" fmla="*/ 40 w 240"/>
                <a:gd name="T5" fmla="*/ 80 h 259"/>
                <a:gd name="T6" fmla="*/ 44 w 240"/>
                <a:gd name="T7" fmla="*/ 70 h 259"/>
                <a:gd name="T8" fmla="*/ 63 w 240"/>
                <a:gd name="T9" fmla="*/ 53 h 259"/>
                <a:gd name="T10" fmla="*/ 70 w 240"/>
                <a:gd name="T11" fmla="*/ 37 h 259"/>
                <a:gd name="T12" fmla="*/ 79 w 240"/>
                <a:gd name="T13" fmla="*/ 9 h 259"/>
                <a:gd name="T14" fmla="*/ 70 w 240"/>
                <a:gd name="T15" fmla="*/ 0 h 259"/>
                <a:gd name="T16" fmla="*/ 68 w 240"/>
                <a:gd name="T17" fmla="*/ 11 h 259"/>
                <a:gd name="T18" fmla="*/ 66 w 240"/>
                <a:gd name="T19" fmla="*/ 25 h 259"/>
                <a:gd name="T20" fmla="*/ 55 w 240"/>
                <a:gd name="T21" fmla="*/ 35 h 259"/>
                <a:gd name="T22" fmla="*/ 44 w 240"/>
                <a:gd name="T23" fmla="*/ 49 h 259"/>
                <a:gd name="T24" fmla="*/ 37 w 240"/>
                <a:gd name="T25" fmla="*/ 59 h 259"/>
                <a:gd name="T26" fmla="*/ 31 w 240"/>
                <a:gd name="T27" fmla="*/ 72 h 259"/>
                <a:gd name="T28" fmla="*/ 7 w 240"/>
                <a:gd name="T29" fmla="*/ 74 h 259"/>
                <a:gd name="T30" fmla="*/ 0 w 240"/>
                <a:gd name="T31" fmla="*/ 74 h 259"/>
                <a:gd name="T32" fmla="*/ 4 w 240"/>
                <a:gd name="T33" fmla="*/ 82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9525" cmpd="sng">
              <a:solidFill>
                <a:srgbClr val="FFFFFF"/>
              </a:solidFill>
              <a:prstDash val="solid"/>
              <a:round/>
              <a:headEnd/>
              <a:tailEnd/>
            </a:ln>
          </p:spPr>
          <p:txBody>
            <a:bodyPr/>
            <a:lstStyle/>
            <a:p>
              <a:endParaRPr lang="es-ES" dirty="0"/>
            </a:p>
          </p:txBody>
        </p:sp>
        <p:sp>
          <p:nvSpPr>
            <p:cNvPr id="1075" name="Freeform 526">
              <a:extLst>
                <a:ext uri="{FF2B5EF4-FFF2-40B4-BE49-F238E27FC236}">
                  <a16:creationId xmlns:a16="http://schemas.microsoft.com/office/drawing/2014/main" id="{AF978DDF-754E-494D-AECF-15562D61B324}"/>
                </a:ext>
              </a:extLst>
            </p:cNvPr>
            <p:cNvSpPr>
              <a:spLocks/>
            </p:cNvSpPr>
            <p:nvPr/>
          </p:nvSpPr>
          <p:spPr bwMode="auto">
            <a:xfrm>
              <a:off x="4115" y="1761"/>
              <a:ext cx="84" cy="34"/>
            </a:xfrm>
            <a:custGeom>
              <a:avLst/>
              <a:gdLst>
                <a:gd name="T0" fmla="*/ 11 w 259"/>
                <a:gd name="T1" fmla="*/ 34 h 104"/>
                <a:gd name="T2" fmla="*/ 8 w 259"/>
                <a:gd name="T3" fmla="*/ 28 h 104"/>
                <a:gd name="T4" fmla="*/ 17 w 259"/>
                <a:gd name="T5" fmla="*/ 20 h 104"/>
                <a:gd name="T6" fmla="*/ 23 w 259"/>
                <a:gd name="T7" fmla="*/ 16 h 104"/>
                <a:gd name="T8" fmla="*/ 41 w 259"/>
                <a:gd name="T9" fmla="*/ 14 h 104"/>
                <a:gd name="T10" fmla="*/ 56 w 259"/>
                <a:gd name="T11" fmla="*/ 14 h 104"/>
                <a:gd name="T12" fmla="*/ 80 w 259"/>
                <a:gd name="T13" fmla="*/ 10 h 104"/>
                <a:gd name="T14" fmla="*/ 84 w 259"/>
                <a:gd name="T15" fmla="*/ 2 h 104"/>
                <a:gd name="T16" fmla="*/ 80 w 259"/>
                <a:gd name="T17" fmla="*/ 0 h 104"/>
                <a:gd name="T18" fmla="*/ 66 w 259"/>
                <a:gd name="T19" fmla="*/ 4 h 104"/>
                <a:gd name="T20" fmla="*/ 49 w 259"/>
                <a:gd name="T21" fmla="*/ 2 h 104"/>
                <a:gd name="T22" fmla="*/ 34 w 259"/>
                <a:gd name="T23" fmla="*/ 4 h 104"/>
                <a:gd name="T24" fmla="*/ 17 w 259"/>
                <a:gd name="T25" fmla="*/ 6 h 104"/>
                <a:gd name="T26" fmla="*/ 8 w 259"/>
                <a:gd name="T27" fmla="*/ 14 h 104"/>
                <a:gd name="T28" fmla="*/ 0 w 259"/>
                <a:gd name="T29" fmla="*/ 22 h 104"/>
                <a:gd name="T30" fmla="*/ 0 w 259"/>
                <a:gd name="T31" fmla="*/ 34 h 104"/>
                <a:gd name="T32" fmla="*/ 11 w 259"/>
                <a:gd name="T33" fmla="*/ 34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9525" cmpd="sng">
              <a:solidFill>
                <a:srgbClr val="FFFFFF"/>
              </a:solidFill>
              <a:prstDash val="solid"/>
              <a:round/>
              <a:headEnd/>
              <a:tailEnd/>
            </a:ln>
          </p:spPr>
          <p:txBody>
            <a:bodyPr/>
            <a:lstStyle/>
            <a:p>
              <a:endParaRPr lang="es-ES" dirty="0"/>
            </a:p>
          </p:txBody>
        </p:sp>
      </p:grpSp>
      <p:sp>
        <p:nvSpPr>
          <p:cNvPr id="1076" name="Freeform 527">
            <a:extLst>
              <a:ext uri="{FF2B5EF4-FFF2-40B4-BE49-F238E27FC236}">
                <a16:creationId xmlns:a16="http://schemas.microsoft.com/office/drawing/2014/main" id="{884522E8-73AA-4F4E-B4B5-720ED997A4A5}"/>
              </a:ext>
            </a:extLst>
          </p:cNvPr>
          <p:cNvSpPr>
            <a:spLocks/>
          </p:cNvSpPr>
          <p:nvPr>
            <p:custDataLst>
              <p:tags r:id="rId362"/>
            </p:custDataLst>
          </p:nvPr>
        </p:nvSpPr>
        <p:spPr bwMode="auto">
          <a:xfrm>
            <a:off x="9428902" y="5419237"/>
            <a:ext cx="1125037" cy="1084617"/>
          </a:xfrm>
          <a:custGeom>
            <a:avLst/>
            <a:gdLst>
              <a:gd name="T0" fmla="*/ 402746 w 1227"/>
              <a:gd name="T1" fmla="*/ 243317 h 979"/>
              <a:gd name="T2" fmla="*/ 402746 w 1227"/>
              <a:gd name="T3" fmla="*/ 230786 h 979"/>
              <a:gd name="T4" fmla="*/ 401882 w 1227"/>
              <a:gd name="T5" fmla="*/ 215122 h 979"/>
              <a:gd name="T6" fmla="*/ 392375 w 1227"/>
              <a:gd name="T7" fmla="*/ 201024 h 979"/>
              <a:gd name="T8" fmla="*/ 388486 w 1227"/>
              <a:gd name="T9" fmla="*/ 191625 h 979"/>
              <a:gd name="T10" fmla="*/ 353051 w 1227"/>
              <a:gd name="T11" fmla="*/ 162908 h 979"/>
              <a:gd name="T12" fmla="*/ 327988 w 1227"/>
              <a:gd name="T13" fmla="*/ 137323 h 979"/>
              <a:gd name="T14" fmla="*/ 324963 w 1227"/>
              <a:gd name="T15" fmla="*/ 119570 h 979"/>
              <a:gd name="T16" fmla="*/ 313727 w 1227"/>
              <a:gd name="T17" fmla="*/ 113827 h 979"/>
              <a:gd name="T18" fmla="*/ 300331 w 1227"/>
              <a:gd name="T19" fmla="*/ 108083 h 979"/>
              <a:gd name="T20" fmla="*/ 275700 w 1227"/>
              <a:gd name="T21" fmla="*/ 102339 h 979"/>
              <a:gd name="T22" fmla="*/ 257550 w 1227"/>
              <a:gd name="T23" fmla="*/ 104950 h 979"/>
              <a:gd name="T24" fmla="*/ 246315 w 1227"/>
              <a:gd name="T25" fmla="*/ 106517 h 979"/>
              <a:gd name="T26" fmla="*/ 229030 w 1227"/>
              <a:gd name="T27" fmla="*/ 101817 h 979"/>
              <a:gd name="T28" fmla="*/ 218226 w 1227"/>
              <a:gd name="T29" fmla="*/ 93463 h 979"/>
              <a:gd name="T30" fmla="*/ 208719 w 1227"/>
              <a:gd name="T31" fmla="*/ 66834 h 979"/>
              <a:gd name="T32" fmla="*/ 200941 w 1227"/>
              <a:gd name="T33" fmla="*/ 53780 h 979"/>
              <a:gd name="T34" fmla="*/ 186681 w 1227"/>
              <a:gd name="T35" fmla="*/ 42293 h 979"/>
              <a:gd name="T36" fmla="*/ 157728 w 1227"/>
              <a:gd name="T37" fmla="*/ 31851 h 979"/>
              <a:gd name="T38" fmla="*/ 130936 w 1227"/>
              <a:gd name="T39" fmla="*/ 16708 h 979"/>
              <a:gd name="T40" fmla="*/ 92476 w 1227"/>
              <a:gd name="T41" fmla="*/ 5221 h 979"/>
              <a:gd name="T42" fmla="*/ 71734 w 1227"/>
              <a:gd name="T43" fmla="*/ 19841 h 979"/>
              <a:gd name="T44" fmla="*/ 65252 w 1227"/>
              <a:gd name="T45" fmla="*/ 31851 h 979"/>
              <a:gd name="T46" fmla="*/ 66116 w 1227"/>
              <a:gd name="T47" fmla="*/ 46993 h 979"/>
              <a:gd name="T48" fmla="*/ 73030 w 1227"/>
              <a:gd name="T49" fmla="*/ 61613 h 979"/>
              <a:gd name="T50" fmla="*/ 65252 w 1227"/>
              <a:gd name="T51" fmla="*/ 78321 h 979"/>
              <a:gd name="T52" fmla="*/ 41052 w 1227"/>
              <a:gd name="T53" fmla="*/ 97118 h 979"/>
              <a:gd name="T54" fmla="*/ 23335 w 1227"/>
              <a:gd name="T55" fmla="*/ 99207 h 979"/>
              <a:gd name="T56" fmla="*/ 3889 w 1227"/>
              <a:gd name="T57" fmla="*/ 95552 h 979"/>
              <a:gd name="T58" fmla="*/ 0 w 1227"/>
              <a:gd name="T59" fmla="*/ 123225 h 979"/>
              <a:gd name="T60" fmla="*/ 3889 w 1227"/>
              <a:gd name="T61" fmla="*/ 140456 h 979"/>
              <a:gd name="T62" fmla="*/ 10803 w 1227"/>
              <a:gd name="T63" fmla="*/ 147243 h 979"/>
              <a:gd name="T64" fmla="*/ 17285 w 1227"/>
              <a:gd name="T65" fmla="*/ 160297 h 979"/>
              <a:gd name="T66" fmla="*/ 35867 w 1227"/>
              <a:gd name="T67" fmla="*/ 190059 h 979"/>
              <a:gd name="T68" fmla="*/ 44077 w 1227"/>
              <a:gd name="T69" fmla="*/ 216166 h 979"/>
              <a:gd name="T70" fmla="*/ 52288 w 1227"/>
              <a:gd name="T71" fmla="*/ 222954 h 979"/>
              <a:gd name="T72" fmla="*/ 57473 w 1227"/>
              <a:gd name="T73" fmla="*/ 228697 h 979"/>
              <a:gd name="T74" fmla="*/ 63955 w 1227"/>
              <a:gd name="T75" fmla="*/ 244884 h 979"/>
              <a:gd name="T76" fmla="*/ 96797 w 1227"/>
              <a:gd name="T77" fmla="*/ 285088 h 979"/>
              <a:gd name="T78" fmla="*/ 107601 w 1227"/>
              <a:gd name="T79" fmla="*/ 305452 h 979"/>
              <a:gd name="T80" fmla="*/ 110626 w 1227"/>
              <a:gd name="T81" fmla="*/ 325815 h 979"/>
              <a:gd name="T82" fmla="*/ 114947 w 1227"/>
              <a:gd name="T83" fmla="*/ 344090 h 979"/>
              <a:gd name="T84" fmla="*/ 129207 w 1227"/>
              <a:gd name="T85" fmla="*/ 366020 h 979"/>
              <a:gd name="T86" fmla="*/ 155999 w 1227"/>
              <a:gd name="T87" fmla="*/ 397348 h 979"/>
              <a:gd name="T88" fmla="*/ 167667 w 1227"/>
              <a:gd name="T89" fmla="*/ 425022 h 979"/>
              <a:gd name="T90" fmla="*/ 183656 w 1227"/>
              <a:gd name="T91" fmla="*/ 452695 h 979"/>
              <a:gd name="T92" fmla="*/ 208719 w 1227"/>
              <a:gd name="T93" fmla="*/ 489767 h 979"/>
              <a:gd name="T94" fmla="*/ 228165 w 1227"/>
              <a:gd name="T95" fmla="*/ 511175 h 979"/>
              <a:gd name="T96" fmla="*/ 234647 w 1227"/>
              <a:gd name="T97" fmla="*/ 497599 h 979"/>
              <a:gd name="T98" fmla="*/ 235944 w 1227"/>
              <a:gd name="T99" fmla="*/ 474625 h 979"/>
              <a:gd name="T100" fmla="*/ 246315 w 1227"/>
              <a:gd name="T101" fmla="*/ 467837 h 979"/>
              <a:gd name="T102" fmla="*/ 261439 w 1227"/>
              <a:gd name="T103" fmla="*/ 467315 h 979"/>
              <a:gd name="T104" fmla="*/ 285207 w 1227"/>
              <a:gd name="T105" fmla="*/ 474625 h 979"/>
              <a:gd name="T106" fmla="*/ 305949 w 1227"/>
              <a:gd name="T107" fmla="*/ 492378 h 979"/>
              <a:gd name="T108" fmla="*/ 340087 w 1227"/>
              <a:gd name="T109" fmla="*/ 437553 h 979"/>
              <a:gd name="T110" fmla="*/ 518125 w 1227"/>
              <a:gd name="T111" fmla="*/ 296053 h 979"/>
              <a:gd name="T112" fmla="*/ 406203 w 1227"/>
              <a:gd name="T113" fmla="*/ 244361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77" name="Freeform 528">
            <a:extLst>
              <a:ext uri="{FF2B5EF4-FFF2-40B4-BE49-F238E27FC236}">
                <a16:creationId xmlns:a16="http://schemas.microsoft.com/office/drawing/2014/main" id="{5FC781D8-E49D-4CD8-A6FB-252BFB0F65DC}"/>
              </a:ext>
            </a:extLst>
          </p:cNvPr>
          <p:cNvSpPr>
            <a:spLocks/>
          </p:cNvSpPr>
          <p:nvPr>
            <p:custDataLst>
              <p:tags r:id="rId363"/>
            </p:custDataLst>
          </p:nvPr>
        </p:nvSpPr>
        <p:spPr bwMode="auto">
          <a:xfrm>
            <a:off x="8313971" y="4452514"/>
            <a:ext cx="121262" cy="121262"/>
          </a:xfrm>
          <a:custGeom>
            <a:avLst/>
            <a:gdLst>
              <a:gd name="T0" fmla="*/ 57150 w 146"/>
              <a:gd name="T1" fmla="*/ 12700 h 81"/>
              <a:gd name="T2" fmla="*/ 54018 w 146"/>
              <a:gd name="T3" fmla="*/ 16933 h 81"/>
              <a:gd name="T4" fmla="*/ 50887 w 146"/>
              <a:gd name="T5" fmla="*/ 20461 h 81"/>
              <a:gd name="T6" fmla="*/ 48147 w 146"/>
              <a:gd name="T7" fmla="*/ 24694 h 81"/>
              <a:gd name="T8" fmla="*/ 46190 w 146"/>
              <a:gd name="T9" fmla="*/ 28928 h 81"/>
              <a:gd name="T10" fmla="*/ 42275 w 146"/>
              <a:gd name="T11" fmla="*/ 37394 h 81"/>
              <a:gd name="T12" fmla="*/ 38361 w 146"/>
              <a:gd name="T13" fmla="*/ 45156 h 81"/>
              <a:gd name="T14" fmla="*/ 36404 w 146"/>
              <a:gd name="T15" fmla="*/ 48683 h 81"/>
              <a:gd name="T16" fmla="*/ 33272 w 146"/>
              <a:gd name="T17" fmla="*/ 51506 h 81"/>
              <a:gd name="T18" fmla="*/ 29749 w 146"/>
              <a:gd name="T19" fmla="*/ 54328 h 81"/>
              <a:gd name="T20" fmla="*/ 25835 w 146"/>
              <a:gd name="T21" fmla="*/ 56444 h 81"/>
              <a:gd name="T22" fmla="*/ 20746 w 146"/>
              <a:gd name="T23" fmla="*/ 57150 h 81"/>
              <a:gd name="T24" fmla="*/ 15266 w 146"/>
              <a:gd name="T25" fmla="*/ 56444 h 81"/>
              <a:gd name="T26" fmla="*/ 8220 w 146"/>
              <a:gd name="T27" fmla="*/ 54328 h 81"/>
              <a:gd name="T28" fmla="*/ 0 w 146"/>
              <a:gd name="T29" fmla="*/ 52211 h 81"/>
              <a:gd name="T30" fmla="*/ 0 w 146"/>
              <a:gd name="T31" fmla="*/ 43744 h 81"/>
              <a:gd name="T32" fmla="*/ 0 w 146"/>
              <a:gd name="T33" fmla="*/ 34572 h 81"/>
              <a:gd name="T34" fmla="*/ 0 w 146"/>
              <a:gd name="T35" fmla="*/ 23989 h 81"/>
              <a:gd name="T36" fmla="*/ 0 w 146"/>
              <a:gd name="T37" fmla="*/ 12700 h 81"/>
              <a:gd name="T38" fmla="*/ 5480 w 146"/>
              <a:gd name="T39" fmla="*/ 12700 h 81"/>
              <a:gd name="T40" fmla="*/ 8612 w 146"/>
              <a:gd name="T41" fmla="*/ 12700 h 81"/>
              <a:gd name="T42" fmla="*/ 12135 w 146"/>
              <a:gd name="T43" fmla="*/ 12700 h 81"/>
              <a:gd name="T44" fmla="*/ 15658 w 146"/>
              <a:gd name="T45" fmla="*/ 12700 h 81"/>
              <a:gd name="T46" fmla="*/ 20355 w 146"/>
              <a:gd name="T47" fmla="*/ 12700 h 81"/>
              <a:gd name="T48" fmla="*/ 24661 w 146"/>
              <a:gd name="T49" fmla="*/ 11289 h 81"/>
              <a:gd name="T50" fmla="*/ 28575 w 146"/>
              <a:gd name="T51" fmla="*/ 9878 h 81"/>
              <a:gd name="T52" fmla="*/ 32489 w 146"/>
              <a:gd name="T53" fmla="*/ 7761 h 81"/>
              <a:gd name="T54" fmla="*/ 39535 w 146"/>
              <a:gd name="T55" fmla="*/ 3528 h 81"/>
              <a:gd name="T56" fmla="*/ 46973 w 146"/>
              <a:gd name="T57" fmla="*/ 0 h 81"/>
              <a:gd name="T58" fmla="*/ 50496 w 146"/>
              <a:gd name="T59" fmla="*/ 2822 h 81"/>
              <a:gd name="T60" fmla="*/ 52844 w 146"/>
              <a:gd name="T61" fmla="*/ 6350 h 81"/>
              <a:gd name="T62" fmla="*/ 55193 w 146"/>
              <a:gd name="T63" fmla="*/ 9878 h 81"/>
              <a:gd name="T64" fmla="*/ 57150 w 146"/>
              <a:gd name="T65" fmla="*/ 1270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78" name="Freeform 529">
            <a:extLst>
              <a:ext uri="{FF2B5EF4-FFF2-40B4-BE49-F238E27FC236}">
                <a16:creationId xmlns:a16="http://schemas.microsoft.com/office/drawing/2014/main" id="{5FCD9B98-B061-41F6-9A94-EE109FD84DFB}"/>
              </a:ext>
            </a:extLst>
          </p:cNvPr>
          <p:cNvSpPr>
            <a:spLocks/>
          </p:cNvSpPr>
          <p:nvPr>
            <p:custDataLst>
              <p:tags r:id="rId364"/>
            </p:custDataLst>
          </p:nvPr>
        </p:nvSpPr>
        <p:spPr bwMode="auto">
          <a:xfrm>
            <a:off x="7761557" y="4903876"/>
            <a:ext cx="33684" cy="121262"/>
          </a:xfrm>
          <a:custGeom>
            <a:avLst/>
            <a:gdLst>
              <a:gd name="T0" fmla="*/ 15875 w 34"/>
              <a:gd name="T1" fmla="*/ 57150 h 49"/>
              <a:gd name="T2" fmla="*/ 15875 w 34"/>
              <a:gd name="T3" fmla="*/ 39655 h 49"/>
              <a:gd name="T4" fmla="*/ 15875 w 34"/>
              <a:gd name="T5" fmla="*/ 29158 h 49"/>
              <a:gd name="T6" fmla="*/ 15408 w 34"/>
              <a:gd name="T7" fmla="*/ 24493 h 49"/>
              <a:gd name="T8" fmla="*/ 15408 w 34"/>
              <a:gd name="T9" fmla="*/ 19828 h 49"/>
              <a:gd name="T10" fmla="*/ 14474 w 34"/>
              <a:gd name="T11" fmla="*/ 17495 h 49"/>
              <a:gd name="T12" fmla="*/ 14007 w 34"/>
              <a:gd name="T13" fmla="*/ 13996 h 49"/>
              <a:gd name="T14" fmla="*/ 11673 w 34"/>
              <a:gd name="T15" fmla="*/ 9331 h 49"/>
              <a:gd name="T16" fmla="*/ 9805 w 34"/>
              <a:gd name="T17" fmla="*/ 0 h 49"/>
              <a:gd name="T18" fmla="*/ 3735 w 34"/>
              <a:gd name="T19" fmla="*/ 0 h 49"/>
              <a:gd name="T20" fmla="*/ 0 w 34"/>
              <a:gd name="T21" fmla="*/ 0 h 49"/>
              <a:gd name="T22" fmla="*/ 1401 w 34"/>
              <a:gd name="T23" fmla="*/ 12830 h 49"/>
              <a:gd name="T24" fmla="*/ 3268 w 34"/>
              <a:gd name="T25" fmla="*/ 23327 h 49"/>
              <a:gd name="T26" fmla="*/ 4669 w 34"/>
              <a:gd name="T27" fmla="*/ 31491 h 49"/>
              <a:gd name="T28" fmla="*/ 6537 w 34"/>
              <a:gd name="T29" fmla="*/ 39655 h 49"/>
              <a:gd name="T30" fmla="*/ 8871 w 34"/>
              <a:gd name="T31" fmla="*/ 45487 h 49"/>
              <a:gd name="T32" fmla="*/ 11206 w 34"/>
              <a:gd name="T33" fmla="*/ 50152 h 49"/>
              <a:gd name="T34" fmla="*/ 13540 w 34"/>
              <a:gd name="T35" fmla="*/ 53651 h 49"/>
              <a:gd name="T36" fmla="*/ 15875 w 34"/>
              <a:gd name="T37" fmla="*/ 57150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79" name="Freeform 530">
            <a:extLst>
              <a:ext uri="{FF2B5EF4-FFF2-40B4-BE49-F238E27FC236}">
                <a16:creationId xmlns:a16="http://schemas.microsoft.com/office/drawing/2014/main" id="{4A4B1787-0E73-41D3-A182-78D4C0B1DCD9}"/>
              </a:ext>
            </a:extLst>
          </p:cNvPr>
          <p:cNvSpPr>
            <a:spLocks/>
          </p:cNvSpPr>
          <p:nvPr>
            <p:custDataLst>
              <p:tags r:id="rId365"/>
            </p:custDataLst>
          </p:nvPr>
        </p:nvSpPr>
        <p:spPr bwMode="auto">
          <a:xfrm>
            <a:off x="6895884" y="5638182"/>
            <a:ext cx="60631" cy="121262"/>
          </a:xfrm>
          <a:custGeom>
            <a:avLst/>
            <a:gdLst>
              <a:gd name="T0" fmla="*/ 28575 w 60"/>
              <a:gd name="T1" fmla="*/ 0 h 74"/>
              <a:gd name="T2" fmla="*/ 26670 w 60"/>
              <a:gd name="T3" fmla="*/ 3089 h 74"/>
              <a:gd name="T4" fmla="*/ 24289 w 60"/>
              <a:gd name="T5" fmla="*/ 7723 h 74"/>
              <a:gd name="T6" fmla="*/ 22860 w 60"/>
              <a:gd name="T7" fmla="*/ 11584 h 74"/>
              <a:gd name="T8" fmla="*/ 21908 w 60"/>
              <a:gd name="T9" fmla="*/ 16218 h 74"/>
              <a:gd name="T10" fmla="*/ 19526 w 60"/>
              <a:gd name="T11" fmla="*/ 23941 h 74"/>
              <a:gd name="T12" fmla="*/ 17621 w 60"/>
              <a:gd name="T13" fmla="*/ 32436 h 74"/>
              <a:gd name="T14" fmla="*/ 16669 w 60"/>
              <a:gd name="T15" fmla="*/ 36298 h 74"/>
              <a:gd name="T16" fmla="*/ 15240 w 60"/>
              <a:gd name="T17" fmla="*/ 39387 h 74"/>
              <a:gd name="T18" fmla="*/ 13811 w 60"/>
              <a:gd name="T19" fmla="*/ 43249 h 74"/>
              <a:gd name="T20" fmla="*/ 11906 w 60"/>
              <a:gd name="T21" fmla="*/ 46338 h 74"/>
              <a:gd name="T22" fmla="*/ 9525 w 60"/>
              <a:gd name="T23" fmla="*/ 50199 h 74"/>
              <a:gd name="T24" fmla="*/ 7144 w 60"/>
              <a:gd name="T25" fmla="*/ 53289 h 74"/>
              <a:gd name="T26" fmla="*/ 3810 w 60"/>
              <a:gd name="T27" fmla="*/ 55605 h 74"/>
              <a:gd name="T28" fmla="*/ 0 w 60"/>
              <a:gd name="T29" fmla="*/ 57150 h 74"/>
              <a:gd name="T30" fmla="*/ 2381 w 60"/>
              <a:gd name="T31" fmla="*/ 46338 h 74"/>
              <a:gd name="T32" fmla="*/ 5715 w 60"/>
              <a:gd name="T33" fmla="*/ 36298 h 74"/>
              <a:gd name="T34" fmla="*/ 9049 w 60"/>
              <a:gd name="T35" fmla="*/ 26258 h 74"/>
              <a:gd name="T36" fmla="*/ 12859 w 60"/>
              <a:gd name="T37" fmla="*/ 17763 h 74"/>
              <a:gd name="T38" fmla="*/ 17145 w 60"/>
              <a:gd name="T39" fmla="*/ 10812 h 74"/>
              <a:gd name="T40" fmla="*/ 20479 w 60"/>
              <a:gd name="T41" fmla="*/ 4634 h 74"/>
              <a:gd name="T42" fmla="*/ 22860 w 60"/>
              <a:gd name="T43" fmla="*/ 2317 h 74"/>
              <a:gd name="T44" fmla="*/ 24765 w 60"/>
              <a:gd name="T45" fmla="*/ 772 h 74"/>
              <a:gd name="T46" fmla="*/ 26670 w 60"/>
              <a:gd name="T47" fmla="*/ 0 h 74"/>
              <a:gd name="T48" fmla="*/ 28575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80" name="Freeform 531">
            <a:extLst>
              <a:ext uri="{FF2B5EF4-FFF2-40B4-BE49-F238E27FC236}">
                <a16:creationId xmlns:a16="http://schemas.microsoft.com/office/drawing/2014/main" id="{A9A725DE-7FAF-4D74-89D6-FB91A25E0B00}"/>
              </a:ext>
            </a:extLst>
          </p:cNvPr>
          <p:cNvSpPr>
            <a:spLocks/>
          </p:cNvSpPr>
          <p:nvPr>
            <p:custDataLst>
              <p:tags r:id="rId366"/>
            </p:custDataLst>
          </p:nvPr>
        </p:nvSpPr>
        <p:spPr bwMode="auto">
          <a:xfrm>
            <a:off x="6771255" y="5671866"/>
            <a:ext cx="50525" cy="127998"/>
          </a:xfrm>
          <a:custGeom>
            <a:avLst/>
            <a:gdLst>
              <a:gd name="T0" fmla="*/ 6586 w 47"/>
              <a:gd name="T1" fmla="*/ 10724 h 45"/>
              <a:gd name="T2" fmla="*/ 11146 w 47"/>
              <a:gd name="T3" fmla="*/ 10724 h 45"/>
              <a:gd name="T4" fmla="*/ 14186 w 47"/>
              <a:gd name="T5" fmla="*/ 8043 h 45"/>
              <a:gd name="T6" fmla="*/ 16212 w 47"/>
              <a:gd name="T7" fmla="*/ 6703 h 45"/>
              <a:gd name="T8" fmla="*/ 17732 w 47"/>
              <a:gd name="T9" fmla="*/ 4022 h 45"/>
              <a:gd name="T10" fmla="*/ 18746 w 47"/>
              <a:gd name="T11" fmla="*/ 1341 h 45"/>
              <a:gd name="T12" fmla="*/ 19759 w 47"/>
              <a:gd name="T13" fmla="*/ 0 h 45"/>
              <a:gd name="T14" fmla="*/ 21785 w 47"/>
              <a:gd name="T15" fmla="*/ 1341 h 45"/>
              <a:gd name="T16" fmla="*/ 23812 w 47"/>
              <a:gd name="T17" fmla="*/ 2681 h 45"/>
              <a:gd name="T18" fmla="*/ 23305 w 47"/>
              <a:gd name="T19" fmla="*/ 9384 h 45"/>
              <a:gd name="T20" fmla="*/ 23305 w 47"/>
              <a:gd name="T21" fmla="*/ 14746 h 45"/>
              <a:gd name="T22" fmla="*/ 22292 w 47"/>
              <a:gd name="T23" fmla="*/ 20108 h 45"/>
              <a:gd name="T24" fmla="*/ 21785 w 47"/>
              <a:gd name="T25" fmla="*/ 25471 h 45"/>
              <a:gd name="T26" fmla="*/ 18746 w 47"/>
              <a:gd name="T27" fmla="*/ 34854 h 45"/>
              <a:gd name="T28" fmla="*/ 15199 w 47"/>
              <a:gd name="T29" fmla="*/ 42898 h 45"/>
              <a:gd name="T30" fmla="*/ 12159 w 47"/>
              <a:gd name="T31" fmla="*/ 50941 h 45"/>
              <a:gd name="T32" fmla="*/ 8106 w 47"/>
              <a:gd name="T33" fmla="*/ 56303 h 45"/>
              <a:gd name="T34" fmla="*/ 3546 w 47"/>
              <a:gd name="T35" fmla="*/ 60325 h 45"/>
              <a:gd name="T36" fmla="*/ 0 w 47"/>
              <a:gd name="T37" fmla="*/ 60325 h 45"/>
              <a:gd name="T38" fmla="*/ 1013 w 47"/>
              <a:gd name="T39" fmla="*/ 50941 h 45"/>
              <a:gd name="T40" fmla="*/ 3040 w 47"/>
              <a:gd name="T41" fmla="*/ 34854 h 45"/>
              <a:gd name="T42" fmla="*/ 5573 w 47"/>
              <a:gd name="T43" fmla="*/ 20108 h 45"/>
              <a:gd name="T44" fmla="*/ 6586 w 47"/>
              <a:gd name="T45" fmla="*/ 10724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81" name="Freeform 532">
            <a:extLst>
              <a:ext uri="{FF2B5EF4-FFF2-40B4-BE49-F238E27FC236}">
                <a16:creationId xmlns:a16="http://schemas.microsoft.com/office/drawing/2014/main" id="{5EBDF8E8-43AB-44D0-B601-8A9ACED172A7}"/>
              </a:ext>
            </a:extLst>
          </p:cNvPr>
          <p:cNvSpPr>
            <a:spLocks/>
          </p:cNvSpPr>
          <p:nvPr>
            <p:custDataLst>
              <p:tags r:id="rId367"/>
            </p:custDataLst>
          </p:nvPr>
        </p:nvSpPr>
        <p:spPr bwMode="auto">
          <a:xfrm>
            <a:off x="6717361" y="5658392"/>
            <a:ext cx="13474" cy="121262"/>
          </a:xfrm>
          <a:custGeom>
            <a:avLst/>
            <a:gdLst>
              <a:gd name="T0" fmla="*/ 1465 w 26"/>
              <a:gd name="T1" fmla="*/ 57150 h 36"/>
              <a:gd name="T2" fmla="*/ 1221 w 26"/>
              <a:gd name="T3" fmla="*/ 47625 h 36"/>
              <a:gd name="T4" fmla="*/ 733 w 26"/>
              <a:gd name="T5" fmla="*/ 31750 h 36"/>
              <a:gd name="T6" fmla="*/ 244 w 26"/>
              <a:gd name="T7" fmla="*/ 15875 h 36"/>
              <a:gd name="T8" fmla="*/ 0 w 26"/>
              <a:gd name="T9" fmla="*/ 0 h 36"/>
              <a:gd name="T10" fmla="*/ 6350 w 26"/>
              <a:gd name="T11" fmla="*/ 0 h 36"/>
              <a:gd name="T12" fmla="*/ 6106 w 26"/>
              <a:gd name="T13" fmla="*/ 19050 h 36"/>
              <a:gd name="T14" fmla="*/ 5862 w 26"/>
              <a:gd name="T15" fmla="*/ 36513 h 36"/>
              <a:gd name="T16" fmla="*/ 5617 w 26"/>
              <a:gd name="T17" fmla="*/ 42863 h 36"/>
              <a:gd name="T18" fmla="*/ 5617 w 26"/>
              <a:gd name="T19" fmla="*/ 49213 h 36"/>
              <a:gd name="T20" fmla="*/ 5862 w 26"/>
              <a:gd name="T21" fmla="*/ 53975 h 36"/>
              <a:gd name="T22" fmla="*/ 6350 w 26"/>
              <a:gd name="T23" fmla="*/ 57150 h 36"/>
              <a:gd name="T24" fmla="*/ 1465 w 26"/>
              <a:gd name="T25" fmla="*/ 57150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82" name="Freeform 533">
            <a:extLst>
              <a:ext uri="{FF2B5EF4-FFF2-40B4-BE49-F238E27FC236}">
                <a16:creationId xmlns:a16="http://schemas.microsoft.com/office/drawing/2014/main" id="{FE0AB002-7AD8-4977-809C-E34756B40661}"/>
              </a:ext>
            </a:extLst>
          </p:cNvPr>
          <p:cNvSpPr>
            <a:spLocks/>
          </p:cNvSpPr>
          <p:nvPr>
            <p:custDataLst>
              <p:tags r:id="rId368"/>
            </p:custDataLst>
          </p:nvPr>
        </p:nvSpPr>
        <p:spPr bwMode="auto">
          <a:xfrm>
            <a:off x="9415428" y="5082399"/>
            <a:ext cx="370521" cy="336838"/>
          </a:xfrm>
          <a:custGeom>
            <a:avLst/>
            <a:gdLst>
              <a:gd name="T0" fmla="*/ 11210 w 405"/>
              <a:gd name="T1" fmla="*/ 85157 h 302"/>
              <a:gd name="T2" fmla="*/ 12073 w 405"/>
              <a:gd name="T3" fmla="*/ 82003 h 302"/>
              <a:gd name="T4" fmla="*/ 12935 w 405"/>
              <a:gd name="T5" fmla="*/ 80952 h 302"/>
              <a:gd name="T6" fmla="*/ 12073 w 405"/>
              <a:gd name="T7" fmla="*/ 79375 h 302"/>
              <a:gd name="T8" fmla="*/ 7761 w 405"/>
              <a:gd name="T9" fmla="*/ 75170 h 302"/>
              <a:gd name="T10" fmla="*/ 2587 w 405"/>
              <a:gd name="T11" fmla="*/ 66759 h 302"/>
              <a:gd name="T12" fmla="*/ 862 w 405"/>
              <a:gd name="T13" fmla="*/ 60977 h 302"/>
              <a:gd name="T14" fmla="*/ 2156 w 405"/>
              <a:gd name="T15" fmla="*/ 58874 h 302"/>
              <a:gd name="T16" fmla="*/ 2587 w 405"/>
              <a:gd name="T17" fmla="*/ 54669 h 302"/>
              <a:gd name="T18" fmla="*/ 7330 w 405"/>
              <a:gd name="T19" fmla="*/ 50989 h 302"/>
              <a:gd name="T20" fmla="*/ 14660 w 405"/>
              <a:gd name="T21" fmla="*/ 48887 h 302"/>
              <a:gd name="T22" fmla="*/ 20265 w 405"/>
              <a:gd name="T23" fmla="*/ 46258 h 302"/>
              <a:gd name="T24" fmla="*/ 24577 w 405"/>
              <a:gd name="T25" fmla="*/ 43104 h 302"/>
              <a:gd name="T26" fmla="*/ 28889 w 405"/>
              <a:gd name="T27" fmla="*/ 36796 h 302"/>
              <a:gd name="T28" fmla="*/ 32338 w 405"/>
              <a:gd name="T29" fmla="*/ 27334 h 302"/>
              <a:gd name="T30" fmla="*/ 36219 w 405"/>
              <a:gd name="T31" fmla="*/ 24706 h 302"/>
              <a:gd name="T32" fmla="*/ 40961 w 405"/>
              <a:gd name="T33" fmla="*/ 27334 h 302"/>
              <a:gd name="T34" fmla="*/ 50447 w 405"/>
              <a:gd name="T35" fmla="*/ 28386 h 302"/>
              <a:gd name="T36" fmla="*/ 72868 w 405"/>
              <a:gd name="T37" fmla="*/ 24180 h 302"/>
              <a:gd name="T38" fmla="*/ 91409 w 405"/>
              <a:gd name="T39" fmla="*/ 22603 h 302"/>
              <a:gd name="T40" fmla="*/ 100894 w 405"/>
              <a:gd name="T41" fmla="*/ 21552 h 302"/>
              <a:gd name="T42" fmla="*/ 113830 w 405"/>
              <a:gd name="T43" fmla="*/ 18398 h 302"/>
              <a:gd name="T44" fmla="*/ 137113 w 405"/>
              <a:gd name="T45" fmla="*/ 8936 h 302"/>
              <a:gd name="T46" fmla="*/ 154791 w 405"/>
              <a:gd name="T47" fmla="*/ 2103 h 302"/>
              <a:gd name="T48" fmla="*/ 160396 w 405"/>
              <a:gd name="T49" fmla="*/ 1577 h 302"/>
              <a:gd name="T50" fmla="*/ 166002 w 405"/>
              <a:gd name="T51" fmla="*/ 1577 h 302"/>
              <a:gd name="T52" fmla="*/ 171607 w 405"/>
              <a:gd name="T53" fmla="*/ 526 h 302"/>
              <a:gd name="T54" fmla="*/ 170313 w 405"/>
              <a:gd name="T55" fmla="*/ 4205 h 302"/>
              <a:gd name="T56" fmla="*/ 155222 w 405"/>
              <a:gd name="T57" fmla="*/ 21552 h 302"/>
              <a:gd name="T58" fmla="*/ 148323 w 405"/>
              <a:gd name="T59" fmla="*/ 29963 h 302"/>
              <a:gd name="T60" fmla="*/ 146168 w 405"/>
              <a:gd name="T61" fmla="*/ 33642 h 302"/>
              <a:gd name="T62" fmla="*/ 146168 w 405"/>
              <a:gd name="T63" fmla="*/ 50464 h 302"/>
              <a:gd name="T64" fmla="*/ 145305 w 405"/>
              <a:gd name="T65" fmla="*/ 78324 h 302"/>
              <a:gd name="T66" fmla="*/ 144443 w 405"/>
              <a:gd name="T67" fmla="*/ 94619 h 302"/>
              <a:gd name="T68" fmla="*/ 140562 w 405"/>
              <a:gd name="T69" fmla="*/ 104081 h 302"/>
              <a:gd name="T70" fmla="*/ 131508 w 405"/>
              <a:gd name="T71" fmla="*/ 110389 h 302"/>
              <a:gd name="T72" fmla="*/ 114261 w 405"/>
              <a:gd name="T73" fmla="*/ 119325 h 302"/>
              <a:gd name="T74" fmla="*/ 45704 w 405"/>
              <a:gd name="T75" fmla="*/ 158750 h 302"/>
              <a:gd name="T76" fmla="*/ 24577 w 405"/>
              <a:gd name="T77" fmla="*/ 136672 h 302"/>
              <a:gd name="T78" fmla="*/ 30182 w 405"/>
              <a:gd name="T79" fmla="*/ 119851 h 302"/>
              <a:gd name="T80" fmla="*/ 34925 w 405"/>
              <a:gd name="T81" fmla="*/ 109863 h 302"/>
              <a:gd name="T82" fmla="*/ 37081 w 405"/>
              <a:gd name="T83" fmla="*/ 90414 h 302"/>
              <a:gd name="T84" fmla="*/ 30613 w 405"/>
              <a:gd name="T85" fmla="*/ 90940 h 302"/>
              <a:gd name="T86" fmla="*/ 24577 w 405"/>
              <a:gd name="T87" fmla="*/ 88837 h 302"/>
              <a:gd name="T88" fmla="*/ 17678 w 405"/>
              <a:gd name="T89" fmla="*/ 86734 h 302"/>
              <a:gd name="T90" fmla="*/ 11210 w 405"/>
              <a:gd name="T91" fmla="*/ 8726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1083" name="Freeform 534">
            <a:extLst>
              <a:ext uri="{FF2B5EF4-FFF2-40B4-BE49-F238E27FC236}">
                <a16:creationId xmlns:a16="http://schemas.microsoft.com/office/drawing/2014/main" id="{13BCE2B1-DE46-426C-8F9D-7438F85E2D68}"/>
              </a:ext>
            </a:extLst>
          </p:cNvPr>
          <p:cNvSpPr>
            <a:spLocks/>
          </p:cNvSpPr>
          <p:nvPr>
            <p:custDataLst>
              <p:tags r:id="rId369"/>
            </p:custDataLst>
          </p:nvPr>
        </p:nvSpPr>
        <p:spPr bwMode="auto">
          <a:xfrm>
            <a:off x="13858316" y="5890809"/>
            <a:ext cx="90945" cy="168419"/>
          </a:xfrm>
          <a:custGeom>
            <a:avLst/>
            <a:gdLst>
              <a:gd name="T0" fmla="*/ 42862 w 100"/>
              <a:gd name="T1" fmla="*/ 512 h 155"/>
              <a:gd name="T2" fmla="*/ 42862 w 100"/>
              <a:gd name="T3" fmla="*/ 15363 h 155"/>
              <a:gd name="T4" fmla="*/ 42862 w 100"/>
              <a:gd name="T5" fmla="*/ 28165 h 155"/>
              <a:gd name="T6" fmla="*/ 42862 w 100"/>
              <a:gd name="T7" fmla="*/ 39944 h 155"/>
              <a:gd name="T8" fmla="*/ 42862 w 100"/>
              <a:gd name="T9" fmla="*/ 50698 h 155"/>
              <a:gd name="T10" fmla="*/ 42005 w 100"/>
              <a:gd name="T11" fmla="*/ 55819 h 155"/>
              <a:gd name="T12" fmla="*/ 40290 w 100"/>
              <a:gd name="T13" fmla="*/ 60427 h 155"/>
              <a:gd name="T14" fmla="*/ 38147 w 100"/>
              <a:gd name="T15" fmla="*/ 65548 h 155"/>
              <a:gd name="T16" fmla="*/ 35147 w 100"/>
              <a:gd name="T17" fmla="*/ 70157 h 155"/>
              <a:gd name="T18" fmla="*/ 31289 w 100"/>
              <a:gd name="T19" fmla="*/ 73742 h 155"/>
              <a:gd name="T20" fmla="*/ 26574 w 100"/>
              <a:gd name="T21" fmla="*/ 76815 h 155"/>
              <a:gd name="T22" fmla="*/ 24431 w 100"/>
              <a:gd name="T23" fmla="*/ 77839 h 155"/>
              <a:gd name="T24" fmla="*/ 21860 w 100"/>
              <a:gd name="T25" fmla="*/ 78863 h 155"/>
              <a:gd name="T26" fmla="*/ 19717 w 100"/>
              <a:gd name="T27" fmla="*/ 79375 h 155"/>
              <a:gd name="T28" fmla="*/ 16716 w 100"/>
              <a:gd name="T29" fmla="*/ 79375 h 155"/>
              <a:gd name="T30" fmla="*/ 15002 w 100"/>
              <a:gd name="T31" fmla="*/ 78863 h 155"/>
              <a:gd name="T32" fmla="*/ 12859 w 100"/>
              <a:gd name="T33" fmla="*/ 78351 h 155"/>
              <a:gd name="T34" fmla="*/ 11144 w 100"/>
              <a:gd name="T35" fmla="*/ 77327 h 155"/>
              <a:gd name="T36" fmla="*/ 9430 w 100"/>
              <a:gd name="T37" fmla="*/ 76302 h 155"/>
              <a:gd name="T38" fmla="*/ 6429 w 100"/>
              <a:gd name="T39" fmla="*/ 72718 h 155"/>
              <a:gd name="T40" fmla="*/ 3858 w 100"/>
              <a:gd name="T41" fmla="*/ 68621 h 155"/>
              <a:gd name="T42" fmla="*/ 2143 w 100"/>
              <a:gd name="T43" fmla="*/ 63500 h 155"/>
              <a:gd name="T44" fmla="*/ 857 w 100"/>
              <a:gd name="T45" fmla="*/ 57867 h 155"/>
              <a:gd name="T46" fmla="*/ 0 w 100"/>
              <a:gd name="T47" fmla="*/ 52746 h 155"/>
              <a:gd name="T48" fmla="*/ 0 w 100"/>
              <a:gd name="T49" fmla="*/ 47625 h 155"/>
              <a:gd name="T50" fmla="*/ 0 w 100"/>
              <a:gd name="T51" fmla="*/ 39431 h 155"/>
              <a:gd name="T52" fmla="*/ 0 w 100"/>
              <a:gd name="T53" fmla="*/ 33286 h 155"/>
              <a:gd name="T54" fmla="*/ 0 w 100"/>
              <a:gd name="T55" fmla="*/ 28677 h 155"/>
              <a:gd name="T56" fmla="*/ 0 w 100"/>
              <a:gd name="T57" fmla="*/ 25605 h 155"/>
              <a:gd name="T58" fmla="*/ 6429 w 100"/>
              <a:gd name="T59" fmla="*/ 25605 h 155"/>
              <a:gd name="T60" fmla="*/ 11144 w 100"/>
              <a:gd name="T61" fmla="*/ 25605 h 155"/>
              <a:gd name="T62" fmla="*/ 11144 w 100"/>
              <a:gd name="T63" fmla="*/ 20484 h 155"/>
              <a:gd name="T64" fmla="*/ 11573 w 100"/>
              <a:gd name="T65" fmla="*/ 15875 h 155"/>
              <a:gd name="T66" fmla="*/ 12430 w 100"/>
              <a:gd name="T67" fmla="*/ 11778 h 155"/>
              <a:gd name="T68" fmla="*/ 13287 w 100"/>
              <a:gd name="T69" fmla="*/ 8706 h 155"/>
              <a:gd name="T70" fmla="*/ 15002 w 100"/>
              <a:gd name="T71" fmla="*/ 6145 h 155"/>
              <a:gd name="T72" fmla="*/ 16716 w 100"/>
              <a:gd name="T73" fmla="*/ 3585 h 155"/>
              <a:gd name="T74" fmla="*/ 18002 w 100"/>
              <a:gd name="T75" fmla="*/ 2048 h 155"/>
              <a:gd name="T76" fmla="*/ 20574 w 100"/>
              <a:gd name="T77" fmla="*/ 1024 h 155"/>
              <a:gd name="T78" fmla="*/ 25289 w 100"/>
              <a:gd name="T79" fmla="*/ 0 h 155"/>
              <a:gd name="T80" fmla="*/ 30432 w 100"/>
              <a:gd name="T81" fmla="*/ 0 h 155"/>
              <a:gd name="T82" fmla="*/ 36004 w 100"/>
              <a:gd name="T83" fmla="*/ 0 h 155"/>
              <a:gd name="T84" fmla="*/ 42862 w 100"/>
              <a:gd name="T85" fmla="*/ 512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grpSp>
        <p:nvGrpSpPr>
          <p:cNvPr id="1084" name="Group 535">
            <a:extLst>
              <a:ext uri="{FF2B5EF4-FFF2-40B4-BE49-F238E27FC236}">
                <a16:creationId xmlns:a16="http://schemas.microsoft.com/office/drawing/2014/main" id="{8640EC77-C9B9-4AF3-A1EF-C700861428D4}"/>
              </a:ext>
            </a:extLst>
          </p:cNvPr>
          <p:cNvGrpSpPr>
            <a:grpSpLocks/>
          </p:cNvGrpSpPr>
          <p:nvPr>
            <p:custDataLst>
              <p:tags r:id="rId370"/>
            </p:custDataLst>
          </p:nvPr>
        </p:nvGrpSpPr>
        <p:grpSpPr bwMode="auto">
          <a:xfrm>
            <a:off x="8866384" y="4762405"/>
            <a:ext cx="1023986" cy="427783"/>
            <a:chOff x="3289" y="1830"/>
            <a:chExt cx="363" cy="128"/>
          </a:xfrm>
          <a:solidFill>
            <a:schemeClr val="bg2">
              <a:lumMod val="50000"/>
              <a:alpha val="18000"/>
            </a:schemeClr>
          </a:solidFill>
        </p:grpSpPr>
        <p:sp>
          <p:nvSpPr>
            <p:cNvPr id="1085" name="Freeform 536">
              <a:extLst>
                <a:ext uri="{FF2B5EF4-FFF2-40B4-BE49-F238E27FC236}">
                  <a16:creationId xmlns:a16="http://schemas.microsoft.com/office/drawing/2014/main" id="{B78F1A1F-38CF-4882-ABBE-612A2C5EA34C}"/>
                </a:ext>
              </a:extLst>
            </p:cNvPr>
            <p:cNvSpPr>
              <a:spLocks/>
            </p:cNvSpPr>
            <p:nvPr/>
          </p:nvSpPr>
          <p:spPr bwMode="auto">
            <a:xfrm>
              <a:off x="3289" y="1871"/>
              <a:ext cx="4" cy="3"/>
            </a:xfrm>
            <a:custGeom>
              <a:avLst/>
              <a:gdLst>
                <a:gd name="T0" fmla="*/ 4 w 13"/>
                <a:gd name="T1" fmla="*/ 0 h 7"/>
                <a:gd name="T2" fmla="*/ 4 w 13"/>
                <a:gd name="T3" fmla="*/ 0 h 7"/>
                <a:gd name="T4" fmla="*/ 3 w 13"/>
                <a:gd name="T5" fmla="*/ 1 h 7"/>
                <a:gd name="T6" fmla="*/ 1 w 13"/>
                <a:gd name="T7" fmla="*/ 2 h 7"/>
                <a:gd name="T8" fmla="*/ 0 w 13"/>
                <a:gd name="T9" fmla="*/ 3 h 7"/>
                <a:gd name="T10" fmla="*/ 2 w 13"/>
                <a:gd name="T11" fmla="*/ 1 h 7"/>
                <a:gd name="T12" fmla="*/ 4 w 13"/>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1086" name="Freeform 537">
              <a:extLst>
                <a:ext uri="{FF2B5EF4-FFF2-40B4-BE49-F238E27FC236}">
                  <a16:creationId xmlns:a16="http://schemas.microsoft.com/office/drawing/2014/main" id="{089E1D7B-0172-426F-B0EC-B41FC7203439}"/>
                </a:ext>
              </a:extLst>
            </p:cNvPr>
            <p:cNvSpPr>
              <a:spLocks/>
            </p:cNvSpPr>
            <p:nvPr/>
          </p:nvSpPr>
          <p:spPr bwMode="auto">
            <a:xfrm>
              <a:off x="3324" y="1937"/>
              <a:ext cx="10" cy="3"/>
            </a:xfrm>
            <a:custGeom>
              <a:avLst/>
              <a:gdLst>
                <a:gd name="T0" fmla="*/ 0 w 34"/>
                <a:gd name="T1" fmla="*/ 2 h 8"/>
                <a:gd name="T2" fmla="*/ 2 w 34"/>
                <a:gd name="T3" fmla="*/ 2 h 8"/>
                <a:gd name="T4" fmla="*/ 4 w 34"/>
                <a:gd name="T5" fmla="*/ 1 h 8"/>
                <a:gd name="T6" fmla="*/ 7 w 34"/>
                <a:gd name="T7" fmla="*/ 0 h 8"/>
                <a:gd name="T8" fmla="*/ 10 w 34"/>
                <a:gd name="T9" fmla="*/ 0 h 8"/>
                <a:gd name="T10" fmla="*/ 9 w 34"/>
                <a:gd name="T11" fmla="*/ 1 h 8"/>
                <a:gd name="T12" fmla="*/ 8 w 34"/>
                <a:gd name="T13" fmla="*/ 2 h 8"/>
                <a:gd name="T14" fmla="*/ 6 w 34"/>
                <a:gd name="T15" fmla="*/ 2 h 8"/>
                <a:gd name="T16" fmla="*/ 5 w 34"/>
                <a:gd name="T17" fmla="*/ 3 h 8"/>
                <a:gd name="T18" fmla="*/ 4 w 34"/>
                <a:gd name="T19" fmla="*/ 3 h 8"/>
                <a:gd name="T20" fmla="*/ 2 w 34"/>
                <a:gd name="T21" fmla="*/ 3 h 8"/>
                <a:gd name="T22" fmla="*/ 1 w 34"/>
                <a:gd name="T23" fmla="*/ 3 h 8"/>
                <a:gd name="T24" fmla="*/ 0 w 34"/>
                <a:gd name="T25" fmla="*/ 2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1087" name="Freeform 538">
              <a:extLst>
                <a:ext uri="{FF2B5EF4-FFF2-40B4-BE49-F238E27FC236}">
                  <a16:creationId xmlns:a16="http://schemas.microsoft.com/office/drawing/2014/main" id="{7CF6D0CA-A812-4A59-AC5F-74AF25D00DBA}"/>
                </a:ext>
              </a:extLst>
            </p:cNvPr>
            <p:cNvSpPr>
              <a:spLocks/>
            </p:cNvSpPr>
            <p:nvPr/>
          </p:nvSpPr>
          <p:spPr bwMode="auto">
            <a:xfrm>
              <a:off x="3343" y="1948"/>
              <a:ext cx="4" cy="8"/>
            </a:xfrm>
            <a:custGeom>
              <a:avLst/>
              <a:gdLst>
                <a:gd name="T0" fmla="*/ 0 w 13"/>
                <a:gd name="T1" fmla="*/ 8 h 24"/>
                <a:gd name="T2" fmla="*/ 0 w 13"/>
                <a:gd name="T3" fmla="*/ 0 h 24"/>
                <a:gd name="T4" fmla="*/ 4 w 13"/>
                <a:gd name="T5" fmla="*/ 4 h 24"/>
                <a:gd name="T6" fmla="*/ 0 w 13"/>
                <a:gd name="T7" fmla="*/ 8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4">
                  <a:moveTo>
                    <a:pt x="0" y="24"/>
                  </a:moveTo>
                  <a:lnTo>
                    <a:pt x="0" y="0"/>
                  </a:lnTo>
                  <a:lnTo>
                    <a:pt x="13" y="12"/>
                  </a:lnTo>
                  <a:lnTo>
                    <a:pt x="0"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1088" name="Freeform 539">
              <a:extLst>
                <a:ext uri="{FF2B5EF4-FFF2-40B4-BE49-F238E27FC236}">
                  <a16:creationId xmlns:a16="http://schemas.microsoft.com/office/drawing/2014/main" id="{8AFCA270-932C-41CA-A899-3D57813AEA16}"/>
                </a:ext>
              </a:extLst>
            </p:cNvPr>
            <p:cNvSpPr>
              <a:spLocks/>
            </p:cNvSpPr>
            <p:nvPr/>
          </p:nvSpPr>
          <p:spPr bwMode="auto">
            <a:xfrm>
              <a:off x="3313" y="1834"/>
              <a:ext cx="34" cy="23"/>
            </a:xfrm>
            <a:custGeom>
              <a:avLst/>
              <a:gdLst>
                <a:gd name="T0" fmla="*/ 0 w 107"/>
                <a:gd name="T1" fmla="*/ 4 h 69"/>
                <a:gd name="T2" fmla="*/ 0 w 107"/>
                <a:gd name="T3" fmla="*/ 9 h 69"/>
                <a:gd name="T4" fmla="*/ 0 w 107"/>
                <a:gd name="T5" fmla="*/ 15 h 69"/>
                <a:gd name="T6" fmla="*/ 0 w 107"/>
                <a:gd name="T7" fmla="*/ 21 h 69"/>
                <a:gd name="T8" fmla="*/ 0 w 107"/>
                <a:gd name="T9" fmla="*/ 23 h 69"/>
                <a:gd name="T10" fmla="*/ 5 w 107"/>
                <a:gd name="T11" fmla="*/ 22 h 69"/>
                <a:gd name="T12" fmla="*/ 16 w 107"/>
                <a:gd name="T13" fmla="*/ 19 h 69"/>
                <a:gd name="T14" fmla="*/ 27 w 107"/>
                <a:gd name="T15" fmla="*/ 17 h 69"/>
                <a:gd name="T16" fmla="*/ 34 w 107"/>
                <a:gd name="T17" fmla="*/ 15 h 69"/>
                <a:gd name="T18" fmla="*/ 32 w 107"/>
                <a:gd name="T19" fmla="*/ 13 h 69"/>
                <a:gd name="T20" fmla="*/ 30 w 107"/>
                <a:gd name="T21" fmla="*/ 11 h 69"/>
                <a:gd name="T22" fmla="*/ 27 w 107"/>
                <a:gd name="T23" fmla="*/ 10 h 69"/>
                <a:gd name="T24" fmla="*/ 25 w 107"/>
                <a:gd name="T25" fmla="*/ 9 h 69"/>
                <a:gd name="T26" fmla="*/ 23 w 107"/>
                <a:gd name="T27" fmla="*/ 8 h 69"/>
                <a:gd name="T28" fmla="*/ 21 w 107"/>
                <a:gd name="T29" fmla="*/ 6 h 69"/>
                <a:gd name="T30" fmla="*/ 20 w 107"/>
                <a:gd name="T31" fmla="*/ 5 h 69"/>
                <a:gd name="T32" fmla="*/ 20 w 107"/>
                <a:gd name="T33" fmla="*/ 4 h 69"/>
                <a:gd name="T34" fmla="*/ 19 w 107"/>
                <a:gd name="T35" fmla="*/ 2 h 69"/>
                <a:gd name="T36" fmla="*/ 19 w 107"/>
                <a:gd name="T37" fmla="*/ 0 h 69"/>
                <a:gd name="T38" fmla="*/ 17 w 107"/>
                <a:gd name="T39" fmla="*/ 0 h 69"/>
                <a:gd name="T40" fmla="*/ 12 w 107"/>
                <a:gd name="T41" fmla="*/ 1 h 69"/>
                <a:gd name="T42" fmla="*/ 6 w 107"/>
                <a:gd name="T43" fmla="*/ 3 h 69"/>
                <a:gd name="T44" fmla="*/ 0 w 107"/>
                <a:gd name="T45" fmla="*/ 4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1089" name="Freeform 540">
              <a:extLst>
                <a:ext uri="{FF2B5EF4-FFF2-40B4-BE49-F238E27FC236}">
                  <a16:creationId xmlns:a16="http://schemas.microsoft.com/office/drawing/2014/main" id="{D61C4051-B56B-4A04-A1DD-5E2BA138742D}"/>
                </a:ext>
              </a:extLst>
            </p:cNvPr>
            <p:cNvSpPr>
              <a:spLocks/>
            </p:cNvSpPr>
            <p:nvPr/>
          </p:nvSpPr>
          <p:spPr bwMode="auto">
            <a:xfrm>
              <a:off x="3302" y="1830"/>
              <a:ext cx="350" cy="128"/>
            </a:xfrm>
            <a:custGeom>
              <a:avLst/>
              <a:gdLst>
                <a:gd name="T0" fmla="*/ 324 w 1070"/>
                <a:gd name="T1" fmla="*/ 42 h 382"/>
                <a:gd name="T2" fmla="*/ 317 w 1070"/>
                <a:gd name="T3" fmla="*/ 35 h 382"/>
                <a:gd name="T4" fmla="*/ 315 w 1070"/>
                <a:gd name="T5" fmla="*/ 19 h 382"/>
                <a:gd name="T6" fmla="*/ 306 w 1070"/>
                <a:gd name="T7" fmla="*/ 12 h 382"/>
                <a:gd name="T8" fmla="*/ 267 w 1070"/>
                <a:gd name="T9" fmla="*/ 6 h 382"/>
                <a:gd name="T10" fmla="*/ 237 w 1070"/>
                <a:gd name="T11" fmla="*/ 19 h 382"/>
                <a:gd name="T12" fmla="*/ 222 w 1070"/>
                <a:gd name="T13" fmla="*/ 22 h 382"/>
                <a:gd name="T14" fmla="*/ 207 w 1070"/>
                <a:gd name="T15" fmla="*/ 22 h 382"/>
                <a:gd name="T16" fmla="*/ 200 w 1070"/>
                <a:gd name="T17" fmla="*/ 15 h 382"/>
                <a:gd name="T18" fmla="*/ 183 w 1070"/>
                <a:gd name="T19" fmla="*/ 12 h 382"/>
                <a:gd name="T20" fmla="*/ 172 w 1070"/>
                <a:gd name="T21" fmla="*/ 6 h 382"/>
                <a:gd name="T22" fmla="*/ 158 w 1070"/>
                <a:gd name="T23" fmla="*/ 7 h 382"/>
                <a:gd name="T24" fmla="*/ 152 w 1070"/>
                <a:gd name="T25" fmla="*/ 0 h 382"/>
                <a:gd name="T26" fmla="*/ 128 w 1070"/>
                <a:gd name="T27" fmla="*/ 5 h 382"/>
                <a:gd name="T28" fmla="*/ 98 w 1070"/>
                <a:gd name="T29" fmla="*/ 9 h 382"/>
                <a:gd name="T30" fmla="*/ 84 w 1070"/>
                <a:gd name="T31" fmla="*/ 15 h 382"/>
                <a:gd name="T32" fmla="*/ 45 w 1070"/>
                <a:gd name="T33" fmla="*/ 20 h 382"/>
                <a:gd name="T34" fmla="*/ 57 w 1070"/>
                <a:gd name="T35" fmla="*/ 25 h 382"/>
                <a:gd name="T36" fmla="*/ 54 w 1070"/>
                <a:gd name="T37" fmla="*/ 30 h 382"/>
                <a:gd name="T38" fmla="*/ 37 w 1070"/>
                <a:gd name="T39" fmla="*/ 31 h 382"/>
                <a:gd name="T40" fmla="*/ 14 w 1070"/>
                <a:gd name="T41" fmla="*/ 31 h 382"/>
                <a:gd name="T42" fmla="*/ 3 w 1070"/>
                <a:gd name="T43" fmla="*/ 37 h 382"/>
                <a:gd name="T44" fmla="*/ 0 w 1070"/>
                <a:gd name="T45" fmla="*/ 49 h 382"/>
                <a:gd name="T46" fmla="*/ 5 w 1070"/>
                <a:gd name="T47" fmla="*/ 56 h 382"/>
                <a:gd name="T48" fmla="*/ 7 w 1070"/>
                <a:gd name="T49" fmla="*/ 65 h 382"/>
                <a:gd name="T50" fmla="*/ 7 w 1070"/>
                <a:gd name="T51" fmla="*/ 70 h 382"/>
                <a:gd name="T52" fmla="*/ 16 w 1070"/>
                <a:gd name="T53" fmla="*/ 79 h 382"/>
                <a:gd name="T54" fmla="*/ 18 w 1070"/>
                <a:gd name="T55" fmla="*/ 87 h 382"/>
                <a:gd name="T56" fmla="*/ 24 w 1070"/>
                <a:gd name="T57" fmla="*/ 91 h 382"/>
                <a:gd name="T58" fmla="*/ 31 w 1070"/>
                <a:gd name="T59" fmla="*/ 97 h 382"/>
                <a:gd name="T60" fmla="*/ 67 w 1070"/>
                <a:gd name="T61" fmla="*/ 118 h 382"/>
                <a:gd name="T62" fmla="*/ 83 w 1070"/>
                <a:gd name="T63" fmla="*/ 124 h 382"/>
                <a:gd name="T64" fmla="*/ 87 w 1070"/>
                <a:gd name="T65" fmla="*/ 120 h 382"/>
                <a:gd name="T66" fmla="*/ 91 w 1070"/>
                <a:gd name="T67" fmla="*/ 113 h 382"/>
                <a:gd name="T68" fmla="*/ 97 w 1070"/>
                <a:gd name="T69" fmla="*/ 106 h 382"/>
                <a:gd name="T70" fmla="*/ 109 w 1070"/>
                <a:gd name="T71" fmla="*/ 108 h 382"/>
                <a:gd name="T72" fmla="*/ 118 w 1070"/>
                <a:gd name="T73" fmla="*/ 120 h 382"/>
                <a:gd name="T74" fmla="*/ 131 w 1070"/>
                <a:gd name="T75" fmla="*/ 124 h 382"/>
                <a:gd name="T76" fmla="*/ 146 w 1070"/>
                <a:gd name="T77" fmla="*/ 120 h 382"/>
                <a:gd name="T78" fmla="*/ 161 w 1070"/>
                <a:gd name="T79" fmla="*/ 112 h 382"/>
                <a:gd name="T80" fmla="*/ 172 w 1070"/>
                <a:gd name="T81" fmla="*/ 110 h 382"/>
                <a:gd name="T82" fmla="*/ 184 w 1070"/>
                <a:gd name="T83" fmla="*/ 109 h 382"/>
                <a:gd name="T84" fmla="*/ 185 w 1070"/>
                <a:gd name="T85" fmla="*/ 123 h 382"/>
                <a:gd name="T86" fmla="*/ 193 w 1070"/>
                <a:gd name="T87" fmla="*/ 126 h 382"/>
                <a:gd name="T88" fmla="*/ 201 w 1070"/>
                <a:gd name="T89" fmla="*/ 121 h 382"/>
                <a:gd name="T90" fmla="*/ 212 w 1070"/>
                <a:gd name="T91" fmla="*/ 113 h 382"/>
                <a:gd name="T92" fmla="*/ 246 w 1070"/>
                <a:gd name="T93" fmla="*/ 110 h 382"/>
                <a:gd name="T94" fmla="*/ 272 w 1070"/>
                <a:gd name="T95" fmla="*/ 106 h 382"/>
                <a:gd name="T96" fmla="*/ 300 w 1070"/>
                <a:gd name="T97" fmla="*/ 95 h 382"/>
                <a:gd name="T98" fmla="*/ 316 w 1070"/>
                <a:gd name="T99" fmla="*/ 96 h 382"/>
                <a:gd name="T100" fmla="*/ 329 w 1070"/>
                <a:gd name="T101" fmla="*/ 98 h 382"/>
                <a:gd name="T102" fmla="*/ 345 w 1070"/>
                <a:gd name="T103" fmla="*/ 103 h 382"/>
                <a:gd name="T104" fmla="*/ 345 w 1070"/>
                <a:gd name="T105" fmla="*/ 90 h 382"/>
                <a:gd name="T106" fmla="*/ 336 w 1070"/>
                <a:gd name="T107" fmla="*/ 73 h 382"/>
                <a:gd name="T108" fmla="*/ 333 w 1070"/>
                <a:gd name="T109" fmla="*/ 56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grpSp>
      <p:sp>
        <p:nvSpPr>
          <p:cNvPr id="1090" name="Freeform 541">
            <a:extLst>
              <a:ext uri="{FF2B5EF4-FFF2-40B4-BE49-F238E27FC236}">
                <a16:creationId xmlns:a16="http://schemas.microsoft.com/office/drawing/2014/main" id="{83CE0CDE-2F8D-45CB-9DF7-DDA9F7D38F31}"/>
              </a:ext>
            </a:extLst>
          </p:cNvPr>
          <p:cNvSpPr>
            <a:spLocks/>
          </p:cNvSpPr>
          <p:nvPr>
            <p:custDataLst>
              <p:tags r:id="rId371"/>
            </p:custDataLst>
          </p:nvPr>
        </p:nvSpPr>
        <p:spPr bwMode="auto">
          <a:xfrm>
            <a:off x="4598652" y="7207845"/>
            <a:ext cx="212209" cy="259364"/>
          </a:xfrm>
          <a:custGeom>
            <a:avLst/>
            <a:gdLst>
              <a:gd name="T0" fmla="*/ 27880 w 226"/>
              <a:gd name="T1" fmla="*/ 121721 h 237"/>
              <a:gd name="T2" fmla="*/ 30092 w 226"/>
              <a:gd name="T3" fmla="*/ 122237 h 237"/>
              <a:gd name="T4" fmla="*/ 33190 w 226"/>
              <a:gd name="T5" fmla="*/ 121205 h 237"/>
              <a:gd name="T6" fmla="*/ 36730 w 226"/>
              <a:gd name="T7" fmla="*/ 120690 h 237"/>
              <a:gd name="T8" fmla="*/ 39386 w 226"/>
              <a:gd name="T9" fmla="*/ 118627 h 237"/>
              <a:gd name="T10" fmla="*/ 42483 w 226"/>
              <a:gd name="T11" fmla="*/ 115016 h 237"/>
              <a:gd name="T12" fmla="*/ 43811 w 226"/>
              <a:gd name="T13" fmla="*/ 110374 h 237"/>
              <a:gd name="T14" fmla="*/ 54432 w 226"/>
              <a:gd name="T15" fmla="*/ 107795 h 237"/>
              <a:gd name="T16" fmla="*/ 73461 w 226"/>
              <a:gd name="T17" fmla="*/ 105732 h 237"/>
              <a:gd name="T18" fmla="*/ 86294 w 226"/>
              <a:gd name="T19" fmla="*/ 102122 h 237"/>
              <a:gd name="T20" fmla="*/ 92490 w 226"/>
              <a:gd name="T21" fmla="*/ 98512 h 237"/>
              <a:gd name="T22" fmla="*/ 97358 w 226"/>
              <a:gd name="T23" fmla="*/ 93354 h 237"/>
              <a:gd name="T24" fmla="*/ 99570 w 226"/>
              <a:gd name="T25" fmla="*/ 86649 h 237"/>
              <a:gd name="T26" fmla="*/ 100013 w 226"/>
              <a:gd name="T27" fmla="*/ 78912 h 237"/>
              <a:gd name="T28" fmla="*/ 98685 w 226"/>
              <a:gd name="T29" fmla="*/ 72208 h 237"/>
              <a:gd name="T30" fmla="*/ 95145 w 226"/>
              <a:gd name="T31" fmla="*/ 63439 h 237"/>
              <a:gd name="T32" fmla="*/ 89835 w 226"/>
              <a:gd name="T33" fmla="*/ 51577 h 237"/>
              <a:gd name="T34" fmla="*/ 86737 w 226"/>
              <a:gd name="T35" fmla="*/ 43325 h 237"/>
              <a:gd name="T36" fmla="*/ 85409 w 226"/>
              <a:gd name="T37" fmla="*/ 38167 h 237"/>
              <a:gd name="T38" fmla="*/ 86294 w 226"/>
              <a:gd name="T39" fmla="*/ 30430 h 237"/>
              <a:gd name="T40" fmla="*/ 88507 w 226"/>
              <a:gd name="T41" fmla="*/ 22178 h 237"/>
              <a:gd name="T42" fmla="*/ 94260 w 226"/>
              <a:gd name="T43" fmla="*/ 12894 h 237"/>
              <a:gd name="T44" fmla="*/ 94260 w 226"/>
              <a:gd name="T45" fmla="*/ 7221 h 237"/>
              <a:gd name="T46" fmla="*/ 84524 w 226"/>
              <a:gd name="T47" fmla="*/ 3610 h 237"/>
              <a:gd name="T48" fmla="*/ 68150 w 226"/>
              <a:gd name="T49" fmla="*/ 1032 h 237"/>
              <a:gd name="T50" fmla="*/ 8851 w 226"/>
              <a:gd name="T51" fmla="*/ 3095 h 237"/>
              <a:gd name="T52" fmla="*/ 7966 w 226"/>
              <a:gd name="T53" fmla="*/ 15989 h 237"/>
              <a:gd name="T54" fmla="*/ 4425 w 226"/>
              <a:gd name="T55" fmla="*/ 27851 h 237"/>
              <a:gd name="T56" fmla="*/ 1328 w 226"/>
              <a:gd name="T57" fmla="*/ 40746 h 237"/>
              <a:gd name="T58" fmla="*/ 0 w 226"/>
              <a:gd name="T59" fmla="*/ 57250 h 237"/>
              <a:gd name="T60" fmla="*/ 1328 w 226"/>
              <a:gd name="T61" fmla="*/ 67050 h 237"/>
              <a:gd name="T62" fmla="*/ 4425 w 226"/>
              <a:gd name="T63" fmla="*/ 75302 h 237"/>
              <a:gd name="T64" fmla="*/ 13276 w 226"/>
              <a:gd name="T65" fmla="*/ 89228 h 237"/>
              <a:gd name="T66" fmla="*/ 22569 w 226"/>
              <a:gd name="T67" fmla="*/ 102638 h 237"/>
              <a:gd name="T68" fmla="*/ 25225 w 226"/>
              <a:gd name="T69" fmla="*/ 111406 h 237"/>
              <a:gd name="T70" fmla="*/ 26995 w 226"/>
              <a:gd name="T71" fmla="*/ 12069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91" name="Freeform 542">
            <a:extLst>
              <a:ext uri="{FF2B5EF4-FFF2-40B4-BE49-F238E27FC236}">
                <a16:creationId xmlns:a16="http://schemas.microsoft.com/office/drawing/2014/main" id="{D4C1D0DA-9E61-42A1-906D-6E5661FBBCDB}"/>
              </a:ext>
            </a:extLst>
          </p:cNvPr>
          <p:cNvSpPr>
            <a:spLocks/>
          </p:cNvSpPr>
          <p:nvPr>
            <p:custDataLst>
              <p:tags r:id="rId372"/>
            </p:custDataLst>
          </p:nvPr>
        </p:nvSpPr>
        <p:spPr bwMode="auto">
          <a:xfrm>
            <a:off x="12969065" y="6012071"/>
            <a:ext cx="441256" cy="973461"/>
          </a:xfrm>
          <a:custGeom>
            <a:avLst/>
            <a:gdLst>
              <a:gd name="T0" fmla="*/ 124864 w 478"/>
              <a:gd name="T1" fmla="*/ 57152 h 875"/>
              <a:gd name="T2" fmla="*/ 108767 w 478"/>
              <a:gd name="T3" fmla="*/ 72357 h 875"/>
              <a:gd name="T4" fmla="*/ 86578 w 478"/>
              <a:gd name="T5" fmla="*/ 103293 h 875"/>
              <a:gd name="T6" fmla="*/ 86143 w 478"/>
              <a:gd name="T7" fmla="*/ 111682 h 875"/>
              <a:gd name="T8" fmla="*/ 89624 w 478"/>
              <a:gd name="T9" fmla="*/ 125315 h 875"/>
              <a:gd name="T10" fmla="*/ 96150 w 478"/>
              <a:gd name="T11" fmla="*/ 138947 h 875"/>
              <a:gd name="T12" fmla="*/ 104416 w 478"/>
              <a:gd name="T13" fmla="*/ 151007 h 875"/>
              <a:gd name="T14" fmla="*/ 112682 w 478"/>
              <a:gd name="T15" fmla="*/ 157823 h 875"/>
              <a:gd name="T16" fmla="*/ 121384 w 478"/>
              <a:gd name="T17" fmla="*/ 172504 h 875"/>
              <a:gd name="T18" fmla="*/ 128345 w 478"/>
              <a:gd name="T19" fmla="*/ 189283 h 875"/>
              <a:gd name="T20" fmla="*/ 132695 w 478"/>
              <a:gd name="T21" fmla="*/ 193477 h 875"/>
              <a:gd name="T22" fmla="*/ 190559 w 478"/>
              <a:gd name="T23" fmla="*/ 261640 h 875"/>
              <a:gd name="T24" fmla="*/ 204917 w 478"/>
              <a:gd name="T25" fmla="*/ 308830 h 875"/>
              <a:gd name="T26" fmla="*/ 207962 w 478"/>
              <a:gd name="T27" fmla="*/ 339241 h 875"/>
              <a:gd name="T28" fmla="*/ 207092 w 478"/>
              <a:gd name="T29" fmla="*/ 360214 h 875"/>
              <a:gd name="T30" fmla="*/ 207962 w 478"/>
              <a:gd name="T31" fmla="*/ 371225 h 875"/>
              <a:gd name="T32" fmla="*/ 194475 w 478"/>
              <a:gd name="T33" fmla="*/ 376468 h 875"/>
              <a:gd name="T34" fmla="*/ 182728 w 478"/>
              <a:gd name="T35" fmla="*/ 384333 h 875"/>
              <a:gd name="T36" fmla="*/ 170111 w 478"/>
              <a:gd name="T37" fmla="*/ 396393 h 875"/>
              <a:gd name="T38" fmla="*/ 158799 w 478"/>
              <a:gd name="T39" fmla="*/ 413696 h 875"/>
              <a:gd name="T40" fmla="*/ 151403 w 478"/>
              <a:gd name="T41" fmla="*/ 411598 h 875"/>
              <a:gd name="T42" fmla="*/ 138786 w 478"/>
              <a:gd name="T43" fmla="*/ 413696 h 875"/>
              <a:gd name="T44" fmla="*/ 136176 w 478"/>
              <a:gd name="T45" fmla="*/ 421561 h 875"/>
              <a:gd name="T46" fmla="*/ 125734 w 478"/>
              <a:gd name="T47" fmla="*/ 439388 h 875"/>
              <a:gd name="T48" fmla="*/ 111377 w 478"/>
              <a:gd name="T49" fmla="*/ 455118 h 875"/>
              <a:gd name="T50" fmla="*/ 103981 w 478"/>
              <a:gd name="T51" fmla="*/ 458788 h 875"/>
              <a:gd name="T52" fmla="*/ 100936 w 478"/>
              <a:gd name="T53" fmla="*/ 455118 h 875"/>
              <a:gd name="T54" fmla="*/ 97890 w 478"/>
              <a:gd name="T55" fmla="*/ 442534 h 875"/>
              <a:gd name="T56" fmla="*/ 100500 w 478"/>
              <a:gd name="T57" fmla="*/ 419463 h 875"/>
              <a:gd name="T58" fmla="*/ 110072 w 478"/>
              <a:gd name="T59" fmla="*/ 406355 h 875"/>
              <a:gd name="T60" fmla="*/ 120514 w 478"/>
              <a:gd name="T61" fmla="*/ 398490 h 875"/>
              <a:gd name="T62" fmla="*/ 128345 w 478"/>
              <a:gd name="T63" fmla="*/ 394820 h 875"/>
              <a:gd name="T64" fmla="*/ 132695 w 478"/>
              <a:gd name="T65" fmla="*/ 389577 h 875"/>
              <a:gd name="T66" fmla="*/ 136611 w 478"/>
              <a:gd name="T67" fmla="*/ 374371 h 875"/>
              <a:gd name="T68" fmla="*/ 143572 w 478"/>
              <a:gd name="T69" fmla="*/ 359690 h 875"/>
              <a:gd name="T70" fmla="*/ 158799 w 478"/>
              <a:gd name="T71" fmla="*/ 337144 h 875"/>
              <a:gd name="T72" fmla="*/ 161410 w 478"/>
              <a:gd name="T73" fmla="*/ 281040 h 875"/>
              <a:gd name="T74" fmla="*/ 158364 w 478"/>
              <a:gd name="T75" fmla="*/ 249056 h 875"/>
              <a:gd name="T76" fmla="*/ 148358 w 478"/>
              <a:gd name="T77" fmla="*/ 223889 h 875"/>
              <a:gd name="T78" fmla="*/ 129215 w 478"/>
              <a:gd name="T79" fmla="*/ 197672 h 875"/>
              <a:gd name="T80" fmla="*/ 95280 w 478"/>
              <a:gd name="T81" fmla="*/ 161493 h 875"/>
              <a:gd name="T82" fmla="*/ 70046 w 478"/>
              <a:gd name="T83" fmla="*/ 133704 h 875"/>
              <a:gd name="T84" fmla="*/ 46987 w 478"/>
              <a:gd name="T85" fmla="*/ 103817 h 875"/>
              <a:gd name="T86" fmla="*/ 31325 w 478"/>
              <a:gd name="T87" fmla="*/ 76552 h 875"/>
              <a:gd name="T88" fmla="*/ 18273 w 478"/>
              <a:gd name="T89" fmla="*/ 54530 h 875"/>
              <a:gd name="T90" fmla="*/ 20013 w 478"/>
              <a:gd name="T91" fmla="*/ 21497 h 875"/>
              <a:gd name="T92" fmla="*/ 56124 w 478"/>
              <a:gd name="T93" fmla="*/ 9962 h 875"/>
              <a:gd name="T94" fmla="*/ 64390 w 478"/>
              <a:gd name="T95" fmla="*/ 2622 h 875"/>
              <a:gd name="T96" fmla="*/ 76137 w 478"/>
              <a:gd name="T97" fmla="*/ 8389 h 875"/>
              <a:gd name="T98" fmla="*/ 96150 w 478"/>
              <a:gd name="T99" fmla="*/ 18352 h 875"/>
              <a:gd name="T100" fmla="*/ 117033 w 478"/>
              <a:gd name="T101" fmla="*/ 3513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1092" name="Freeform 543">
            <a:extLst>
              <a:ext uri="{FF2B5EF4-FFF2-40B4-BE49-F238E27FC236}">
                <a16:creationId xmlns:a16="http://schemas.microsoft.com/office/drawing/2014/main" id="{AFD0D311-C7F4-448B-B5EA-4F2C5C84B568}"/>
              </a:ext>
            </a:extLst>
          </p:cNvPr>
          <p:cNvSpPr>
            <a:spLocks/>
          </p:cNvSpPr>
          <p:nvPr>
            <p:custDataLst>
              <p:tags r:id="rId373"/>
            </p:custDataLst>
          </p:nvPr>
        </p:nvSpPr>
        <p:spPr bwMode="auto">
          <a:xfrm>
            <a:off x="13154325" y="7467209"/>
            <a:ext cx="53894" cy="121262"/>
          </a:xfrm>
          <a:custGeom>
            <a:avLst/>
            <a:gdLst>
              <a:gd name="T0" fmla="*/ 25400 w 59"/>
              <a:gd name="T1" fmla="*/ 11061 h 31"/>
              <a:gd name="T2" fmla="*/ 24539 w 59"/>
              <a:gd name="T3" fmla="*/ 20279 h 31"/>
              <a:gd name="T4" fmla="*/ 22817 w 59"/>
              <a:gd name="T5" fmla="*/ 27653 h 31"/>
              <a:gd name="T6" fmla="*/ 21095 w 59"/>
              <a:gd name="T7" fmla="*/ 35027 h 31"/>
              <a:gd name="T8" fmla="*/ 19373 w 59"/>
              <a:gd name="T9" fmla="*/ 44245 h 31"/>
              <a:gd name="T10" fmla="*/ 17220 w 59"/>
              <a:gd name="T11" fmla="*/ 49776 h 31"/>
              <a:gd name="T12" fmla="*/ 15498 w 59"/>
              <a:gd name="T13" fmla="*/ 53463 h 31"/>
              <a:gd name="T14" fmla="*/ 12915 w 59"/>
              <a:gd name="T15" fmla="*/ 57150 h 31"/>
              <a:gd name="T16" fmla="*/ 11193 w 59"/>
              <a:gd name="T17" fmla="*/ 57150 h 31"/>
              <a:gd name="T18" fmla="*/ 9041 w 59"/>
              <a:gd name="T19" fmla="*/ 57150 h 31"/>
              <a:gd name="T20" fmla="*/ 7319 w 59"/>
              <a:gd name="T21" fmla="*/ 55306 h 31"/>
              <a:gd name="T22" fmla="*/ 6027 w 59"/>
              <a:gd name="T23" fmla="*/ 53463 h 31"/>
              <a:gd name="T24" fmla="*/ 4736 w 59"/>
              <a:gd name="T25" fmla="*/ 49776 h 31"/>
              <a:gd name="T26" fmla="*/ 1722 w 59"/>
              <a:gd name="T27" fmla="*/ 36871 h 31"/>
              <a:gd name="T28" fmla="*/ 0 w 59"/>
              <a:gd name="T29" fmla="*/ 22123 h 31"/>
              <a:gd name="T30" fmla="*/ 431 w 59"/>
              <a:gd name="T31" fmla="*/ 16592 h 31"/>
              <a:gd name="T32" fmla="*/ 1292 w 59"/>
              <a:gd name="T33" fmla="*/ 11061 h 31"/>
              <a:gd name="T34" fmla="*/ 2153 w 59"/>
              <a:gd name="T35" fmla="*/ 7374 h 31"/>
              <a:gd name="T36" fmla="*/ 3444 w 59"/>
              <a:gd name="T37" fmla="*/ 5531 h 31"/>
              <a:gd name="T38" fmla="*/ 6888 w 59"/>
              <a:gd name="T39" fmla="*/ 1844 h 31"/>
              <a:gd name="T40" fmla="*/ 10332 w 59"/>
              <a:gd name="T41" fmla="*/ 0 h 31"/>
              <a:gd name="T42" fmla="*/ 14637 w 59"/>
              <a:gd name="T43" fmla="*/ 0 h 31"/>
              <a:gd name="T44" fmla="*/ 18081 w 59"/>
              <a:gd name="T45" fmla="*/ 3687 h 31"/>
              <a:gd name="T46" fmla="*/ 21956 w 59"/>
              <a:gd name="T47" fmla="*/ 7374 h 31"/>
              <a:gd name="T48" fmla="*/ 25400 w 59"/>
              <a:gd name="T49" fmla="*/ 11061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1093" name="Freeform 544">
            <a:extLst>
              <a:ext uri="{FF2B5EF4-FFF2-40B4-BE49-F238E27FC236}">
                <a16:creationId xmlns:a16="http://schemas.microsoft.com/office/drawing/2014/main" id="{1B889ABD-812D-46A2-ABEB-BEC232791BAA}"/>
              </a:ext>
            </a:extLst>
          </p:cNvPr>
          <p:cNvSpPr>
            <a:spLocks/>
          </p:cNvSpPr>
          <p:nvPr>
            <p:custDataLst>
              <p:tags r:id="rId374"/>
            </p:custDataLst>
          </p:nvPr>
        </p:nvSpPr>
        <p:spPr bwMode="auto">
          <a:xfrm>
            <a:off x="10378784" y="5894179"/>
            <a:ext cx="370521" cy="575991"/>
          </a:xfrm>
          <a:custGeom>
            <a:avLst/>
            <a:gdLst>
              <a:gd name="T0" fmla="*/ 87531 w 399"/>
              <a:gd name="T1" fmla="*/ 4192 h 518"/>
              <a:gd name="T2" fmla="*/ 88407 w 399"/>
              <a:gd name="T3" fmla="*/ 11529 h 518"/>
              <a:gd name="T4" fmla="*/ 91033 w 399"/>
              <a:gd name="T5" fmla="*/ 18866 h 518"/>
              <a:gd name="T6" fmla="*/ 93659 w 399"/>
              <a:gd name="T7" fmla="*/ 25679 h 518"/>
              <a:gd name="T8" fmla="*/ 98035 w 399"/>
              <a:gd name="T9" fmla="*/ 33016 h 518"/>
              <a:gd name="T10" fmla="*/ 102849 w 399"/>
              <a:gd name="T11" fmla="*/ 39304 h 518"/>
              <a:gd name="T12" fmla="*/ 108977 w 399"/>
              <a:gd name="T13" fmla="*/ 45069 h 518"/>
              <a:gd name="T14" fmla="*/ 115541 w 399"/>
              <a:gd name="T15" fmla="*/ 49786 h 518"/>
              <a:gd name="T16" fmla="*/ 138299 w 399"/>
              <a:gd name="T17" fmla="*/ 55550 h 518"/>
              <a:gd name="T18" fmla="*/ 159745 w 399"/>
              <a:gd name="T19" fmla="*/ 62363 h 518"/>
              <a:gd name="T20" fmla="*/ 166310 w 399"/>
              <a:gd name="T21" fmla="*/ 66555 h 518"/>
              <a:gd name="T22" fmla="*/ 171561 w 399"/>
              <a:gd name="T23" fmla="*/ 71796 h 518"/>
              <a:gd name="T24" fmla="*/ 174187 w 399"/>
              <a:gd name="T25" fmla="*/ 79133 h 518"/>
              <a:gd name="T26" fmla="*/ 174187 w 399"/>
              <a:gd name="T27" fmla="*/ 91186 h 518"/>
              <a:gd name="T28" fmla="*/ 170686 w 399"/>
              <a:gd name="T29" fmla="*/ 104812 h 518"/>
              <a:gd name="T30" fmla="*/ 161495 w 399"/>
              <a:gd name="T31" fmla="*/ 125250 h 518"/>
              <a:gd name="T32" fmla="*/ 150554 w 399"/>
              <a:gd name="T33" fmla="*/ 144640 h 518"/>
              <a:gd name="T34" fmla="*/ 143551 w 399"/>
              <a:gd name="T35" fmla="*/ 158790 h 518"/>
              <a:gd name="T36" fmla="*/ 137424 w 399"/>
              <a:gd name="T37" fmla="*/ 172939 h 518"/>
              <a:gd name="T38" fmla="*/ 134361 w 399"/>
              <a:gd name="T39" fmla="*/ 188661 h 518"/>
              <a:gd name="T40" fmla="*/ 129984 w 399"/>
              <a:gd name="T41" fmla="*/ 197570 h 518"/>
              <a:gd name="T42" fmla="*/ 117292 w 399"/>
              <a:gd name="T43" fmla="*/ 202810 h 518"/>
              <a:gd name="T44" fmla="*/ 107664 w 399"/>
              <a:gd name="T45" fmla="*/ 209099 h 518"/>
              <a:gd name="T46" fmla="*/ 102849 w 399"/>
              <a:gd name="T47" fmla="*/ 213816 h 518"/>
              <a:gd name="T48" fmla="*/ 99348 w 399"/>
              <a:gd name="T49" fmla="*/ 218532 h 518"/>
              <a:gd name="T50" fmla="*/ 98035 w 399"/>
              <a:gd name="T51" fmla="*/ 223773 h 518"/>
              <a:gd name="T52" fmla="*/ 93221 w 399"/>
              <a:gd name="T53" fmla="*/ 229537 h 518"/>
              <a:gd name="T54" fmla="*/ 82279 w 399"/>
              <a:gd name="T55" fmla="*/ 235826 h 518"/>
              <a:gd name="T56" fmla="*/ 75715 w 399"/>
              <a:gd name="T57" fmla="*/ 238970 h 518"/>
              <a:gd name="T58" fmla="*/ 72651 w 399"/>
              <a:gd name="T59" fmla="*/ 244735 h 518"/>
              <a:gd name="T60" fmla="*/ 69150 w 399"/>
              <a:gd name="T61" fmla="*/ 252072 h 518"/>
              <a:gd name="T62" fmla="*/ 63898 w 399"/>
              <a:gd name="T63" fmla="*/ 256788 h 518"/>
              <a:gd name="T64" fmla="*/ 57333 w 399"/>
              <a:gd name="T65" fmla="*/ 258885 h 518"/>
              <a:gd name="T66" fmla="*/ 44641 w 399"/>
              <a:gd name="T67" fmla="*/ 260981 h 518"/>
              <a:gd name="T68" fmla="*/ 31949 w 399"/>
              <a:gd name="T69" fmla="*/ 264125 h 518"/>
              <a:gd name="T70" fmla="*/ 24071 w 399"/>
              <a:gd name="T71" fmla="*/ 268318 h 518"/>
              <a:gd name="T72" fmla="*/ 20132 w 399"/>
              <a:gd name="T73" fmla="*/ 269366 h 518"/>
              <a:gd name="T74" fmla="*/ 18819 w 399"/>
              <a:gd name="T75" fmla="*/ 265173 h 518"/>
              <a:gd name="T76" fmla="*/ 16631 w 399"/>
              <a:gd name="T77" fmla="*/ 260457 h 518"/>
              <a:gd name="T78" fmla="*/ 14880 w 399"/>
              <a:gd name="T79" fmla="*/ 255216 h 518"/>
              <a:gd name="T80" fmla="*/ 14443 w 399"/>
              <a:gd name="T81" fmla="*/ 245259 h 518"/>
              <a:gd name="T82" fmla="*/ 12692 w 399"/>
              <a:gd name="T83" fmla="*/ 233206 h 518"/>
              <a:gd name="T84" fmla="*/ 7440 w 399"/>
              <a:gd name="T85" fmla="*/ 219056 h 518"/>
              <a:gd name="T86" fmla="*/ 0 w 399"/>
              <a:gd name="T87" fmla="*/ 187613 h 518"/>
              <a:gd name="T88" fmla="*/ 84905 w 399"/>
              <a:gd name="T89" fmla="*/ 96951 h 518"/>
              <a:gd name="T90" fmla="*/ 87531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94" name="Freeform 545">
            <a:extLst>
              <a:ext uri="{FF2B5EF4-FFF2-40B4-BE49-F238E27FC236}">
                <a16:creationId xmlns:a16="http://schemas.microsoft.com/office/drawing/2014/main" id="{D1B491E6-E755-47B6-9618-CEF413DEF807}"/>
              </a:ext>
            </a:extLst>
          </p:cNvPr>
          <p:cNvSpPr>
            <a:spLocks/>
          </p:cNvSpPr>
          <p:nvPr>
            <p:custDataLst>
              <p:tags r:id="rId375"/>
            </p:custDataLst>
          </p:nvPr>
        </p:nvSpPr>
        <p:spPr bwMode="auto">
          <a:xfrm>
            <a:off x="7677347" y="6008703"/>
            <a:ext cx="798306" cy="818514"/>
          </a:xfrm>
          <a:custGeom>
            <a:avLst/>
            <a:gdLst>
              <a:gd name="T0" fmla="*/ 100359 w 866"/>
              <a:gd name="T1" fmla="*/ 140751 h 740"/>
              <a:gd name="T2" fmla="*/ 106441 w 866"/>
              <a:gd name="T3" fmla="*/ 137623 h 740"/>
              <a:gd name="T4" fmla="*/ 118172 w 866"/>
              <a:gd name="T5" fmla="*/ 141794 h 740"/>
              <a:gd name="T6" fmla="*/ 284134 w 866"/>
              <a:gd name="T7" fmla="*/ 521 h 740"/>
              <a:gd name="T8" fmla="*/ 294995 w 866"/>
              <a:gd name="T9" fmla="*/ 3128 h 740"/>
              <a:gd name="T10" fmla="*/ 308897 w 866"/>
              <a:gd name="T11" fmla="*/ 10947 h 740"/>
              <a:gd name="T12" fmla="*/ 317152 w 866"/>
              <a:gd name="T13" fmla="*/ 18246 h 740"/>
              <a:gd name="T14" fmla="*/ 330186 w 866"/>
              <a:gd name="T15" fmla="*/ 29714 h 740"/>
              <a:gd name="T16" fmla="*/ 343654 w 866"/>
              <a:gd name="T17" fmla="*/ 30757 h 740"/>
              <a:gd name="T18" fmla="*/ 361032 w 866"/>
              <a:gd name="T19" fmla="*/ 22416 h 740"/>
              <a:gd name="T20" fmla="*/ 371025 w 866"/>
              <a:gd name="T21" fmla="*/ 86536 h 740"/>
              <a:gd name="T22" fmla="*/ 376238 w 866"/>
              <a:gd name="T23" fmla="*/ 106866 h 740"/>
              <a:gd name="T24" fmla="*/ 369287 w 866"/>
              <a:gd name="T25" fmla="*/ 156911 h 740"/>
              <a:gd name="T26" fmla="*/ 368418 w 866"/>
              <a:gd name="T27" fmla="*/ 196009 h 740"/>
              <a:gd name="T28" fmla="*/ 362335 w 866"/>
              <a:gd name="T29" fmla="*/ 219467 h 740"/>
              <a:gd name="T30" fmla="*/ 348433 w 866"/>
              <a:gd name="T31" fmla="*/ 243447 h 740"/>
              <a:gd name="T32" fmla="*/ 337572 w 866"/>
              <a:gd name="T33" fmla="*/ 260129 h 740"/>
              <a:gd name="T34" fmla="*/ 329317 w 866"/>
              <a:gd name="T35" fmla="*/ 295577 h 740"/>
              <a:gd name="T36" fmla="*/ 308897 w 866"/>
              <a:gd name="T37" fmla="*/ 327898 h 740"/>
              <a:gd name="T38" fmla="*/ 295429 w 866"/>
              <a:gd name="T39" fmla="*/ 336760 h 740"/>
              <a:gd name="T40" fmla="*/ 279789 w 866"/>
              <a:gd name="T41" fmla="*/ 332589 h 740"/>
              <a:gd name="T42" fmla="*/ 265452 w 866"/>
              <a:gd name="T43" fmla="*/ 325813 h 740"/>
              <a:gd name="T44" fmla="*/ 245902 w 866"/>
              <a:gd name="T45" fmla="*/ 329983 h 740"/>
              <a:gd name="T46" fmla="*/ 230261 w 866"/>
              <a:gd name="T47" fmla="*/ 343537 h 740"/>
              <a:gd name="T48" fmla="*/ 222006 w 866"/>
              <a:gd name="T49" fmla="*/ 354484 h 740"/>
              <a:gd name="T50" fmla="*/ 213317 w 866"/>
              <a:gd name="T51" fmla="*/ 356569 h 740"/>
              <a:gd name="T52" fmla="*/ 204194 w 866"/>
              <a:gd name="T53" fmla="*/ 348228 h 740"/>
              <a:gd name="T54" fmla="*/ 193767 w 866"/>
              <a:gd name="T55" fmla="*/ 333111 h 740"/>
              <a:gd name="T56" fmla="*/ 182906 w 866"/>
              <a:gd name="T57" fmla="*/ 331026 h 740"/>
              <a:gd name="T58" fmla="*/ 175954 w 866"/>
              <a:gd name="T59" fmla="*/ 337281 h 740"/>
              <a:gd name="T60" fmla="*/ 166831 w 866"/>
              <a:gd name="T61" fmla="*/ 339888 h 740"/>
              <a:gd name="T62" fmla="*/ 152059 w 866"/>
              <a:gd name="T63" fmla="*/ 332589 h 740"/>
              <a:gd name="T64" fmla="*/ 132943 w 866"/>
              <a:gd name="T65" fmla="*/ 316950 h 740"/>
              <a:gd name="T66" fmla="*/ 117737 w 866"/>
              <a:gd name="T67" fmla="*/ 314865 h 740"/>
              <a:gd name="T68" fmla="*/ 102966 w 866"/>
              <a:gd name="T69" fmla="*/ 323206 h 740"/>
              <a:gd name="T70" fmla="*/ 90801 w 866"/>
              <a:gd name="T71" fmla="*/ 340409 h 740"/>
              <a:gd name="T72" fmla="*/ 82546 w 866"/>
              <a:gd name="T73" fmla="*/ 360740 h 740"/>
              <a:gd name="T74" fmla="*/ 77333 w 866"/>
              <a:gd name="T75" fmla="*/ 374815 h 740"/>
              <a:gd name="T76" fmla="*/ 64734 w 866"/>
              <a:gd name="T77" fmla="*/ 365953 h 740"/>
              <a:gd name="T78" fmla="*/ 43445 w 866"/>
              <a:gd name="T79" fmla="*/ 385762 h 740"/>
              <a:gd name="T80" fmla="*/ 28674 w 866"/>
              <a:gd name="T81" fmla="*/ 364389 h 740"/>
              <a:gd name="T82" fmla="*/ 27805 w 866"/>
              <a:gd name="T83" fmla="*/ 335717 h 740"/>
              <a:gd name="T84" fmla="*/ 21723 w 866"/>
              <a:gd name="T85" fmla="*/ 319557 h 740"/>
              <a:gd name="T86" fmla="*/ 8689 w 866"/>
              <a:gd name="T87" fmla="*/ 306003 h 740"/>
              <a:gd name="T88" fmla="*/ 2172 w 866"/>
              <a:gd name="T89" fmla="*/ 290885 h 740"/>
              <a:gd name="T90" fmla="*/ 23026 w 866"/>
              <a:gd name="T91" fmla="*/ 276289 h 740"/>
              <a:gd name="T92" fmla="*/ 33019 w 866"/>
              <a:gd name="T93" fmla="*/ 270033 h 740"/>
              <a:gd name="T94" fmla="*/ 60389 w 866"/>
              <a:gd name="T95" fmla="*/ 265863 h 740"/>
              <a:gd name="T96" fmla="*/ 79071 w 866"/>
              <a:gd name="T97" fmla="*/ 260650 h 740"/>
              <a:gd name="T98" fmla="*/ 87325 w 866"/>
              <a:gd name="T99" fmla="*/ 247617 h 740"/>
              <a:gd name="T100" fmla="*/ 95146 w 866"/>
              <a:gd name="T101" fmla="*/ 221031 h 740"/>
              <a:gd name="T102" fmla="*/ 97318 w 866"/>
              <a:gd name="T103" fmla="*/ 191317 h 740"/>
              <a:gd name="T104" fmla="*/ 95146 w 866"/>
              <a:gd name="T105" fmla="*/ 166816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chemeClr val="bg2">
              <a:lumMod val="50000"/>
              <a:alpha val="18000"/>
            </a:schemeClr>
          </a:solidFill>
          <a:ln w="9525" cmpd="sng">
            <a:solidFill>
              <a:srgbClr val="FFFFFF"/>
            </a:solidFill>
            <a:prstDash val="solid"/>
            <a:round/>
            <a:headEnd/>
            <a:tailEnd/>
          </a:ln>
        </p:spPr>
        <p:txBody>
          <a:bodyPr/>
          <a:lstStyle/>
          <a:p>
            <a:endParaRPr lang="es-ES" dirty="0"/>
          </a:p>
        </p:txBody>
      </p:sp>
      <p:sp>
        <p:nvSpPr>
          <p:cNvPr id="1095" name="Freeform 546">
            <a:extLst>
              <a:ext uri="{FF2B5EF4-FFF2-40B4-BE49-F238E27FC236}">
                <a16:creationId xmlns:a16="http://schemas.microsoft.com/office/drawing/2014/main" id="{2B60AE42-A910-4157-B0BF-0E948B768D9B}"/>
              </a:ext>
            </a:extLst>
          </p:cNvPr>
          <p:cNvSpPr>
            <a:spLocks/>
          </p:cNvSpPr>
          <p:nvPr>
            <p:custDataLst>
              <p:tags r:id="rId376"/>
            </p:custDataLst>
          </p:nvPr>
        </p:nvSpPr>
        <p:spPr bwMode="auto">
          <a:xfrm>
            <a:off x="6976725" y="5196924"/>
            <a:ext cx="636624" cy="552414"/>
          </a:xfrm>
          <a:custGeom>
            <a:avLst/>
            <a:gdLst>
              <a:gd name="T0" fmla="*/ 278945 w 697"/>
              <a:gd name="T1" fmla="*/ 27597 h 500"/>
              <a:gd name="T2" fmla="*/ 282819 w 697"/>
              <a:gd name="T3" fmla="*/ 83833 h 500"/>
              <a:gd name="T4" fmla="*/ 284541 w 697"/>
              <a:gd name="T5" fmla="*/ 86957 h 500"/>
              <a:gd name="T6" fmla="*/ 291429 w 697"/>
              <a:gd name="T7" fmla="*/ 92164 h 500"/>
              <a:gd name="T8" fmla="*/ 298747 w 697"/>
              <a:gd name="T9" fmla="*/ 98412 h 500"/>
              <a:gd name="T10" fmla="*/ 300038 w 697"/>
              <a:gd name="T11" fmla="*/ 103099 h 500"/>
              <a:gd name="T12" fmla="*/ 298747 w 697"/>
              <a:gd name="T13" fmla="*/ 109868 h 500"/>
              <a:gd name="T14" fmla="*/ 294872 w 697"/>
              <a:gd name="T15" fmla="*/ 112992 h 500"/>
              <a:gd name="T16" fmla="*/ 281958 w 697"/>
              <a:gd name="T17" fmla="*/ 113513 h 500"/>
              <a:gd name="T18" fmla="*/ 260435 w 697"/>
              <a:gd name="T19" fmla="*/ 118720 h 500"/>
              <a:gd name="T20" fmla="*/ 244077 w 697"/>
              <a:gd name="T21" fmla="*/ 130175 h 500"/>
              <a:gd name="T22" fmla="*/ 236328 w 697"/>
              <a:gd name="T23" fmla="*/ 139027 h 500"/>
              <a:gd name="T24" fmla="*/ 232024 w 697"/>
              <a:gd name="T25" fmla="*/ 149962 h 500"/>
              <a:gd name="T26" fmla="*/ 224275 w 697"/>
              <a:gd name="T27" fmla="*/ 157251 h 500"/>
              <a:gd name="T28" fmla="*/ 211361 w 697"/>
              <a:gd name="T29" fmla="*/ 168707 h 500"/>
              <a:gd name="T30" fmla="*/ 195864 w 697"/>
              <a:gd name="T31" fmla="*/ 183286 h 500"/>
              <a:gd name="T32" fmla="*/ 180798 w 697"/>
              <a:gd name="T33" fmla="*/ 192659 h 500"/>
              <a:gd name="T34" fmla="*/ 160135 w 697"/>
              <a:gd name="T35" fmla="*/ 196304 h 500"/>
              <a:gd name="T36" fmla="*/ 148082 w 697"/>
              <a:gd name="T37" fmla="*/ 197866 h 500"/>
              <a:gd name="T38" fmla="*/ 136029 w 697"/>
              <a:gd name="T39" fmla="*/ 206197 h 500"/>
              <a:gd name="T40" fmla="*/ 124836 w 697"/>
              <a:gd name="T41" fmla="*/ 217132 h 500"/>
              <a:gd name="T42" fmla="*/ 114075 w 697"/>
              <a:gd name="T43" fmla="*/ 221818 h 500"/>
              <a:gd name="T44" fmla="*/ 2152 w 697"/>
              <a:gd name="T45" fmla="*/ 258267 h 500"/>
              <a:gd name="T46" fmla="*/ 13775 w 697"/>
              <a:gd name="T47" fmla="*/ 253581 h 500"/>
              <a:gd name="T48" fmla="*/ 36590 w 697"/>
              <a:gd name="T49" fmla="*/ 246291 h 500"/>
              <a:gd name="T50" fmla="*/ 40034 w 697"/>
              <a:gd name="T51" fmla="*/ 239001 h 500"/>
              <a:gd name="T52" fmla="*/ 42617 w 697"/>
              <a:gd name="T53" fmla="*/ 228067 h 500"/>
              <a:gd name="T54" fmla="*/ 51226 w 697"/>
              <a:gd name="T55" fmla="*/ 219735 h 500"/>
              <a:gd name="T56" fmla="*/ 68875 w 697"/>
              <a:gd name="T57" fmla="*/ 207759 h 500"/>
              <a:gd name="T58" fmla="*/ 77915 w 697"/>
              <a:gd name="T59" fmla="*/ 198907 h 500"/>
              <a:gd name="T60" fmla="*/ 82650 w 697"/>
              <a:gd name="T61" fmla="*/ 185890 h 500"/>
              <a:gd name="T62" fmla="*/ 83081 w 697"/>
              <a:gd name="T63" fmla="*/ 164541 h 500"/>
              <a:gd name="T64" fmla="*/ 83942 w 697"/>
              <a:gd name="T65" fmla="*/ 132258 h 500"/>
              <a:gd name="T66" fmla="*/ 82650 w 697"/>
              <a:gd name="T67" fmla="*/ 99974 h 500"/>
              <a:gd name="T68" fmla="*/ 92121 w 697"/>
              <a:gd name="T69" fmla="*/ 98412 h 500"/>
              <a:gd name="T70" fmla="*/ 98147 w 697"/>
              <a:gd name="T71" fmla="*/ 93205 h 500"/>
              <a:gd name="T72" fmla="*/ 103743 w 697"/>
              <a:gd name="T73" fmla="*/ 85916 h 500"/>
              <a:gd name="T74" fmla="*/ 108479 w 697"/>
              <a:gd name="T75" fmla="*/ 79146 h 500"/>
              <a:gd name="T76" fmla="*/ 120962 w 697"/>
              <a:gd name="T77" fmla="*/ 76022 h 500"/>
              <a:gd name="T78" fmla="*/ 135168 w 697"/>
              <a:gd name="T79" fmla="*/ 74460 h 500"/>
              <a:gd name="T80" fmla="*/ 146360 w 697"/>
              <a:gd name="T81" fmla="*/ 68212 h 500"/>
              <a:gd name="T82" fmla="*/ 154969 w 697"/>
              <a:gd name="T83" fmla="*/ 56236 h 500"/>
              <a:gd name="T84" fmla="*/ 167023 w 697"/>
              <a:gd name="T85" fmla="*/ 24994 h 500"/>
              <a:gd name="T86" fmla="*/ 175202 w 697"/>
              <a:gd name="T87" fmla="*/ 6248 h 500"/>
              <a:gd name="T88" fmla="*/ 183380 w 697"/>
              <a:gd name="T89" fmla="*/ 4166 h 500"/>
              <a:gd name="T90" fmla="*/ 193281 w 697"/>
              <a:gd name="T91" fmla="*/ 10414 h 500"/>
              <a:gd name="T92" fmla="*/ 220401 w 697"/>
              <a:gd name="T93" fmla="*/ 9373 h 500"/>
              <a:gd name="T94" fmla="*/ 253978 w 697"/>
              <a:gd name="T95" fmla="*/ 6769 h 500"/>
              <a:gd name="T96" fmla="*/ 256991 w 697"/>
              <a:gd name="T97" fmla="*/ 8852 h 500"/>
              <a:gd name="T98" fmla="*/ 260435 w 697"/>
              <a:gd name="T99" fmla="*/ 18745 h 500"/>
              <a:gd name="T100" fmla="*/ 263018 w 697"/>
              <a:gd name="T101" fmla="*/ 26556 h 500"/>
              <a:gd name="T102" fmla="*/ 266031 w 697"/>
              <a:gd name="T103" fmla="*/ 26035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96" name="Freeform 547">
            <a:extLst>
              <a:ext uri="{FF2B5EF4-FFF2-40B4-BE49-F238E27FC236}">
                <a16:creationId xmlns:a16="http://schemas.microsoft.com/office/drawing/2014/main" id="{8A95BDF2-742B-48F8-94A7-A7CCE0160BB6}"/>
              </a:ext>
            </a:extLst>
          </p:cNvPr>
          <p:cNvSpPr>
            <a:spLocks/>
          </p:cNvSpPr>
          <p:nvPr>
            <p:custDataLst>
              <p:tags r:id="rId377"/>
            </p:custDataLst>
          </p:nvPr>
        </p:nvSpPr>
        <p:spPr bwMode="auto">
          <a:xfrm>
            <a:off x="8462179" y="2926639"/>
            <a:ext cx="501887" cy="195366"/>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97" name="Freeform 548">
            <a:extLst>
              <a:ext uri="{FF2B5EF4-FFF2-40B4-BE49-F238E27FC236}">
                <a16:creationId xmlns:a16="http://schemas.microsoft.com/office/drawing/2014/main" id="{06C6575F-D892-499D-A76E-8DC0A9FC23CC}"/>
              </a:ext>
            </a:extLst>
          </p:cNvPr>
          <p:cNvSpPr>
            <a:spLocks/>
          </p:cNvSpPr>
          <p:nvPr>
            <p:custDataLst>
              <p:tags r:id="rId378"/>
            </p:custDataLst>
          </p:nvPr>
        </p:nvSpPr>
        <p:spPr bwMode="auto">
          <a:xfrm>
            <a:off x="9546796" y="2892955"/>
            <a:ext cx="229050" cy="127998"/>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98" name="Freeform 549">
            <a:extLst>
              <a:ext uri="{FF2B5EF4-FFF2-40B4-BE49-F238E27FC236}">
                <a16:creationId xmlns:a16="http://schemas.microsoft.com/office/drawing/2014/main" id="{433DA630-D905-4D7E-A45E-B342144D5716}"/>
              </a:ext>
            </a:extLst>
          </p:cNvPr>
          <p:cNvSpPr>
            <a:spLocks/>
          </p:cNvSpPr>
          <p:nvPr>
            <p:custDataLst>
              <p:tags r:id="rId379"/>
            </p:custDataLst>
          </p:nvPr>
        </p:nvSpPr>
        <p:spPr bwMode="auto">
          <a:xfrm>
            <a:off x="9849950" y="2855904"/>
            <a:ext cx="134735" cy="121262"/>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chemeClr val="bg2">
              <a:lumMod val="50000"/>
              <a:alpha val="18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7" name="Rectangle 6"/>
          <p:cNvSpPr/>
          <p:nvPr/>
        </p:nvSpPr>
        <p:spPr>
          <a:xfrm>
            <a:off x="10976858" y="2111374"/>
            <a:ext cx="12211532" cy="10726013"/>
          </a:xfrm>
          <a:prstGeom prst="rect">
            <a:avLst/>
          </a:prstGeom>
        </p:spPr>
        <p:txBody>
          <a:bodyPr wrap="square" anchor="t">
            <a:spAutoFit/>
          </a:bodyPr>
          <a:lstStyle/>
          <a:p>
            <a:pPr algn="just" defTabSz="1028700" eaLnBrk="0" fontAlgn="base">
              <a:spcBef>
                <a:spcPts val="338"/>
              </a:spcBef>
              <a:spcAft>
                <a:spcPts val="338"/>
              </a:spcAft>
            </a:pPr>
            <a:r>
              <a:rPr lang="en-US" sz="2800" dirty="0">
                <a:latin typeface="+mn-lt"/>
                <a:ea typeface="ＭＳ Ｐゴシック"/>
                <a:cs typeface="Arial"/>
              </a:rPr>
              <a:t>El proyecto </a:t>
            </a:r>
            <a:r>
              <a:rPr lang="en-US" sz="2800" b="1" dirty="0">
                <a:solidFill>
                  <a:srgbClr val="C00000"/>
                </a:solidFill>
                <a:latin typeface="+mn-lt"/>
                <a:ea typeface="ＭＳ Ｐゴシック"/>
                <a:cs typeface="Arial"/>
              </a:rPr>
              <a:t>Go Cloud</a:t>
            </a:r>
            <a:r>
              <a:rPr lang="en-US" sz="2800" dirty="0">
                <a:latin typeface="+mn-lt"/>
                <a:ea typeface="ＭＳ Ｐゴシック"/>
                <a:cs typeface="Arial"/>
              </a:rPr>
              <a:t>  tiene cómo objetivo la adopción de servicios Cloud  para ser consumidos por Santander Tecnología España.</a:t>
            </a:r>
            <a:endParaRPr lang="en-US" dirty="0">
              <a:latin typeface="+mn-lt"/>
              <a:ea typeface="ＭＳ Ｐゴシック"/>
              <a:cs typeface="Arial"/>
            </a:endParaRPr>
          </a:p>
          <a:p>
            <a:pPr algn="just" defTabSz="1028700">
              <a:spcBef>
                <a:spcPts val="338"/>
              </a:spcBef>
              <a:spcAft>
                <a:spcPts val="338"/>
              </a:spcAft>
            </a:pPr>
            <a:endParaRPr lang="en-US" sz="2800" dirty="0">
              <a:latin typeface="+mn-lt"/>
              <a:ea typeface="ＭＳ Ｐゴシック"/>
              <a:cs typeface="Arial"/>
            </a:endParaRPr>
          </a:p>
          <a:p>
            <a:pPr algn="just" defTabSz="1028700">
              <a:spcBef>
                <a:spcPts val="338"/>
              </a:spcBef>
              <a:spcAft>
                <a:spcPts val="338"/>
              </a:spcAft>
            </a:pPr>
            <a:r>
              <a:rPr lang="en-US" sz="2800" dirty="0">
                <a:latin typeface="+mn-lt"/>
                <a:ea typeface="ＭＳ Ｐゴシック"/>
                <a:cs typeface="Arial"/>
              </a:rPr>
              <a:t>Responsables DevOps / Lideres técnicos serán capaces de gestionar y desarrollar nuevos productos / servicios bancarios digitales apoyados en la nueva solución implementada. </a:t>
            </a:r>
            <a:endParaRPr lang="en-US" dirty="0">
              <a:latin typeface="+mn-lt"/>
              <a:cs typeface="Arial"/>
            </a:endParaRPr>
          </a:p>
          <a:p>
            <a:pPr algn="just" defTabSz="1028700" eaLnBrk="0" fontAlgn="base" hangingPunct="0">
              <a:spcBef>
                <a:spcPts val="338"/>
              </a:spcBef>
              <a:spcAft>
                <a:spcPts val="338"/>
              </a:spcAft>
            </a:pPr>
            <a:endParaRPr lang="en-US" sz="2800" b="1" dirty="0">
              <a:latin typeface="+mn-lt"/>
              <a:ea typeface="ＭＳ Ｐゴシック" panose="020B0600070205080204" pitchFamily="34" charset="-128"/>
              <a:cs typeface="Arial" panose="020B0604020202020204" pitchFamily="34" charset="0"/>
            </a:endParaRPr>
          </a:p>
          <a:p>
            <a:pPr algn="just" defTabSz="1028700" eaLnBrk="0" fontAlgn="base">
              <a:spcBef>
                <a:spcPts val="338"/>
              </a:spcBef>
              <a:spcAft>
                <a:spcPts val="338"/>
              </a:spcAft>
            </a:pPr>
            <a:r>
              <a:rPr lang="en-US" sz="2800" dirty="0">
                <a:latin typeface="+mn-lt"/>
                <a:ea typeface="ＭＳ Ｐゴシック"/>
                <a:cs typeface="Arial"/>
              </a:rPr>
              <a:t>El objetivo del proyecto </a:t>
            </a:r>
            <a:r>
              <a:rPr lang="en-US" sz="2800" b="1" dirty="0">
                <a:solidFill>
                  <a:srgbClr val="C00000"/>
                </a:solidFill>
                <a:latin typeface="+mn-lt"/>
                <a:ea typeface="ＭＳ Ｐゴシック"/>
                <a:cs typeface="Arial"/>
              </a:rPr>
              <a:t>Go Cloud</a:t>
            </a:r>
            <a:r>
              <a:rPr lang="en-US" sz="2800" b="1" dirty="0">
                <a:latin typeface="+mn-lt"/>
                <a:ea typeface="ＭＳ Ｐゴシック"/>
                <a:cs typeface="Arial"/>
              </a:rPr>
              <a:t> </a:t>
            </a:r>
            <a:r>
              <a:rPr lang="en-US" sz="2800" dirty="0">
                <a:latin typeface="+mn-lt"/>
                <a:ea typeface="ＭＳ Ｐゴシック"/>
                <a:cs typeface="Arial"/>
              </a:rPr>
              <a:t>es ofrecer las siguientes ventajas a Santander Tecnología España:</a:t>
            </a:r>
          </a:p>
          <a:p>
            <a:pPr algn="just" defTabSz="1028700" eaLnBrk="0" fontAlgn="base">
              <a:spcBef>
                <a:spcPts val="338"/>
              </a:spcBef>
              <a:spcAft>
                <a:spcPts val="338"/>
              </a:spcAft>
            </a:pPr>
            <a:endParaRPr lang="en-US" sz="2800" dirty="0">
              <a:solidFill>
                <a:srgbClr val="000000"/>
              </a:solidFill>
              <a:latin typeface="+mn-lt"/>
              <a:ea typeface="ＭＳ Ｐゴシック" panose="020B0600070205080204" pitchFamily="34" charset="-128"/>
              <a:cs typeface="Arial" panose="020B0604020202020204" pitchFamily="34" charset="0"/>
            </a:endParaRPr>
          </a:p>
          <a:p>
            <a:pPr marL="1482090" lvl="1" indent="-571500" algn="just" defTabSz="1028700">
              <a:spcBef>
                <a:spcPts val="338"/>
              </a:spcBef>
              <a:spcAft>
                <a:spcPts val="338"/>
              </a:spcAft>
              <a:buClr>
                <a:schemeClr val="accent1"/>
              </a:buClr>
              <a:buFont typeface="Arial" panose="020B0604020202020204" pitchFamily="34" charset="0"/>
              <a:buChar char="•"/>
            </a:pPr>
            <a:r>
              <a:rPr lang="en-US" sz="2800" b="1" dirty="0">
                <a:solidFill>
                  <a:srgbClr val="C00000"/>
                </a:solidFill>
                <a:latin typeface="+mn-lt"/>
                <a:ea typeface="+mj-lt"/>
                <a:cs typeface="+mj-lt"/>
              </a:rPr>
              <a:t>Acelerar la adopción</a:t>
            </a:r>
            <a:r>
              <a:rPr lang="en-US" sz="2800" b="1" dirty="0">
                <a:latin typeface="+mn-lt"/>
                <a:ea typeface="+mj-lt"/>
                <a:cs typeface="+mj-lt"/>
              </a:rPr>
              <a:t> </a:t>
            </a:r>
            <a:r>
              <a:rPr lang="en-US" sz="2800" dirty="0">
                <a:latin typeface="+mn-lt"/>
                <a:ea typeface="+mj-lt"/>
                <a:cs typeface="+mj-lt"/>
              </a:rPr>
              <a:t>de la plataforma y servicios</a:t>
            </a:r>
            <a:endParaRPr lang="en-US" dirty="0">
              <a:latin typeface="+mn-lt"/>
              <a:cs typeface="Arial"/>
            </a:endParaRPr>
          </a:p>
          <a:p>
            <a:pPr marL="1482090" lvl="1" indent="-571500" algn="just" defTabSz="1028700">
              <a:spcBef>
                <a:spcPts val="338"/>
              </a:spcBef>
              <a:spcAft>
                <a:spcPts val="338"/>
              </a:spcAft>
              <a:buClr>
                <a:schemeClr val="accent1"/>
              </a:buClr>
              <a:buFont typeface="Arial" panose="020B0604020202020204" pitchFamily="34" charset="0"/>
              <a:buChar char="•"/>
            </a:pPr>
            <a:endParaRPr lang="en-US" sz="2800" dirty="0">
              <a:solidFill>
                <a:srgbClr val="000000"/>
              </a:solidFill>
              <a:latin typeface="+mn-lt"/>
              <a:ea typeface="ＭＳ Ｐゴシック" panose="020B0600070205080204" pitchFamily="34" charset="-128"/>
              <a:cs typeface="Arial" panose="020B0604020202020204" pitchFamily="34" charset="0"/>
            </a:endParaRPr>
          </a:p>
          <a:p>
            <a:pPr marL="1482090" lvl="1" indent="-571500" algn="just" defTabSz="1028700" eaLnBrk="0" fontAlgn="base">
              <a:spcBef>
                <a:spcPts val="338"/>
              </a:spcBef>
              <a:spcAft>
                <a:spcPts val="338"/>
              </a:spcAft>
              <a:buClr>
                <a:schemeClr val="accent1"/>
              </a:buClr>
              <a:buFont typeface="Arial" panose="020B0604020202020204" pitchFamily="34" charset="0"/>
              <a:buChar char="•"/>
            </a:pPr>
            <a:r>
              <a:rPr lang="en-US" sz="2800" b="1" dirty="0">
                <a:solidFill>
                  <a:srgbClr val="C00000"/>
                </a:solidFill>
                <a:latin typeface="+mn-lt"/>
                <a:ea typeface="+mj-lt"/>
                <a:cs typeface="+mj-lt"/>
              </a:rPr>
              <a:t>Gestionar y optimizar el coste </a:t>
            </a:r>
            <a:r>
              <a:rPr lang="en-US" sz="2800" dirty="0">
                <a:latin typeface="+mn-lt"/>
                <a:ea typeface="+mj-lt"/>
                <a:cs typeface="+mj-lt"/>
              </a:rPr>
              <a:t>de la plataforma</a:t>
            </a:r>
          </a:p>
          <a:p>
            <a:pPr marL="1482090" lvl="1" indent="-571500" algn="just" defTabSz="1028700" eaLnBrk="0" fontAlgn="base">
              <a:spcBef>
                <a:spcPts val="338"/>
              </a:spcBef>
              <a:spcAft>
                <a:spcPts val="338"/>
              </a:spcAft>
              <a:buClr>
                <a:schemeClr val="accent1"/>
              </a:buClr>
              <a:buFont typeface="Arial" panose="020B0604020202020204" pitchFamily="34" charset="0"/>
              <a:buChar char="•"/>
            </a:pPr>
            <a:endParaRPr lang="en-US" sz="2800" b="1" dirty="0">
              <a:latin typeface="+mn-lt"/>
              <a:ea typeface="+mj-lt"/>
              <a:cs typeface="+mj-lt"/>
            </a:endParaRPr>
          </a:p>
          <a:p>
            <a:pPr marL="1482090" lvl="1" indent="-571500" algn="just" defTabSz="1028700">
              <a:spcBef>
                <a:spcPts val="338"/>
              </a:spcBef>
              <a:spcAft>
                <a:spcPts val="338"/>
              </a:spcAft>
              <a:buClr>
                <a:schemeClr val="accent1"/>
              </a:buClr>
              <a:buFont typeface="Arial" panose="020B0604020202020204" pitchFamily="34" charset="0"/>
              <a:buChar char="•"/>
            </a:pPr>
            <a:r>
              <a:rPr lang="en-US" sz="2800" b="1" dirty="0">
                <a:solidFill>
                  <a:srgbClr val="C00000"/>
                </a:solidFill>
                <a:latin typeface="+mn-lt"/>
                <a:ea typeface="+mj-lt"/>
                <a:cs typeface="+mj-lt"/>
              </a:rPr>
              <a:t>Estandarizar y dinamizar </a:t>
            </a:r>
            <a:r>
              <a:rPr lang="en-US" sz="2800" dirty="0">
                <a:latin typeface="+mn-lt"/>
                <a:ea typeface="+mj-lt"/>
                <a:cs typeface="+mj-lt"/>
              </a:rPr>
              <a:t>el catálogo de servicios</a:t>
            </a:r>
            <a:endParaRPr lang="en-US" dirty="0">
              <a:latin typeface="+mn-lt"/>
              <a:cs typeface="Arial"/>
            </a:endParaRPr>
          </a:p>
          <a:p>
            <a:pPr marL="1482090" lvl="1" indent="-571500" algn="just" defTabSz="1028700">
              <a:spcBef>
                <a:spcPts val="338"/>
              </a:spcBef>
              <a:spcAft>
                <a:spcPts val="338"/>
              </a:spcAft>
              <a:buClr>
                <a:schemeClr val="accent1"/>
              </a:buClr>
              <a:buFont typeface="Arial" panose="020B0604020202020204" pitchFamily="34" charset="0"/>
              <a:buChar char="•"/>
            </a:pPr>
            <a:endParaRPr lang="en-US" sz="2800" b="1" dirty="0">
              <a:latin typeface="+mn-lt"/>
              <a:ea typeface="+mj-lt"/>
              <a:cs typeface="+mj-lt"/>
            </a:endParaRPr>
          </a:p>
          <a:p>
            <a:pPr marL="1482090" lvl="1" indent="-571500" algn="just" defTabSz="1028700">
              <a:spcBef>
                <a:spcPts val="338"/>
              </a:spcBef>
              <a:spcAft>
                <a:spcPts val="338"/>
              </a:spcAft>
              <a:buClr>
                <a:schemeClr val="accent1"/>
              </a:buClr>
              <a:buFont typeface="Arial" panose="020B0604020202020204" pitchFamily="34" charset="0"/>
              <a:buChar char="•"/>
            </a:pPr>
            <a:r>
              <a:rPr lang="en-US" sz="2800" b="1" dirty="0">
                <a:solidFill>
                  <a:srgbClr val="C00000"/>
                </a:solidFill>
                <a:latin typeface="+mn-lt"/>
                <a:ea typeface="+mj-lt"/>
                <a:cs typeface="+mj-lt"/>
              </a:rPr>
              <a:t>Generar las capacidades </a:t>
            </a:r>
            <a:r>
              <a:rPr lang="en-US" sz="2800" dirty="0">
                <a:latin typeface="+mn-lt"/>
                <a:ea typeface="+mj-lt"/>
                <a:cs typeface="+mj-lt"/>
              </a:rPr>
              <a:t>necesarias y transformar los equipos</a:t>
            </a:r>
            <a:endParaRPr lang="en-US" sz="2800" dirty="0">
              <a:latin typeface="+mn-lt"/>
              <a:ea typeface="ＭＳ Ｐゴシック" panose="020B0600070205080204" pitchFamily="34" charset="-128"/>
              <a:cs typeface="Arial" panose="020B0604020202020204" pitchFamily="34" charset="0"/>
            </a:endParaRPr>
          </a:p>
          <a:p>
            <a:pPr marL="1482090" lvl="1" indent="-571500" algn="just" defTabSz="1028700" eaLnBrk="0" fontAlgn="base">
              <a:spcBef>
                <a:spcPts val="338"/>
              </a:spcBef>
              <a:spcAft>
                <a:spcPts val="338"/>
              </a:spcAft>
              <a:buClr>
                <a:schemeClr val="accent1"/>
              </a:buClr>
              <a:buFont typeface="Arial" panose="020B0604020202020204" pitchFamily="34" charset="0"/>
              <a:buChar char="•"/>
            </a:pPr>
            <a:endParaRPr lang="en-US" sz="2800" dirty="0">
              <a:solidFill>
                <a:srgbClr val="000000"/>
              </a:solidFill>
              <a:latin typeface="+mn-lt"/>
              <a:ea typeface="ＭＳ Ｐゴシック" panose="020B0600070205080204" pitchFamily="34" charset="-128"/>
              <a:cs typeface="Arial" panose="020B0604020202020204" pitchFamily="34" charset="0"/>
            </a:endParaRPr>
          </a:p>
          <a:p>
            <a:pPr indent="-3175" algn="just" defTabSz="1028700" eaLnBrk="0" fontAlgn="base">
              <a:spcBef>
                <a:spcPts val="338"/>
              </a:spcBef>
              <a:spcAft>
                <a:spcPts val="338"/>
              </a:spcAft>
              <a:buClr>
                <a:schemeClr val="accent1"/>
              </a:buClr>
            </a:pPr>
            <a:r>
              <a:rPr lang="en-US" sz="2800" dirty="0">
                <a:latin typeface="+mn-lt"/>
                <a:cs typeface="Arial"/>
              </a:rPr>
              <a:t>Este entregable detalla los inputs necesarios de los servicios a proporcionar y se focaliza en la definición del set mínimo de estándares para soportar el servicio a desarrollar.</a:t>
            </a:r>
            <a:endParaRPr lang="en-US" sz="2800" kern="0" dirty="0">
              <a:solidFill>
                <a:srgbClr val="000000"/>
              </a:solidFill>
              <a:latin typeface="+mn-lt"/>
              <a:cs typeface="Arial"/>
            </a:endParaRPr>
          </a:p>
          <a:p>
            <a:pPr marL="1482448" lvl="1" indent="-571500" defTabSz="1028700" eaLnBrk="0" fontAlgn="base" hangingPunct="0">
              <a:spcBef>
                <a:spcPts val="338"/>
              </a:spcBef>
              <a:spcAft>
                <a:spcPts val="338"/>
              </a:spcAft>
              <a:buClr>
                <a:schemeClr val="accent1"/>
              </a:buClr>
              <a:buFont typeface="Arial" panose="020B0604020202020204" pitchFamily="34" charset="0"/>
              <a:buChar char="•"/>
            </a:pPr>
            <a:endParaRPr lang="en-US" sz="2800" dirty="0">
              <a:solidFill>
                <a:srgbClr val="000000"/>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 name="TextBox 1">
            <a:extLst>
              <a:ext uri="{FF2B5EF4-FFF2-40B4-BE49-F238E27FC236}">
                <a16:creationId xmlns:a16="http://schemas.microsoft.com/office/drawing/2014/main" id="{85A135E9-CE78-4F32-85F0-840FF9443E70}"/>
              </a:ext>
            </a:extLst>
          </p:cNvPr>
          <p:cNvSpPr txBox="1"/>
          <p:nvPr/>
        </p:nvSpPr>
        <p:spPr>
          <a:xfrm>
            <a:off x="650240" y="541319"/>
            <a:ext cx="22611504" cy="1138773"/>
          </a:xfrm>
          <a:prstGeom prst="rect">
            <a:avLst/>
          </a:prstGeom>
          <a:noFill/>
        </p:spPr>
        <p:txBody>
          <a:bodyPr wrap="square"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1pPr>
            <a:lvl2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2pPr>
            <a:lvl3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3pPr>
            <a:lvl4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4pPr>
            <a:lvl5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5pPr>
            <a:lvl6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6pPr>
            <a:lvl7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7pPr>
            <a:lvl8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8pPr>
            <a:lvl9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9pPr>
          </a:lstStyle>
          <a:p>
            <a:pPr algn="l"/>
            <a:r>
              <a:rPr lang="en-GB" sz="4000" b="1" kern="1200" dirty="0">
                <a:solidFill>
                  <a:srgbClr val="C00000"/>
                </a:solidFill>
              </a:rPr>
              <a:t>Contexto</a:t>
            </a:r>
          </a:p>
          <a:p>
            <a:pPr algn="l"/>
            <a:endParaRPr lang="en-GB" altLang="en-US" sz="2800" kern="1200" dirty="0">
              <a:solidFill>
                <a:schemeClr val="tx1"/>
              </a:solidFill>
              <a:latin typeface="IBM Plex Sans"/>
            </a:endParaRPr>
          </a:p>
        </p:txBody>
      </p:sp>
      <p:sp>
        <p:nvSpPr>
          <p:cNvPr id="1099" name="Freeform 550">
            <a:extLst>
              <a:ext uri="{FF2B5EF4-FFF2-40B4-BE49-F238E27FC236}">
                <a16:creationId xmlns:a16="http://schemas.microsoft.com/office/drawing/2014/main" id="{7B7C8AC8-B7EF-4B3A-9ADA-9594E7A88816}"/>
              </a:ext>
            </a:extLst>
          </p:cNvPr>
          <p:cNvSpPr>
            <a:spLocks/>
          </p:cNvSpPr>
          <p:nvPr>
            <p:custDataLst>
              <p:tags r:id="rId380"/>
            </p:custDataLst>
          </p:nvPr>
        </p:nvSpPr>
        <p:spPr bwMode="auto">
          <a:xfrm>
            <a:off x="5083175" y="1438275"/>
            <a:ext cx="130175" cy="57150"/>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Tree>
    <p:extLst>
      <p:ext uri="{BB962C8B-B14F-4D97-AF65-F5344CB8AC3E}">
        <p14:creationId xmlns:p14="http://schemas.microsoft.com/office/powerpoint/2010/main" val="169040483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sp>
        <p:nvSpPr>
          <p:cNvPr id="42" name="TextBox 41">
            <a:extLst>
              <a:ext uri="{FF2B5EF4-FFF2-40B4-BE49-F238E27FC236}">
                <a16:creationId xmlns:a16="http://schemas.microsoft.com/office/drawing/2014/main" id="{9856064B-55C3-42E8-A4B0-E96580BF58E8}"/>
              </a:ext>
            </a:extLst>
          </p:cNvPr>
          <p:cNvSpPr txBox="1"/>
          <p:nvPr/>
        </p:nvSpPr>
        <p:spPr>
          <a:xfrm>
            <a:off x="650240" y="541319"/>
            <a:ext cx="22611504" cy="1569660"/>
          </a:xfrm>
          <a:prstGeom prst="rect">
            <a:avLst/>
          </a:prstGeom>
          <a:noFill/>
        </p:spPr>
        <p:txBody>
          <a:bodyPr wrap="square" rtlCol="0" anchor="t">
            <a:spAutoFit/>
          </a:bodyPr>
          <a:lstStyle/>
          <a:p>
            <a:pPr algn="l"/>
            <a:r>
              <a:rPr lang="en-GB" sz="4000" b="1" kern="1200" dirty="0">
                <a:solidFill>
                  <a:srgbClr val="C00000"/>
                </a:solidFill>
              </a:rPr>
              <a:t>CI / CD de releases</a:t>
            </a:r>
            <a:r>
              <a:rPr lang="en-US" sz="4000" b="1" kern="1200" dirty="0">
                <a:solidFill>
                  <a:srgbClr val="C00000"/>
                </a:solidFill>
              </a:rPr>
              <a:t>  </a:t>
            </a:r>
            <a:r>
              <a:rPr lang="en-US" sz="2800" kern="1200" dirty="0">
                <a:solidFill>
                  <a:srgbClr val="C00000"/>
                </a:solidFill>
              </a:rPr>
              <a:t>Despliegue &amp; Empaquetado de Releases</a:t>
            </a:r>
          </a:p>
          <a:p>
            <a:pPr algn="l"/>
            <a:r>
              <a:rPr lang="es-ES" altLang="en-US" sz="2800" kern="1200" dirty="0">
                <a:solidFill>
                  <a:schemeClr val="tx1"/>
                </a:solidFill>
              </a:rPr>
              <a:t>Descripción del proceso</a:t>
            </a:r>
            <a:endParaRPr lang="en-US" altLang="en-US" sz="2800" kern="1200" dirty="0">
              <a:solidFill>
                <a:schemeClr val="tx1"/>
              </a:solidFill>
            </a:endParaRPr>
          </a:p>
          <a:p>
            <a:pPr algn="l"/>
            <a:endParaRPr lang="en-US" altLang="en-US" sz="2800" kern="1200" dirty="0">
              <a:solidFill>
                <a:srgbClr val="C00000"/>
              </a:solidFill>
              <a:latin typeface="IBM Plex Sans"/>
            </a:endParaRPr>
          </a:p>
        </p:txBody>
      </p:sp>
      <p:sp>
        <p:nvSpPr>
          <p:cNvPr id="4" name="Rectangle 3">
            <a:extLst>
              <a:ext uri="{FF2B5EF4-FFF2-40B4-BE49-F238E27FC236}">
                <a16:creationId xmlns:a16="http://schemas.microsoft.com/office/drawing/2014/main" id="{EE14BACF-7074-4D45-84B5-F9F8651934D2}"/>
              </a:ext>
            </a:extLst>
          </p:cNvPr>
          <p:cNvSpPr/>
          <p:nvPr/>
        </p:nvSpPr>
        <p:spPr bwMode="auto">
          <a:xfrm>
            <a:off x="621263" y="1739878"/>
            <a:ext cx="23225760" cy="2048193"/>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l" defTabSz="1097280" fontAlgn="base">
              <a:spcBef>
                <a:spcPct val="0"/>
              </a:spcBef>
              <a:spcAft>
                <a:spcPct val="0"/>
              </a:spcAft>
            </a:pPr>
            <a:endParaRPr lang="en-US" sz="1600" b="1" dirty="0">
              <a:solidFill>
                <a:schemeClr val="bg1"/>
              </a:solidFill>
              <a:latin typeface="Arial" panose="020B0604020202020204"/>
              <a:ea typeface="MS PGothic" charset="-128"/>
            </a:endParaRPr>
          </a:p>
        </p:txBody>
      </p:sp>
      <p:sp>
        <p:nvSpPr>
          <p:cNvPr id="6" name="Rectangle: Diagonal Corners Snipped 5">
            <a:extLst>
              <a:ext uri="{FF2B5EF4-FFF2-40B4-BE49-F238E27FC236}">
                <a16:creationId xmlns:a16="http://schemas.microsoft.com/office/drawing/2014/main" id="{CEF8B680-0062-461F-A0D9-FEC844CE340B}"/>
              </a:ext>
            </a:extLst>
          </p:cNvPr>
          <p:cNvSpPr/>
          <p:nvPr/>
        </p:nvSpPr>
        <p:spPr>
          <a:xfrm>
            <a:off x="621263" y="3884032"/>
            <a:ext cx="23225760" cy="7211692"/>
          </a:xfrm>
          <a:prstGeom prst="snip2DiagRect">
            <a:avLst>
              <a:gd name="adj1" fmla="val 0"/>
              <a:gd name="adj2" fmla="val 4798"/>
            </a:avLst>
          </a:prstGeom>
          <a:noFill/>
          <a:ln w="6350" cap="flat" cmpd="sng">
            <a:solidFill>
              <a:schemeClr val="accent1"/>
            </a:solidFill>
            <a:prstDash val="solid"/>
            <a:round/>
            <a:headEnd type="none" w="med" len="med"/>
            <a:tailEnd type="none" w="med" len="med"/>
          </a:ln>
        </p:spPr>
        <p:txBody>
          <a:bodyPr lIns="0" tIns="91400" rIns="0" bIns="91400" rtlCol="0" anchor="ctr" anchorCtr="0">
            <a:noAutofit/>
          </a:bodyPr>
          <a:lstStyle/>
          <a:p>
            <a:pPr defTabSz="1828837">
              <a:buClr>
                <a:srgbClr val="000000"/>
              </a:buClr>
              <a:buSzPct val="25000"/>
              <a:defRPr/>
            </a:pPr>
            <a:endParaRPr lang="en-US" sz="2000" dirty="0">
              <a:solidFill>
                <a:srgbClr val="FFFFFF"/>
              </a:solidFill>
              <a:latin typeface="Century Gothic"/>
              <a:ea typeface="Century Gothic"/>
              <a:cs typeface="Century Gothic"/>
              <a:sym typeface="Century Gothic"/>
            </a:endParaRPr>
          </a:p>
        </p:txBody>
      </p:sp>
      <p:sp>
        <p:nvSpPr>
          <p:cNvPr id="7" name="Content Placeholder 2">
            <a:extLst>
              <a:ext uri="{FF2B5EF4-FFF2-40B4-BE49-F238E27FC236}">
                <a16:creationId xmlns:a16="http://schemas.microsoft.com/office/drawing/2014/main" id="{E2F9A299-F373-4C7E-95EB-F0BE5D04D42E}"/>
              </a:ext>
            </a:extLst>
          </p:cNvPr>
          <p:cNvSpPr txBox="1">
            <a:spLocks/>
          </p:cNvSpPr>
          <p:nvPr/>
        </p:nvSpPr>
        <p:spPr bwMode="auto">
          <a:xfrm>
            <a:off x="12110702" y="3927540"/>
            <a:ext cx="11694360" cy="3543077"/>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243808" tIns="121907" rIns="243808" bIns="121907" numCol="1" anchor="t" anchorCtr="0" compatLnSpc="1">
            <a:prstTxWarp prst="textNoShape">
              <a:avLst/>
            </a:prstTxWarp>
          </a:bodyPr>
          <a:lstStyle>
            <a:lvl1pPr marL="257143" indent="-257143" algn="l" rtl="0" eaLnBrk="0" fontAlgn="base" hangingPunct="0">
              <a:spcBef>
                <a:spcPct val="50000"/>
              </a:spcBef>
              <a:spcAft>
                <a:spcPct val="0"/>
              </a:spcAft>
              <a:buClr>
                <a:schemeClr val="tx1"/>
              </a:buClr>
              <a:buFont typeface="Wingdings" pitchFamily="2" charset="2"/>
              <a:buChar char="§"/>
              <a:defRPr sz="1200" kern="1200">
                <a:solidFill>
                  <a:schemeClr val="tx1"/>
                </a:solidFill>
                <a:latin typeface="Arial" pitchFamily="34" charset="0"/>
                <a:ea typeface="ＭＳ Ｐゴシック" charset="0"/>
                <a:cs typeface="Arial" pitchFamily="34" charset="0"/>
              </a:defRPr>
            </a:lvl1pPr>
            <a:lvl2pPr marL="382191" indent="-122635" algn="l" rtl="0" eaLnBrk="0" fontAlgn="base" hangingPunct="0">
              <a:spcBef>
                <a:spcPct val="0"/>
              </a:spcBef>
              <a:spcAft>
                <a:spcPct val="0"/>
              </a:spcAft>
              <a:buClr>
                <a:schemeClr val="tx1"/>
              </a:buClr>
              <a:buFont typeface="Arial" charset="0"/>
              <a:buChar char="–"/>
              <a:defRPr sz="1200" kern="1200">
                <a:solidFill>
                  <a:schemeClr val="tx1"/>
                </a:solidFill>
                <a:latin typeface="Arial" pitchFamily="34" charset="0"/>
                <a:ea typeface="ＭＳ Ｐゴシック" charset="0"/>
                <a:cs typeface="Arial" pitchFamily="34" charset="0"/>
              </a:defRPr>
            </a:lvl2pPr>
            <a:lvl3pPr marL="641747" indent="-129779" algn="l" rtl="0" eaLnBrk="0" fontAlgn="base" hangingPunct="0">
              <a:spcBef>
                <a:spcPct val="0"/>
              </a:spcBef>
              <a:spcAft>
                <a:spcPct val="0"/>
              </a:spcAft>
              <a:buClr>
                <a:schemeClr val="tx1"/>
              </a:buClr>
              <a:buChar char="•"/>
              <a:defRPr sz="1200" kern="1200">
                <a:solidFill>
                  <a:schemeClr val="tx1"/>
                </a:solidFill>
                <a:latin typeface="Arial" pitchFamily="34" charset="0"/>
                <a:ea typeface="ＭＳ Ｐゴシック" charset="0"/>
                <a:cs typeface="Arial" pitchFamily="34" charset="0"/>
              </a:defRPr>
            </a:lvl3pPr>
            <a:lvl4pPr marL="902494" indent="-129779" algn="l" rtl="0" eaLnBrk="0" fontAlgn="base" hangingPunct="0">
              <a:spcBef>
                <a:spcPct val="20000"/>
              </a:spcBef>
              <a:spcAft>
                <a:spcPct val="0"/>
              </a:spcAft>
              <a:buClr>
                <a:schemeClr val="bg1"/>
              </a:buClr>
              <a:defRPr sz="1200" kern="1200">
                <a:solidFill>
                  <a:schemeClr val="bg1"/>
                </a:solidFill>
                <a:latin typeface="Arial" pitchFamily="34" charset="0"/>
                <a:ea typeface="ＭＳ Ｐゴシック" charset="0"/>
                <a:cs typeface="Arial" pitchFamily="34" charset="0"/>
              </a:defRPr>
            </a:lvl4pPr>
            <a:lvl5pPr marL="1154906" indent="-122635" algn="l" rtl="0" eaLnBrk="0" fontAlgn="base" hangingPunct="0">
              <a:spcBef>
                <a:spcPct val="20000"/>
              </a:spcBef>
              <a:spcAft>
                <a:spcPct val="0"/>
              </a:spcAft>
              <a:buClr>
                <a:schemeClr val="bg1"/>
              </a:buClr>
              <a:buChar char="»"/>
              <a:defRPr sz="1200" kern="1200">
                <a:solidFill>
                  <a:schemeClr val="bg1"/>
                </a:solidFill>
                <a:latin typeface="Arial" pitchFamily="34" charset="0"/>
                <a:ea typeface="ＭＳ Ｐゴシック" charset="0"/>
                <a:cs typeface="Arial"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2438389">
              <a:spcBef>
                <a:spcPts val="0"/>
              </a:spcBef>
              <a:buClr>
                <a:srgbClr val="000000"/>
              </a:buClr>
              <a:buNone/>
              <a:defRPr/>
            </a:pPr>
            <a:r>
              <a:rPr lang="es-ES_tradnl" sz="2800" b="1">
                <a:latin typeface="IBM Plex Sans Light"/>
                <a:ea typeface="Helvetica Neue Light" charset="0"/>
                <a:cs typeface="Helvetica Neue Light" charset="0"/>
              </a:rPr>
              <a:t>Actividades:</a:t>
            </a:r>
          </a:p>
          <a:p>
            <a:pPr marL="684544" indent="-684544" defTabSz="2438389">
              <a:spcBef>
                <a:spcPts val="0"/>
              </a:spcBef>
              <a:buClrTx/>
              <a:buFont typeface="+mj-lt"/>
              <a:buAutoNum type="arabicPeriod"/>
              <a:defRPr/>
            </a:pPr>
            <a:r>
              <a:rPr lang="es-ES_tradnl" sz="2600">
                <a:solidFill>
                  <a:srgbClr val="000000"/>
                </a:solidFill>
                <a:latin typeface="IBM Plex Sans Light"/>
                <a:ea typeface="MS PGothic"/>
                <a:cs typeface="Arial"/>
              </a:rPr>
              <a:t>Definir Release</a:t>
            </a:r>
          </a:p>
          <a:p>
            <a:pPr marL="684544" indent="-684544" defTabSz="2438389">
              <a:spcBef>
                <a:spcPts val="0"/>
              </a:spcBef>
              <a:buClrTx/>
              <a:buFont typeface="+mj-lt"/>
              <a:buAutoNum type="arabicPeriod"/>
              <a:defRPr/>
            </a:pPr>
            <a:r>
              <a:rPr lang="es-ES_tradnl" sz="2600">
                <a:solidFill>
                  <a:srgbClr val="000000"/>
                </a:solidFill>
                <a:latin typeface="IBM Plex Sans Light"/>
                <a:ea typeface="MS PGothic"/>
                <a:cs typeface="Arial"/>
              </a:rPr>
              <a:t>Crear Release</a:t>
            </a:r>
          </a:p>
          <a:p>
            <a:pPr marL="684544" indent="-684544" defTabSz="2438389">
              <a:spcBef>
                <a:spcPts val="0"/>
              </a:spcBef>
              <a:buClrTx/>
              <a:buFont typeface="Wingdings" pitchFamily="2" charset="2"/>
              <a:buAutoNum type="arabicPeriod"/>
              <a:defRPr/>
            </a:pPr>
            <a:r>
              <a:rPr lang="es-ES_tradnl" sz="2600">
                <a:solidFill>
                  <a:srgbClr val="000000"/>
                </a:solidFill>
                <a:latin typeface="IBM Plex Sans Light"/>
                <a:ea typeface="MS PGothic"/>
                <a:cs typeface="Arial"/>
              </a:rPr>
              <a:t>Validar Release</a:t>
            </a:r>
          </a:p>
          <a:p>
            <a:pPr marL="684544" indent="-684544" defTabSz="2438389">
              <a:spcBef>
                <a:spcPts val="0"/>
              </a:spcBef>
              <a:buClrTx/>
              <a:buFont typeface="Wingdings" pitchFamily="2" charset="2"/>
              <a:buAutoNum type="arabicPeriod"/>
              <a:defRPr/>
            </a:pPr>
            <a:r>
              <a:rPr lang="es-ES_tradnl" sz="2600">
                <a:solidFill>
                  <a:srgbClr val="000000"/>
                </a:solidFill>
                <a:latin typeface="IBM Plex Sans Light"/>
                <a:ea typeface="MS PGothic"/>
                <a:cs typeface="Arial"/>
              </a:rPr>
              <a:t>Desplegar Release</a:t>
            </a:r>
          </a:p>
          <a:p>
            <a:pPr marL="684544" indent="-684544" defTabSz="2438389">
              <a:spcBef>
                <a:spcPts val="0"/>
              </a:spcBef>
              <a:buClrTx/>
              <a:buFont typeface="Wingdings" pitchFamily="2" charset="2"/>
              <a:buAutoNum type="arabicPeriod"/>
              <a:defRPr/>
            </a:pPr>
            <a:r>
              <a:rPr lang="es-ES_tradnl" sz="2600">
                <a:solidFill>
                  <a:srgbClr val="000000"/>
                </a:solidFill>
                <a:latin typeface="IBM Plex Sans Light"/>
                <a:ea typeface="MS PGothic"/>
                <a:cs typeface="Arial"/>
              </a:rPr>
              <a:t>Revisar y Cerrar Release</a:t>
            </a:r>
          </a:p>
        </p:txBody>
      </p:sp>
      <p:sp>
        <p:nvSpPr>
          <p:cNvPr id="8" name="TextBox 7">
            <a:extLst>
              <a:ext uri="{FF2B5EF4-FFF2-40B4-BE49-F238E27FC236}">
                <a16:creationId xmlns:a16="http://schemas.microsoft.com/office/drawing/2014/main" id="{A5E4A0EB-9FE5-4BB2-ADB9-5216C942C593}"/>
              </a:ext>
            </a:extLst>
          </p:cNvPr>
          <p:cNvSpPr txBox="1"/>
          <p:nvPr/>
        </p:nvSpPr>
        <p:spPr>
          <a:xfrm>
            <a:off x="657391" y="1845976"/>
            <a:ext cx="18299601" cy="1815882"/>
          </a:xfrm>
          <a:prstGeom prst="rect">
            <a:avLst/>
          </a:prstGeom>
          <a:noFill/>
        </p:spPr>
        <p:txBody>
          <a:bodyPr wrap="square" rtlCol="0" anchor="t">
            <a:spAutoFit/>
          </a:bodyPr>
          <a:lstStyle/>
          <a:p>
            <a:pPr algn="l" defTabSz="1214591">
              <a:defRPr/>
            </a:pPr>
            <a:r>
              <a:rPr lang="en-US" sz="2800" b="1" dirty="0">
                <a:solidFill>
                  <a:srgbClr val="FFFFFF"/>
                </a:solidFill>
                <a:latin typeface="IBM Plex Sans Light"/>
                <a:ea typeface="Helvetica Neue Light" charset="0"/>
                <a:cs typeface="Helvetica Neue Light" charset="0"/>
              </a:rPr>
              <a:t>Definición</a:t>
            </a:r>
            <a:r>
              <a:rPr lang="es-ES" sz="2800" b="1" dirty="0">
                <a:solidFill>
                  <a:srgbClr val="FFFFFF"/>
                </a:solidFill>
                <a:latin typeface="IBM Plex Sans Light"/>
                <a:ea typeface="Helvetica Neue Light" charset="0"/>
                <a:cs typeface="Helvetica Neue Light" charset="0"/>
              </a:rPr>
              <a:t>:</a:t>
            </a:r>
            <a:r>
              <a:rPr lang="es-ES" sz="2800" dirty="0">
                <a:solidFill>
                  <a:srgbClr val="FFFFFF"/>
                </a:solidFill>
                <a:latin typeface="IBM Plex Sans Light"/>
                <a:ea typeface="Helvetica Neue Light" charset="0"/>
                <a:cs typeface="Helvetica Neue Light" charset="0"/>
              </a:rPr>
              <a:t> El proceso de empaquetar un set de artefactos de construcción como una unidad, desplegarlos en un entorno final o conjunto de entornos y verificar la instalación frente a la especificación del modelo de despliegue. La reléase puede ser solicitada por un usuario a través de una selección self-service y posteriormente instalado de forma automática y transparente.</a:t>
            </a:r>
            <a:endParaRPr lang="en-US" sz="2800" dirty="0">
              <a:solidFill>
                <a:srgbClr val="FFFFFF"/>
              </a:solidFill>
              <a:latin typeface="IBM Plex Sans Light"/>
              <a:ea typeface="Helvetica Neue Light" charset="0"/>
              <a:cs typeface="Helvetica Neue Light" charset="0"/>
            </a:endParaRPr>
          </a:p>
        </p:txBody>
      </p:sp>
      <p:pic>
        <p:nvPicPr>
          <p:cNvPr id="9" name="Picture 4" descr="Imagen relacionada">
            <a:extLst>
              <a:ext uri="{FF2B5EF4-FFF2-40B4-BE49-F238E27FC236}">
                <a16:creationId xmlns:a16="http://schemas.microsoft.com/office/drawing/2014/main" id="{A370B064-21D6-4127-8C64-1C8ABE0C870E}"/>
              </a:ext>
            </a:extLst>
          </p:cNvPr>
          <p:cNvPicPr>
            <a:picLocks noChangeAspect="1" noChangeArrowheads="1"/>
          </p:cNvPicPr>
          <p:nvPr/>
        </p:nvPicPr>
        <p:blipFill>
          <a:blip r:embed="rId3" cstate="email">
            <a:biLevel thresh="25000"/>
            <a:extLst>
              <a:ext uri="{28A0092B-C50C-407E-A947-70E740481C1C}">
                <a14:useLocalDpi xmlns:a14="http://schemas.microsoft.com/office/drawing/2010/main"/>
              </a:ext>
            </a:extLst>
          </a:blip>
          <a:srcRect/>
          <a:stretch>
            <a:fillRect/>
          </a:stretch>
        </p:blipFill>
        <p:spPr bwMode="auto">
          <a:xfrm>
            <a:off x="20928737" y="1967973"/>
            <a:ext cx="1658033" cy="1695497"/>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995CBB8C-382E-490B-9EF9-CB3C35509A85}"/>
              </a:ext>
            </a:extLst>
          </p:cNvPr>
          <p:cNvSpPr/>
          <p:nvPr/>
        </p:nvSpPr>
        <p:spPr>
          <a:xfrm>
            <a:off x="657392" y="3875588"/>
            <a:ext cx="10431539" cy="2523768"/>
          </a:xfrm>
          <a:prstGeom prst="rect">
            <a:avLst/>
          </a:prstGeom>
        </p:spPr>
        <p:txBody>
          <a:bodyPr wrap="square" anchor="t">
            <a:spAutoFit/>
          </a:bodyPr>
          <a:lstStyle/>
          <a:p>
            <a:pPr algn="l" defTabSz="1214591">
              <a:defRPr/>
            </a:pPr>
            <a:r>
              <a:rPr lang="es-ES_tradnl" sz="2800" b="1" dirty="0">
                <a:latin typeface="IBM Plex Sans Light"/>
                <a:ea typeface="Helvetica Neue Light" charset="0"/>
                <a:cs typeface="Helvetica Neue Light" charset="0"/>
              </a:rPr>
              <a:t>Objetivos:</a:t>
            </a:r>
          </a:p>
          <a:p>
            <a:pPr marL="455939" indent="-455939" algn="l" defTabSz="1214591">
              <a:buFont typeface="Arial" panose="020B0604020202020204" pitchFamily="34" charset="0"/>
              <a:buChar char="•"/>
              <a:defRPr/>
            </a:pPr>
            <a:r>
              <a:rPr lang="es-ES_tradnl" sz="2600" dirty="0">
                <a:latin typeface="IBM Plex Sans Light"/>
                <a:ea typeface="MS PGothic"/>
                <a:cs typeface="Arial"/>
              </a:rPr>
              <a:t>Minimizar fallos y roll-backs en el despliegue de releases</a:t>
            </a:r>
          </a:p>
          <a:p>
            <a:pPr marL="455939" indent="-455939" algn="l" defTabSz="1214591">
              <a:buFont typeface="Arial" panose="020B0604020202020204" pitchFamily="34" charset="0"/>
              <a:buChar char="•"/>
              <a:defRPr/>
            </a:pPr>
            <a:r>
              <a:rPr lang="es-ES_tradnl" sz="2600" dirty="0">
                <a:latin typeface="IBM Plex Sans Light"/>
                <a:ea typeface="MS PGothic"/>
                <a:cs typeface="Arial"/>
              </a:rPr>
              <a:t>Minimizar el esfuerzo de verificación y despliegue</a:t>
            </a:r>
          </a:p>
          <a:p>
            <a:pPr marL="455939" indent="-455939" algn="l" defTabSz="1214591">
              <a:buFont typeface="Arial" panose="020B0604020202020204" pitchFamily="34" charset="0"/>
              <a:buChar char="•"/>
              <a:defRPr/>
            </a:pPr>
            <a:r>
              <a:rPr lang="es-ES_tradnl" sz="2600" dirty="0">
                <a:latin typeface="IBM Plex Sans Light"/>
                <a:ea typeface="MS PGothic"/>
                <a:cs typeface="Arial"/>
              </a:rPr>
              <a:t>Minimizar el tiempo de despliegue y las ventanas de producción asociadas</a:t>
            </a:r>
          </a:p>
          <a:p>
            <a:pPr marL="455939" indent="-455939" algn="l" defTabSz="1214591">
              <a:buFont typeface="Arial" panose="020B0604020202020204" pitchFamily="34" charset="0"/>
              <a:buChar char="•"/>
              <a:defRPr/>
            </a:pPr>
            <a:r>
              <a:rPr lang="es-ES_tradnl" sz="2600" dirty="0">
                <a:latin typeface="IBM Plex Sans Light"/>
                <a:ea typeface="MS PGothic"/>
                <a:cs typeface="Arial"/>
              </a:rPr>
              <a:t>Minimizar el downtime y la interrupción de servicio</a:t>
            </a:r>
          </a:p>
        </p:txBody>
      </p:sp>
      <p:sp>
        <p:nvSpPr>
          <p:cNvPr id="11" name="Rectangle 10">
            <a:extLst>
              <a:ext uri="{FF2B5EF4-FFF2-40B4-BE49-F238E27FC236}">
                <a16:creationId xmlns:a16="http://schemas.microsoft.com/office/drawing/2014/main" id="{3E0F1198-0E03-459E-AE38-CC7B5107C7A4}"/>
              </a:ext>
            </a:extLst>
          </p:cNvPr>
          <p:cNvSpPr/>
          <p:nvPr/>
        </p:nvSpPr>
        <p:spPr>
          <a:xfrm>
            <a:off x="12152664" y="6902311"/>
            <a:ext cx="10101090" cy="3758732"/>
          </a:xfrm>
          <a:prstGeom prst="rect">
            <a:avLst/>
          </a:prstGeom>
        </p:spPr>
        <p:txBody>
          <a:bodyPr wrap="square" anchor="t">
            <a:spAutoFit/>
          </a:bodyPr>
          <a:lstStyle/>
          <a:p>
            <a:pPr algn="l" defTabSz="1214591">
              <a:defRPr/>
            </a:pPr>
            <a:r>
              <a:rPr lang="es-ES_tradnl" sz="2800" b="1" dirty="0">
                <a:latin typeface="IBM Plex Sans Light"/>
                <a:ea typeface="Helvetica Neue Light" charset="0"/>
                <a:cs typeface="Helvetica Neue Light" charset="0"/>
              </a:rPr>
              <a:t>Consideraciones de la adopción Cloud :</a:t>
            </a:r>
          </a:p>
          <a:p>
            <a:pPr marL="571511" indent="-571511" algn="l" defTabSz="1214591">
              <a:buFont typeface="Arial" panose="020B0604020202020204" pitchFamily="34" charset="0"/>
              <a:buChar char="•"/>
              <a:defRPr/>
            </a:pPr>
            <a:r>
              <a:rPr lang="es-ES_tradnl" sz="2600" kern="1200" dirty="0">
                <a:latin typeface="IBM Plex Sans Light"/>
                <a:ea typeface="MS PGothic"/>
                <a:cs typeface="Arial"/>
              </a:rPr>
              <a:t>Releases automatizadas y continuas</a:t>
            </a:r>
          </a:p>
          <a:p>
            <a:pPr marL="571500" indent="-571500" algn="l" defTabSz="1214591">
              <a:buFont typeface="Arial" panose="020B0604020202020204" pitchFamily="34" charset="0"/>
              <a:buChar char="•"/>
              <a:defRPr/>
            </a:pPr>
            <a:r>
              <a:rPr lang="es-ES_tradnl" sz="2600" kern="1200" dirty="0">
                <a:latin typeface="IBM Plex Sans Light"/>
                <a:ea typeface="MS PGothic"/>
                <a:cs typeface="Arial"/>
              </a:rPr>
              <a:t>Particionar y ramificar para releases concurrentes</a:t>
            </a:r>
          </a:p>
          <a:p>
            <a:pPr marL="571511" indent="-571511" algn="l" defTabSz="1214591">
              <a:buFont typeface="Arial" panose="020B0604020202020204" pitchFamily="34" charset="0"/>
              <a:buChar char="•"/>
              <a:defRPr/>
            </a:pPr>
            <a:r>
              <a:rPr lang="es-ES_tradnl" sz="2600" kern="1200" dirty="0">
                <a:latin typeface="IBM Plex Sans Light"/>
                <a:ea typeface="MS PGothic"/>
                <a:cs typeface="Arial"/>
              </a:rPr>
              <a:t>Manejo de los roll-back y roll-forward</a:t>
            </a:r>
          </a:p>
          <a:p>
            <a:pPr marL="571511" indent="-571511" algn="l" defTabSz="1214591">
              <a:buFont typeface="Arial" panose="020B0604020202020204" pitchFamily="34" charset="0"/>
              <a:buChar char="•"/>
              <a:defRPr/>
            </a:pPr>
            <a:r>
              <a:rPr lang="es-ES_tradnl" sz="2600" kern="1200" dirty="0">
                <a:latin typeface="IBM Plex Sans Light"/>
                <a:ea typeface="MS PGothic"/>
                <a:cs typeface="Arial"/>
              </a:rPr>
              <a:t>Impulsar los controles de verificación automatizados para la calidad de despliegue</a:t>
            </a:r>
          </a:p>
          <a:p>
            <a:pPr marL="571500" indent="-571500" algn="l" defTabSz="1214591">
              <a:buFont typeface="Arial" panose="020B0604020202020204" pitchFamily="34" charset="0"/>
              <a:buChar char="•"/>
              <a:defRPr/>
            </a:pPr>
            <a:r>
              <a:rPr lang="es-ES_tradnl" sz="2600" kern="1200" dirty="0">
                <a:latin typeface="IBM Plex Sans Light"/>
                <a:ea typeface="MS PGothic"/>
                <a:cs typeface="Arial"/>
              </a:rPr>
              <a:t>Despliegues con ventanas locales por país para minimizar la interrupción del servicio</a:t>
            </a:r>
          </a:p>
          <a:p>
            <a:pPr marL="571500" indent="-571500" algn="l" defTabSz="1214591">
              <a:buFont typeface="Arial" panose="020B0604020202020204" pitchFamily="34" charset="0"/>
              <a:buChar char="•"/>
              <a:defRPr/>
            </a:pPr>
            <a:endParaRPr lang="es-ES_tradnl" sz="2600" kern="1200" dirty="0">
              <a:latin typeface="IBM Plex Sans Light"/>
              <a:ea typeface="MS PGothic"/>
              <a:cs typeface="Arial"/>
            </a:endParaRPr>
          </a:p>
        </p:txBody>
      </p:sp>
      <p:sp>
        <p:nvSpPr>
          <p:cNvPr id="12" name="Content Placeholder 2">
            <a:extLst>
              <a:ext uri="{FF2B5EF4-FFF2-40B4-BE49-F238E27FC236}">
                <a16:creationId xmlns:a16="http://schemas.microsoft.com/office/drawing/2014/main" id="{E5A8EC28-BAA3-4B36-ADCA-B851B46BF759}"/>
              </a:ext>
            </a:extLst>
          </p:cNvPr>
          <p:cNvSpPr txBox="1">
            <a:spLocks/>
          </p:cNvSpPr>
          <p:nvPr/>
        </p:nvSpPr>
        <p:spPr bwMode="auto">
          <a:xfrm>
            <a:off x="536974" y="6427756"/>
            <a:ext cx="11250032" cy="3543077"/>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243808" tIns="121907" rIns="243808" bIns="121907" numCol="1" anchor="t" anchorCtr="0" compatLnSpc="1">
            <a:prstTxWarp prst="textNoShape">
              <a:avLst/>
            </a:prstTxWarp>
          </a:bodyPr>
          <a:lstStyle>
            <a:lvl1pPr marL="257143" indent="-257143" algn="l" rtl="0" eaLnBrk="0" fontAlgn="base" hangingPunct="0">
              <a:spcBef>
                <a:spcPct val="50000"/>
              </a:spcBef>
              <a:spcAft>
                <a:spcPct val="0"/>
              </a:spcAft>
              <a:buClr>
                <a:schemeClr val="tx1"/>
              </a:buClr>
              <a:buFont typeface="Wingdings" pitchFamily="2" charset="2"/>
              <a:buChar char="§"/>
              <a:defRPr sz="1200" kern="1200">
                <a:solidFill>
                  <a:schemeClr val="tx1"/>
                </a:solidFill>
                <a:latin typeface="Arial" pitchFamily="34" charset="0"/>
                <a:ea typeface="ＭＳ Ｐゴシック" charset="0"/>
                <a:cs typeface="Arial" pitchFamily="34" charset="0"/>
              </a:defRPr>
            </a:lvl1pPr>
            <a:lvl2pPr marL="382191" indent="-122635" algn="l" rtl="0" eaLnBrk="0" fontAlgn="base" hangingPunct="0">
              <a:spcBef>
                <a:spcPct val="0"/>
              </a:spcBef>
              <a:spcAft>
                <a:spcPct val="0"/>
              </a:spcAft>
              <a:buClr>
                <a:schemeClr val="tx1"/>
              </a:buClr>
              <a:buFont typeface="Arial" charset="0"/>
              <a:buChar char="–"/>
              <a:defRPr sz="1200" kern="1200">
                <a:solidFill>
                  <a:schemeClr val="tx1"/>
                </a:solidFill>
                <a:latin typeface="Arial" pitchFamily="34" charset="0"/>
                <a:ea typeface="ＭＳ Ｐゴシック" charset="0"/>
                <a:cs typeface="Arial" pitchFamily="34" charset="0"/>
              </a:defRPr>
            </a:lvl2pPr>
            <a:lvl3pPr marL="641747" indent="-129779" algn="l" rtl="0" eaLnBrk="0" fontAlgn="base" hangingPunct="0">
              <a:spcBef>
                <a:spcPct val="0"/>
              </a:spcBef>
              <a:spcAft>
                <a:spcPct val="0"/>
              </a:spcAft>
              <a:buClr>
                <a:schemeClr val="tx1"/>
              </a:buClr>
              <a:buChar char="•"/>
              <a:defRPr sz="1200" kern="1200">
                <a:solidFill>
                  <a:schemeClr val="tx1"/>
                </a:solidFill>
                <a:latin typeface="Arial" pitchFamily="34" charset="0"/>
                <a:ea typeface="ＭＳ Ｐゴシック" charset="0"/>
                <a:cs typeface="Arial" pitchFamily="34" charset="0"/>
              </a:defRPr>
            </a:lvl3pPr>
            <a:lvl4pPr marL="902494" indent="-129779" algn="l" rtl="0" eaLnBrk="0" fontAlgn="base" hangingPunct="0">
              <a:spcBef>
                <a:spcPct val="20000"/>
              </a:spcBef>
              <a:spcAft>
                <a:spcPct val="0"/>
              </a:spcAft>
              <a:buClr>
                <a:schemeClr val="bg1"/>
              </a:buClr>
              <a:defRPr sz="1200" kern="1200">
                <a:solidFill>
                  <a:schemeClr val="bg1"/>
                </a:solidFill>
                <a:latin typeface="Arial" pitchFamily="34" charset="0"/>
                <a:ea typeface="ＭＳ Ｐゴシック" charset="0"/>
                <a:cs typeface="Arial" pitchFamily="34" charset="0"/>
              </a:defRPr>
            </a:lvl4pPr>
            <a:lvl5pPr marL="1154906" indent="-122635" algn="l" rtl="0" eaLnBrk="0" fontAlgn="base" hangingPunct="0">
              <a:spcBef>
                <a:spcPct val="20000"/>
              </a:spcBef>
              <a:spcAft>
                <a:spcPct val="0"/>
              </a:spcAft>
              <a:buClr>
                <a:schemeClr val="bg1"/>
              </a:buClr>
              <a:buChar char="»"/>
              <a:defRPr sz="1200" kern="1200">
                <a:solidFill>
                  <a:schemeClr val="bg1"/>
                </a:solidFill>
                <a:latin typeface="Arial" pitchFamily="34" charset="0"/>
                <a:ea typeface="ＭＳ Ｐゴシック" charset="0"/>
                <a:cs typeface="Arial"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2438389">
              <a:spcBef>
                <a:spcPts val="0"/>
              </a:spcBef>
              <a:buClr>
                <a:srgbClr val="000000"/>
              </a:buClr>
              <a:buNone/>
              <a:defRPr/>
            </a:pPr>
            <a:r>
              <a:rPr lang="es-ES_tradnl" sz="2800" b="1">
                <a:latin typeface="IBM Plex Sans Light"/>
                <a:ea typeface="Helvetica Neue Light" charset="0"/>
                <a:cs typeface="Helvetica Neue Light" charset="0"/>
              </a:rPr>
              <a:t>Resultados:</a:t>
            </a:r>
          </a:p>
          <a:p>
            <a:pPr marL="455930" indent="-455930" defTabSz="1214591" eaLnBrk="1" fontAlgn="auto">
              <a:spcBef>
                <a:spcPts val="0"/>
              </a:spcBef>
              <a:spcAft>
                <a:spcPts val="0"/>
              </a:spcAft>
              <a:buClrTx/>
              <a:buFont typeface="Arial" panose="020B0604020202020204" pitchFamily="34" charset="0"/>
              <a:buChar char="•"/>
              <a:defRPr/>
            </a:pPr>
            <a:r>
              <a:rPr lang="es-ES_tradnl" sz="2600">
                <a:solidFill>
                  <a:srgbClr val="000000"/>
                </a:solidFill>
                <a:latin typeface="IBM Plex Sans Light"/>
                <a:ea typeface="MS PGothic"/>
                <a:cs typeface="Arial"/>
              </a:rPr>
              <a:t>CD de releases fluidos para el usuario</a:t>
            </a:r>
          </a:p>
          <a:p>
            <a:pPr marL="455939" indent="-455939" defTabSz="1214591" eaLnBrk="1" fontAlgn="auto">
              <a:spcBef>
                <a:spcPts val="0"/>
              </a:spcBef>
              <a:spcAft>
                <a:spcPts val="0"/>
              </a:spcAft>
              <a:buClrTx/>
              <a:buFont typeface="Arial" panose="020B0604020202020204" pitchFamily="34" charset="0"/>
              <a:buChar char="•"/>
              <a:defRPr/>
            </a:pPr>
            <a:r>
              <a:rPr lang="es-ES_tradnl" sz="2600">
                <a:solidFill>
                  <a:srgbClr val="000000"/>
                </a:solidFill>
                <a:latin typeface="IBM Plex Sans Light"/>
                <a:ea typeface="MS PGothic"/>
                <a:cs typeface="Arial"/>
              </a:rPr>
              <a:t>Mínimo número de roll-backs del despliegue en producción </a:t>
            </a:r>
          </a:p>
          <a:p>
            <a:pPr marL="455939" indent="-455939" defTabSz="1214591" eaLnBrk="1" fontAlgn="auto">
              <a:spcBef>
                <a:spcPts val="0"/>
              </a:spcBef>
              <a:spcAft>
                <a:spcPts val="0"/>
              </a:spcAft>
              <a:buClrTx/>
              <a:buFont typeface="Arial" panose="020B0604020202020204" pitchFamily="34" charset="0"/>
              <a:buChar char="•"/>
              <a:defRPr/>
            </a:pPr>
            <a:r>
              <a:rPr lang="es-ES_tradnl" sz="2600">
                <a:solidFill>
                  <a:srgbClr val="000000"/>
                </a:solidFill>
                <a:latin typeface="IBM Plex Sans Light"/>
                <a:ea typeface="MS PGothic"/>
                <a:cs typeface="Arial"/>
              </a:rPr>
              <a:t>Mínimo downtime debido al despliegue</a:t>
            </a:r>
          </a:p>
          <a:p>
            <a:pPr marL="513090" indent="-513090" defTabSz="1214591" eaLnBrk="1" hangingPunct="1">
              <a:spcBef>
                <a:spcPts val="0"/>
              </a:spcBef>
              <a:buClr>
                <a:srgbClr val="000000"/>
              </a:buClr>
              <a:buFont typeface="Arial" pitchFamily="2" charset="2"/>
              <a:buChar char="•"/>
              <a:defRPr/>
            </a:pPr>
            <a:endParaRPr lang="en-US" sz="2800">
              <a:latin typeface="IBM Plex Sans Light"/>
            </a:endParaRPr>
          </a:p>
          <a:p>
            <a:pPr marL="455939" indent="-455939" defTabSz="1214591" eaLnBrk="1" hangingPunct="1">
              <a:spcBef>
                <a:spcPts val="0"/>
              </a:spcBef>
              <a:buClr>
                <a:srgbClr val="000000"/>
              </a:buClr>
              <a:buFont typeface="Arial" panose="020B0604020202020204" pitchFamily="34" charset="0"/>
              <a:buChar char="•"/>
              <a:defRPr/>
            </a:pPr>
            <a:endParaRPr lang="en-US" sz="2800">
              <a:latin typeface="IBM Plex Sans Light"/>
            </a:endParaRPr>
          </a:p>
          <a:p>
            <a:pPr marL="0" indent="0" defTabSz="1214591" eaLnBrk="1" hangingPunct="1">
              <a:spcBef>
                <a:spcPts val="0"/>
              </a:spcBef>
              <a:buClr>
                <a:srgbClr val="000000"/>
              </a:buClr>
              <a:buNone/>
              <a:defRPr/>
            </a:pPr>
            <a:endParaRPr lang="en-US" sz="2800">
              <a:latin typeface="IBM Plex Sans Light"/>
            </a:endParaRPr>
          </a:p>
        </p:txBody>
      </p:sp>
      <p:sp>
        <p:nvSpPr>
          <p:cNvPr id="13" name="Rectangle 12">
            <a:extLst>
              <a:ext uri="{FF2B5EF4-FFF2-40B4-BE49-F238E27FC236}">
                <a16:creationId xmlns:a16="http://schemas.microsoft.com/office/drawing/2014/main" id="{62C21246-5E4A-42A2-9AE1-0331DFF5F807}"/>
              </a:ext>
            </a:extLst>
          </p:cNvPr>
          <p:cNvSpPr/>
          <p:nvPr/>
        </p:nvSpPr>
        <p:spPr bwMode="auto">
          <a:xfrm>
            <a:off x="621263" y="11220325"/>
            <a:ext cx="23225760" cy="1520843"/>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l" defTabSz="1097280" fontAlgn="base">
              <a:spcBef>
                <a:spcPct val="0"/>
              </a:spcBef>
              <a:spcAft>
                <a:spcPct val="0"/>
              </a:spcAft>
            </a:pPr>
            <a:r>
              <a:rPr lang="en-US" sz="2400" b="1" dirty="0">
                <a:solidFill>
                  <a:schemeClr val="bg1"/>
                </a:solidFill>
                <a:ea typeface="MS PGothic"/>
              </a:rPr>
              <a:t>Áreas de Impacto Potencial</a:t>
            </a:r>
            <a:endParaRPr lang="en-US" sz="2400" b="1" dirty="0">
              <a:solidFill>
                <a:schemeClr val="bg1"/>
              </a:solidFill>
              <a:ea typeface="MS PGothic" charset="-128"/>
              <a:cs typeface="Arial"/>
            </a:endParaRPr>
          </a:p>
        </p:txBody>
      </p:sp>
      <p:sp>
        <p:nvSpPr>
          <p:cNvPr id="27" name="Rectangle 26">
            <a:extLst>
              <a:ext uri="{FF2B5EF4-FFF2-40B4-BE49-F238E27FC236}">
                <a16:creationId xmlns:a16="http://schemas.microsoft.com/office/drawing/2014/main" id="{4FB2E79F-DF03-D747-A9AB-8699666236D6}"/>
              </a:ext>
            </a:extLst>
          </p:cNvPr>
          <p:cNvSpPr/>
          <p:nvPr/>
        </p:nvSpPr>
        <p:spPr>
          <a:xfrm>
            <a:off x="8614764" y="12112715"/>
            <a:ext cx="1002308" cy="249230"/>
          </a:xfrm>
          <a:prstGeom prst="rect">
            <a:avLst/>
          </a:prstGeom>
          <a:noFill/>
          <a:ln w="25400" cap="flat" cmpd="sng">
            <a:noFill/>
            <a:prstDash val="solid"/>
            <a:round/>
            <a:headEnd type="none" w="med" len="med"/>
            <a:tailEnd type="none" w="med" len="med"/>
          </a:ln>
        </p:spPr>
        <p:txBody>
          <a:bodyPr lIns="0" tIns="91400" rIns="0" bIns="91400" rtlCol="0" anchor="ctr" anchorCtr="0">
            <a:noAutofit/>
          </a:bodyPr>
          <a:lstStyle/>
          <a:p>
            <a:pPr defTabSz="1828837">
              <a:buClr>
                <a:srgbClr val="000000"/>
              </a:buClr>
              <a:buSzPct val="25000"/>
              <a:defRPr/>
            </a:pPr>
            <a:r>
              <a:rPr lang="en-US" sz="1600" dirty="0">
                <a:solidFill>
                  <a:srgbClr val="FFFFFF"/>
                </a:solidFill>
                <a:latin typeface="IBM Plex Sans Light"/>
                <a:ea typeface="Century Gothic"/>
                <a:cs typeface="Century Gothic"/>
              </a:rPr>
              <a:t>Gasto</a:t>
            </a:r>
            <a:endParaRPr lang="en-US" sz="1600" dirty="0">
              <a:solidFill>
                <a:srgbClr val="FFFFFF"/>
              </a:solidFill>
              <a:latin typeface="IBM Plex Sans Light"/>
              <a:ea typeface="Century Gothic"/>
              <a:cs typeface="Century Gothic"/>
              <a:sym typeface="Century Gothic"/>
            </a:endParaRPr>
          </a:p>
        </p:txBody>
      </p:sp>
      <p:sp>
        <p:nvSpPr>
          <p:cNvPr id="28" name="Rectangle 27">
            <a:extLst>
              <a:ext uri="{FF2B5EF4-FFF2-40B4-BE49-F238E27FC236}">
                <a16:creationId xmlns:a16="http://schemas.microsoft.com/office/drawing/2014/main" id="{A40B2430-3C40-284F-BC87-0A061F3BD609}"/>
              </a:ext>
            </a:extLst>
          </p:cNvPr>
          <p:cNvSpPr/>
          <p:nvPr/>
        </p:nvSpPr>
        <p:spPr>
          <a:xfrm>
            <a:off x="10017213" y="12112715"/>
            <a:ext cx="1002308" cy="249230"/>
          </a:xfrm>
          <a:prstGeom prst="rect">
            <a:avLst/>
          </a:prstGeom>
          <a:noFill/>
          <a:ln w="25400" cap="flat" cmpd="sng">
            <a:noFill/>
            <a:prstDash val="solid"/>
            <a:round/>
            <a:headEnd type="none" w="med" len="med"/>
            <a:tailEnd type="none" w="med" len="med"/>
          </a:ln>
        </p:spPr>
        <p:txBody>
          <a:bodyPr lIns="0" tIns="91400" rIns="0" bIns="91400" rtlCol="0" anchor="ctr" anchorCtr="0">
            <a:noAutofit/>
          </a:bodyPr>
          <a:lstStyle/>
          <a:p>
            <a:pPr defTabSz="1828837">
              <a:buClr>
                <a:srgbClr val="000000"/>
              </a:buClr>
              <a:buSzPct val="25000"/>
              <a:defRPr/>
            </a:pPr>
            <a:r>
              <a:rPr lang="en-US" sz="1600" dirty="0">
                <a:solidFill>
                  <a:srgbClr val="FFFFFF"/>
                </a:solidFill>
                <a:latin typeface="IBM Plex Sans Light"/>
                <a:ea typeface="Century Gothic"/>
                <a:cs typeface="Century Gothic"/>
              </a:rPr>
              <a:t>Fiabilidad</a:t>
            </a:r>
          </a:p>
        </p:txBody>
      </p:sp>
      <p:sp>
        <p:nvSpPr>
          <p:cNvPr id="29" name="Rectangle 28">
            <a:extLst>
              <a:ext uri="{FF2B5EF4-FFF2-40B4-BE49-F238E27FC236}">
                <a16:creationId xmlns:a16="http://schemas.microsoft.com/office/drawing/2014/main" id="{C5B3AA4B-B800-4E4B-B0F3-1124D3D65417}"/>
              </a:ext>
            </a:extLst>
          </p:cNvPr>
          <p:cNvSpPr/>
          <p:nvPr/>
        </p:nvSpPr>
        <p:spPr>
          <a:xfrm>
            <a:off x="11285928" y="12135387"/>
            <a:ext cx="1002308" cy="233063"/>
          </a:xfrm>
          <a:prstGeom prst="rect">
            <a:avLst/>
          </a:prstGeom>
          <a:noFill/>
          <a:ln w="25400" cap="flat" cmpd="sng">
            <a:noFill/>
            <a:prstDash val="solid"/>
            <a:round/>
            <a:headEnd type="none" w="med" len="med"/>
            <a:tailEnd type="none" w="med" len="med"/>
          </a:ln>
        </p:spPr>
        <p:txBody>
          <a:bodyPr lIns="0" tIns="91400" rIns="0" bIns="91400" rtlCol="0" anchor="ctr" anchorCtr="0">
            <a:noAutofit/>
          </a:bodyPr>
          <a:lstStyle/>
          <a:p>
            <a:pPr defTabSz="1828837">
              <a:buClr>
                <a:srgbClr val="000000"/>
              </a:buClr>
              <a:buSzPct val="25000"/>
              <a:defRPr/>
            </a:pPr>
            <a:r>
              <a:rPr lang="en-US" sz="1600" dirty="0">
                <a:solidFill>
                  <a:srgbClr val="FFFFFF"/>
                </a:solidFill>
                <a:latin typeface="IBM Plex Sans Light"/>
                <a:ea typeface="Century Gothic"/>
                <a:cs typeface="Century Gothic"/>
                <a:sym typeface="Century Gothic"/>
              </a:rPr>
              <a:t>UX</a:t>
            </a:r>
          </a:p>
        </p:txBody>
      </p:sp>
      <p:sp>
        <p:nvSpPr>
          <p:cNvPr id="30" name="Rectangle 29">
            <a:extLst>
              <a:ext uri="{FF2B5EF4-FFF2-40B4-BE49-F238E27FC236}">
                <a16:creationId xmlns:a16="http://schemas.microsoft.com/office/drawing/2014/main" id="{C7FA4876-7913-BE4A-B455-278E57AEAC69}"/>
              </a:ext>
            </a:extLst>
          </p:cNvPr>
          <p:cNvSpPr/>
          <p:nvPr/>
        </p:nvSpPr>
        <p:spPr>
          <a:xfrm>
            <a:off x="14160884" y="12128880"/>
            <a:ext cx="1002308" cy="233063"/>
          </a:xfrm>
          <a:prstGeom prst="rect">
            <a:avLst/>
          </a:prstGeom>
          <a:noFill/>
          <a:ln w="25400" cap="flat" cmpd="sng">
            <a:noFill/>
            <a:prstDash val="solid"/>
            <a:round/>
            <a:headEnd type="none" w="med" len="med"/>
            <a:tailEnd type="none" w="med" len="med"/>
          </a:ln>
        </p:spPr>
        <p:txBody>
          <a:bodyPr lIns="0" tIns="91400" rIns="0" bIns="91400" rtlCol="0" anchor="ctr" anchorCtr="0">
            <a:noAutofit/>
          </a:bodyPr>
          <a:lstStyle/>
          <a:p>
            <a:pPr defTabSz="1828837">
              <a:buClr>
                <a:srgbClr val="000000"/>
              </a:buClr>
              <a:buSzPct val="25000"/>
              <a:defRPr/>
            </a:pPr>
            <a:r>
              <a:rPr lang="en-US" sz="1600" dirty="0">
                <a:solidFill>
                  <a:srgbClr val="FFFFFF"/>
                </a:solidFill>
                <a:latin typeface="IBM Plex Sans Light"/>
                <a:sym typeface="Century Gothic"/>
              </a:rPr>
              <a:t>Innovación</a:t>
            </a:r>
            <a:endParaRPr lang="en-US" dirty="0"/>
          </a:p>
        </p:txBody>
      </p:sp>
      <p:sp>
        <p:nvSpPr>
          <p:cNvPr id="31" name="Rectangle: Rounded Corners 55">
            <a:extLst>
              <a:ext uri="{FF2B5EF4-FFF2-40B4-BE49-F238E27FC236}">
                <a16:creationId xmlns:a16="http://schemas.microsoft.com/office/drawing/2014/main" id="{D95537C3-5C33-DA44-BF74-955B76F2A166}"/>
              </a:ext>
            </a:extLst>
          </p:cNvPr>
          <p:cNvSpPr/>
          <p:nvPr/>
        </p:nvSpPr>
        <p:spPr>
          <a:xfrm>
            <a:off x="12630342" y="11378674"/>
            <a:ext cx="1144943" cy="1144943"/>
          </a:xfrm>
          <a:prstGeom prst="roundRect">
            <a:avLst/>
          </a:prstGeom>
          <a:noFill/>
          <a:ln w="25400" cap="flat" cmpd="sng">
            <a:solidFill>
              <a:schemeClr val="bg1"/>
            </a:solidFill>
            <a:prstDash val="solid"/>
            <a:round/>
            <a:headEnd type="none" w="med" len="med"/>
            <a:tailEnd type="none" w="med" len="med"/>
          </a:ln>
        </p:spPr>
        <p:txBody>
          <a:bodyPr lIns="0" tIns="91400" rIns="0" bIns="91400" rtlCol="0" anchor="ctr" anchorCtr="0">
            <a:noAutofit/>
          </a:bodyPr>
          <a:lstStyle/>
          <a:p>
            <a:pPr defTabSz="1828837" hangingPunct="1">
              <a:buClr>
                <a:srgbClr val="000000"/>
              </a:buClr>
              <a:buSzPct val="25000"/>
              <a:defRPr/>
            </a:pPr>
            <a:endParaRPr lang="en-US" sz="1600" dirty="0">
              <a:solidFill>
                <a:srgbClr val="FFFFFF"/>
              </a:solidFill>
              <a:latin typeface="IBM Plex Sans Light"/>
              <a:ea typeface="Century Gothic"/>
              <a:cs typeface="Century Gothic"/>
              <a:sym typeface="Century Gothic"/>
            </a:endParaRPr>
          </a:p>
        </p:txBody>
      </p:sp>
      <p:pic>
        <p:nvPicPr>
          <p:cNvPr id="32" name="Graphic 31" descr="Money">
            <a:extLst>
              <a:ext uri="{FF2B5EF4-FFF2-40B4-BE49-F238E27FC236}">
                <a16:creationId xmlns:a16="http://schemas.microsoft.com/office/drawing/2014/main" id="{5551E48D-03BE-D344-B48D-95CA96EC38D7}"/>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804803" y="11504872"/>
            <a:ext cx="636080" cy="636080"/>
          </a:xfrm>
          <a:prstGeom prst="rect">
            <a:avLst/>
          </a:prstGeom>
        </p:spPr>
      </p:pic>
      <p:pic>
        <p:nvPicPr>
          <p:cNvPr id="33" name="Graphic 32" descr="Handshake">
            <a:extLst>
              <a:ext uri="{FF2B5EF4-FFF2-40B4-BE49-F238E27FC236}">
                <a16:creationId xmlns:a16="http://schemas.microsoft.com/office/drawing/2014/main" id="{3DA51E9F-07CD-364F-BB3A-DBB1D295BA61}"/>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207247" y="11504872"/>
            <a:ext cx="636080" cy="636080"/>
          </a:xfrm>
          <a:prstGeom prst="rect">
            <a:avLst/>
          </a:prstGeom>
        </p:spPr>
      </p:pic>
      <p:pic>
        <p:nvPicPr>
          <p:cNvPr id="34" name="Picture 33">
            <a:extLst>
              <a:ext uri="{FF2B5EF4-FFF2-40B4-BE49-F238E27FC236}">
                <a16:creationId xmlns:a16="http://schemas.microsoft.com/office/drawing/2014/main" id="{38192A14-E26B-B040-A3ED-5CF3250B508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1609690" y="11571147"/>
            <a:ext cx="482217" cy="503530"/>
          </a:xfrm>
          <a:prstGeom prst="rect">
            <a:avLst/>
          </a:prstGeom>
        </p:spPr>
      </p:pic>
      <p:pic>
        <p:nvPicPr>
          <p:cNvPr id="35" name="Picture 34">
            <a:extLst>
              <a:ext uri="{FF2B5EF4-FFF2-40B4-BE49-F238E27FC236}">
                <a16:creationId xmlns:a16="http://schemas.microsoft.com/office/drawing/2014/main" id="{64071182-38F0-014F-8106-F6C2B5E638DE}"/>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2858269" y="11487486"/>
            <a:ext cx="748128" cy="670858"/>
          </a:xfrm>
          <a:prstGeom prst="rect">
            <a:avLst/>
          </a:prstGeom>
        </p:spPr>
      </p:pic>
      <p:pic>
        <p:nvPicPr>
          <p:cNvPr id="36" name="Graphic 35" descr="Head with Gears">
            <a:extLst>
              <a:ext uri="{FF2B5EF4-FFF2-40B4-BE49-F238E27FC236}">
                <a16:creationId xmlns:a16="http://schemas.microsoft.com/office/drawing/2014/main" id="{4ABC9407-7E79-9D4B-949B-19C283577647}"/>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4372762" y="11504872"/>
            <a:ext cx="636080" cy="636080"/>
          </a:xfrm>
          <a:prstGeom prst="rect">
            <a:avLst/>
          </a:prstGeom>
        </p:spPr>
      </p:pic>
      <p:sp>
        <p:nvSpPr>
          <p:cNvPr id="37" name="Rectangle 36">
            <a:extLst>
              <a:ext uri="{FF2B5EF4-FFF2-40B4-BE49-F238E27FC236}">
                <a16:creationId xmlns:a16="http://schemas.microsoft.com/office/drawing/2014/main" id="{DB3981FE-96E4-9844-8CDA-812792F9DFFD}"/>
              </a:ext>
            </a:extLst>
          </p:cNvPr>
          <p:cNvSpPr/>
          <p:nvPr/>
        </p:nvSpPr>
        <p:spPr>
          <a:xfrm>
            <a:off x="12725879" y="12143995"/>
            <a:ext cx="1002308" cy="233063"/>
          </a:xfrm>
          <a:prstGeom prst="rect">
            <a:avLst/>
          </a:prstGeom>
          <a:noFill/>
          <a:ln w="25400" cap="flat" cmpd="sng">
            <a:noFill/>
            <a:prstDash val="solid"/>
            <a:round/>
            <a:headEnd type="none" w="med" len="med"/>
            <a:tailEnd type="none" w="med" len="med"/>
          </a:ln>
        </p:spPr>
        <p:txBody>
          <a:bodyPr lIns="0" tIns="91400" rIns="0" bIns="91400" rtlCol="0" anchor="ctr" anchorCtr="0">
            <a:noAutofit/>
          </a:bodyPr>
          <a:lstStyle/>
          <a:p>
            <a:pPr defTabSz="1828837">
              <a:buClr>
                <a:srgbClr val="000000"/>
              </a:buClr>
              <a:buSzPct val="25000"/>
              <a:defRPr/>
            </a:pPr>
            <a:r>
              <a:rPr lang="en-US" sz="1600" dirty="0">
                <a:solidFill>
                  <a:srgbClr val="FFFFFF"/>
                </a:solidFill>
                <a:latin typeface="IBM Plex Sans Light"/>
                <a:ea typeface="Century Gothic"/>
                <a:cs typeface="Century Gothic"/>
                <a:sym typeface="Century Gothic"/>
              </a:rPr>
              <a:t>Agilidad</a:t>
            </a:r>
          </a:p>
        </p:txBody>
      </p:sp>
      <p:sp>
        <p:nvSpPr>
          <p:cNvPr id="38" name="Rectangle: Rounded Corners 62">
            <a:extLst>
              <a:ext uri="{FF2B5EF4-FFF2-40B4-BE49-F238E27FC236}">
                <a16:creationId xmlns:a16="http://schemas.microsoft.com/office/drawing/2014/main" id="{32EF0FCF-30E3-3144-856E-65AB0A74CF59}"/>
              </a:ext>
            </a:extLst>
          </p:cNvPr>
          <p:cNvSpPr/>
          <p:nvPr/>
        </p:nvSpPr>
        <p:spPr>
          <a:xfrm>
            <a:off x="9964820" y="11378674"/>
            <a:ext cx="1144943" cy="1144943"/>
          </a:xfrm>
          <a:prstGeom prst="roundRect">
            <a:avLst/>
          </a:prstGeom>
          <a:noFill/>
          <a:ln w="25400" cap="flat" cmpd="sng">
            <a:solidFill>
              <a:schemeClr val="bg1"/>
            </a:solidFill>
            <a:prstDash val="solid"/>
            <a:round/>
            <a:headEnd type="none" w="med" len="med"/>
            <a:tailEnd type="none" w="med" len="med"/>
          </a:ln>
        </p:spPr>
        <p:txBody>
          <a:bodyPr lIns="0" tIns="91400" rIns="0" bIns="91400" rtlCol="0" anchor="ctr" anchorCtr="0">
            <a:noAutofit/>
          </a:bodyPr>
          <a:lstStyle/>
          <a:p>
            <a:pPr defTabSz="1828837" hangingPunct="1">
              <a:buClr>
                <a:srgbClr val="000000"/>
              </a:buClr>
              <a:buSzPct val="25000"/>
              <a:defRPr/>
            </a:pPr>
            <a:endParaRPr lang="en-US" sz="1600" dirty="0">
              <a:solidFill>
                <a:srgbClr val="FFFFFF"/>
              </a:solidFill>
              <a:latin typeface="IBM Plex Sans Light"/>
              <a:ea typeface="Century Gothic"/>
              <a:cs typeface="Century Gothic"/>
              <a:sym typeface="Century Gothic"/>
            </a:endParaRPr>
          </a:p>
        </p:txBody>
      </p:sp>
      <p:sp>
        <p:nvSpPr>
          <p:cNvPr id="39" name="Rectangle: Rounded Corners 55">
            <a:extLst>
              <a:ext uri="{FF2B5EF4-FFF2-40B4-BE49-F238E27FC236}">
                <a16:creationId xmlns:a16="http://schemas.microsoft.com/office/drawing/2014/main" id="{9227ADCD-570F-BD4C-BCE7-A6F1ABD1C462}"/>
              </a:ext>
            </a:extLst>
          </p:cNvPr>
          <p:cNvSpPr/>
          <p:nvPr/>
        </p:nvSpPr>
        <p:spPr>
          <a:xfrm>
            <a:off x="14089566" y="11378673"/>
            <a:ext cx="1144943" cy="1144943"/>
          </a:xfrm>
          <a:prstGeom prst="roundRect">
            <a:avLst/>
          </a:prstGeom>
          <a:noFill/>
          <a:ln w="25400" cap="flat" cmpd="sng">
            <a:solidFill>
              <a:schemeClr val="bg1"/>
            </a:solidFill>
            <a:prstDash val="solid"/>
            <a:round/>
            <a:headEnd type="none" w="med" len="med"/>
            <a:tailEnd type="none" w="med" len="med"/>
          </a:ln>
        </p:spPr>
        <p:txBody>
          <a:bodyPr lIns="0" tIns="91400" rIns="0" bIns="91400" rtlCol="0" anchor="ctr" anchorCtr="0">
            <a:noAutofit/>
          </a:bodyPr>
          <a:lstStyle/>
          <a:p>
            <a:pPr defTabSz="1828837" hangingPunct="1">
              <a:buClr>
                <a:srgbClr val="000000"/>
              </a:buClr>
              <a:buSzPct val="25000"/>
              <a:defRPr/>
            </a:pPr>
            <a:endParaRPr lang="en-US" sz="1600" dirty="0">
              <a:solidFill>
                <a:srgbClr val="FFFFFF"/>
              </a:solidFill>
              <a:latin typeface="IBM Plex Sans Light"/>
              <a:ea typeface="Century Gothic"/>
              <a:cs typeface="Century Gothic"/>
              <a:sym typeface="Century Gothic"/>
            </a:endParaRPr>
          </a:p>
        </p:txBody>
      </p:sp>
    </p:spTree>
    <p:extLst>
      <p:ext uri="{BB962C8B-B14F-4D97-AF65-F5344CB8AC3E}">
        <p14:creationId xmlns:p14="http://schemas.microsoft.com/office/powerpoint/2010/main" val="25474516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65C89AE-F1C2-442F-B3D5-B1E7DEE00F7A}"/>
              </a:ext>
            </a:extLst>
          </p:cNvPr>
          <p:cNvSpPr txBox="1"/>
          <p:nvPr/>
        </p:nvSpPr>
        <p:spPr>
          <a:xfrm>
            <a:off x="650240" y="541319"/>
            <a:ext cx="22611504" cy="1569660"/>
          </a:xfrm>
          <a:prstGeom prst="rect">
            <a:avLst/>
          </a:prstGeom>
          <a:noFill/>
        </p:spPr>
        <p:txBody>
          <a:bodyPr wrap="square" rtlCol="0" anchor="t">
            <a:spAutoFit/>
          </a:bodyPr>
          <a:lstStyle/>
          <a:p>
            <a:pPr algn="l"/>
            <a:r>
              <a:rPr lang="en-GB" sz="4000" b="1" kern="1200" dirty="0">
                <a:solidFill>
                  <a:srgbClr val="C00000"/>
                </a:solidFill>
              </a:rPr>
              <a:t>CI / CD de releases</a:t>
            </a:r>
            <a:r>
              <a:rPr lang="en-US" sz="4000" b="1" kern="1200" dirty="0">
                <a:solidFill>
                  <a:srgbClr val="C00000"/>
                </a:solidFill>
              </a:rPr>
              <a:t>  </a:t>
            </a:r>
            <a:r>
              <a:rPr lang="en-US" sz="2800" kern="1200" dirty="0">
                <a:solidFill>
                  <a:srgbClr val="C00000"/>
                </a:solidFill>
              </a:rPr>
              <a:t>Despliegue &amp; Empaquetado de Releases</a:t>
            </a:r>
          </a:p>
          <a:p>
            <a:pPr algn="l"/>
            <a:r>
              <a:rPr lang="es-ES" altLang="en-US" sz="2800" kern="1200" dirty="0">
                <a:solidFill>
                  <a:schemeClr val="tx1"/>
                </a:solidFill>
              </a:rPr>
              <a:t>Matriz RACI</a:t>
            </a:r>
            <a:endParaRPr lang="en-US" altLang="en-US" sz="2800" kern="1200" dirty="0">
              <a:solidFill>
                <a:schemeClr val="tx1"/>
              </a:solidFill>
            </a:endParaRPr>
          </a:p>
          <a:p>
            <a:pPr algn="l"/>
            <a:endParaRPr lang="en-US" altLang="en-US" sz="2800" kern="1200" dirty="0">
              <a:solidFill>
                <a:srgbClr val="C00000"/>
              </a:solidFill>
              <a:latin typeface="IBM Plex Sans" panose="020B0503050203000203" pitchFamily="34" charset="77"/>
            </a:endParaRPr>
          </a:p>
        </p:txBody>
      </p:sp>
      <p:graphicFrame>
        <p:nvGraphicFramePr>
          <p:cNvPr id="4" name="Tabla 3">
            <a:extLst>
              <a:ext uri="{FF2B5EF4-FFF2-40B4-BE49-F238E27FC236}">
                <a16:creationId xmlns:a16="http://schemas.microsoft.com/office/drawing/2014/main" id="{00052E41-2B17-4A19-9755-B528AC1C2B28}"/>
              </a:ext>
            </a:extLst>
          </p:cNvPr>
          <p:cNvGraphicFramePr>
            <a:graphicFrameLocks noGrp="1"/>
          </p:cNvGraphicFramePr>
          <p:nvPr>
            <p:extLst>
              <p:ext uri="{D42A27DB-BD31-4B8C-83A1-F6EECF244321}">
                <p14:modId xmlns:p14="http://schemas.microsoft.com/office/powerpoint/2010/main" val="3669017007"/>
              </p:ext>
            </p:extLst>
          </p:nvPr>
        </p:nvGraphicFramePr>
        <p:xfrm>
          <a:off x="647912" y="1780805"/>
          <a:ext cx="23088176" cy="10943996"/>
        </p:xfrm>
        <a:graphic>
          <a:graphicData uri="http://schemas.openxmlformats.org/drawingml/2006/table">
            <a:tbl>
              <a:tblPr>
                <a:tableStyleId>{5940675A-B579-460E-94D1-54222C63F5DA}</a:tableStyleId>
              </a:tblPr>
              <a:tblGrid>
                <a:gridCol w="8784166">
                  <a:extLst>
                    <a:ext uri="{9D8B030D-6E8A-4147-A177-3AD203B41FA5}">
                      <a16:colId xmlns:a16="http://schemas.microsoft.com/office/drawing/2014/main" val="1549412401"/>
                    </a:ext>
                  </a:extLst>
                </a:gridCol>
                <a:gridCol w="2608383">
                  <a:extLst>
                    <a:ext uri="{9D8B030D-6E8A-4147-A177-3AD203B41FA5}">
                      <a16:colId xmlns:a16="http://schemas.microsoft.com/office/drawing/2014/main" val="13767168"/>
                    </a:ext>
                  </a:extLst>
                </a:gridCol>
                <a:gridCol w="2262980">
                  <a:extLst>
                    <a:ext uri="{9D8B030D-6E8A-4147-A177-3AD203B41FA5}">
                      <a16:colId xmlns:a16="http://schemas.microsoft.com/office/drawing/2014/main" val="1984299023"/>
                    </a:ext>
                  </a:extLst>
                </a:gridCol>
                <a:gridCol w="2367025">
                  <a:extLst>
                    <a:ext uri="{9D8B030D-6E8A-4147-A177-3AD203B41FA5}">
                      <a16:colId xmlns:a16="http://schemas.microsoft.com/office/drawing/2014/main" val="1693561845"/>
                    </a:ext>
                  </a:extLst>
                </a:gridCol>
                <a:gridCol w="2054890">
                  <a:extLst>
                    <a:ext uri="{9D8B030D-6E8A-4147-A177-3AD203B41FA5}">
                      <a16:colId xmlns:a16="http://schemas.microsoft.com/office/drawing/2014/main" val="2248067950"/>
                    </a:ext>
                  </a:extLst>
                </a:gridCol>
                <a:gridCol w="2505366">
                  <a:extLst>
                    <a:ext uri="{9D8B030D-6E8A-4147-A177-3AD203B41FA5}">
                      <a16:colId xmlns:a16="http://schemas.microsoft.com/office/drawing/2014/main" val="1105587022"/>
                    </a:ext>
                  </a:extLst>
                </a:gridCol>
                <a:gridCol w="2505366">
                  <a:extLst>
                    <a:ext uri="{9D8B030D-6E8A-4147-A177-3AD203B41FA5}">
                      <a16:colId xmlns:a16="http://schemas.microsoft.com/office/drawing/2014/main" val="1927622661"/>
                    </a:ext>
                  </a:extLst>
                </a:gridCol>
              </a:tblGrid>
              <a:tr h="588036">
                <a:tc>
                  <a:txBody>
                    <a:bodyPr/>
                    <a:lstStyle/>
                    <a:p>
                      <a:pPr algn="ctr" fontAlgn="ctr"/>
                      <a:endParaRPr lang="es-ES" sz="1400" b="1" i="0" u="none" strike="noStrike" dirty="0">
                        <a:solidFill>
                          <a:schemeClr val="bg1"/>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solidFill>
                      <a:srgbClr val="AC0000"/>
                    </a:solidFill>
                  </a:tcPr>
                </a:tc>
                <a:tc gridSpan="5">
                  <a:txBody>
                    <a:bodyPr/>
                    <a:lstStyle/>
                    <a:p>
                      <a:pPr algn="ctr" fontAlgn="ctr"/>
                      <a:r>
                        <a:rPr lang="es-ES" sz="1600" b="1" u="none" strike="noStrike" dirty="0">
                          <a:solidFill>
                            <a:schemeClr val="bg1"/>
                          </a:solidFill>
                          <a:effectLst/>
                        </a:rPr>
                        <a:t>AREAS &amp; RESPONSABILIDADES</a:t>
                      </a:r>
                      <a:endParaRPr lang="es-ES" sz="1600" b="1"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C0000"/>
                    </a:solidFill>
                  </a:tcPr>
                </a:tc>
                <a:tc hMerge="1">
                  <a:txBody>
                    <a:bodyPr/>
                    <a:lstStyle/>
                    <a:p>
                      <a:endParaRPr lang="es-ES"/>
                    </a:p>
                  </a:txBody>
                  <a:tcPr/>
                </a:tc>
                <a:tc hMerge="1">
                  <a:txBody>
                    <a:bodyPr/>
                    <a:lstStyle/>
                    <a:p>
                      <a:endParaRPr lang="es-ES"/>
                    </a:p>
                  </a:txBody>
                  <a:tcPr>
                    <a:lnL w="12700" cap="flat" cmpd="sng" algn="ctr">
                      <a:solidFill>
                        <a:schemeClr val="tx1"/>
                      </a:solidFill>
                      <a:prstDash val="solid"/>
                      <a:round/>
                      <a:headEnd type="none" w="med" len="med"/>
                      <a:tailEnd type="none" w="med" len="med"/>
                    </a:lnL>
                  </a:tcPr>
                </a:tc>
                <a:tc hMerge="1">
                  <a:txBody>
                    <a:bodyPr/>
                    <a:lstStyle/>
                    <a:p>
                      <a:endParaRPr lang="es-ES"/>
                    </a:p>
                  </a:txBody>
                  <a:tcPr/>
                </a:tc>
                <a:tc hMerge="1">
                  <a:txBody>
                    <a:bodyPr/>
                    <a:lstStyle/>
                    <a:p>
                      <a:endParaRPr lang="es-ES"/>
                    </a:p>
                  </a:txBody>
                  <a:tcPr/>
                </a:tc>
                <a:tc>
                  <a:txBody>
                    <a:bodyPr/>
                    <a:lstStyle/>
                    <a:p>
                      <a:pPr algn="ctr" fontAlgn="ctr"/>
                      <a:endParaRPr lang="es-ES" sz="1400" b="1"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C0000"/>
                    </a:solidFill>
                  </a:tcPr>
                </a:tc>
                <a:extLst>
                  <a:ext uri="{0D108BD9-81ED-4DB2-BD59-A6C34878D82A}">
                    <a16:rowId xmlns:a16="http://schemas.microsoft.com/office/drawing/2014/main" val="3988108223"/>
                  </a:ext>
                </a:extLst>
              </a:tr>
              <a:tr h="482473">
                <a:tc rowSpan="2">
                  <a:txBody>
                    <a:bodyPr/>
                    <a:lstStyle/>
                    <a:p>
                      <a:pPr algn="ctr" fontAlgn="ctr"/>
                      <a:r>
                        <a:rPr lang="es-ES" sz="2400" b="1" u="none" strike="noStrike" dirty="0">
                          <a:effectLst/>
                        </a:rPr>
                        <a:t>Actividades del Proceso​</a:t>
                      </a:r>
                      <a:endParaRPr lang="es-ES" sz="2400" b="1" i="0" u="none" strike="noStrike" dirty="0">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gridSpan="5">
                  <a:txBody>
                    <a:bodyPr/>
                    <a:lstStyle/>
                    <a:p>
                      <a:pPr algn="ctr" fontAlgn="ctr"/>
                      <a:r>
                        <a:rPr lang="es-ES" sz="2400" b="1" i="0" u="none" strike="noStrike" dirty="0">
                          <a:solidFill>
                            <a:srgbClr val="000000"/>
                          </a:solidFill>
                          <a:effectLst/>
                          <a:latin typeface="Arial" panose="020B0604020202020204" pitchFamily="34" charset="0"/>
                        </a:rPr>
                        <a:t>Santander Tecnología</a:t>
                      </a:r>
                    </a:p>
                  </a:txBody>
                  <a:tcPr marL="9525" marR="9525" marT="9525" marB="0" anchor="ctr">
                    <a:lnT w="12700" cap="flat" cmpd="sng" algn="ctr">
                      <a:solidFill>
                        <a:schemeClr val="tx1"/>
                      </a:solidFill>
                      <a:prstDash val="solid"/>
                      <a:round/>
                      <a:headEnd type="none" w="med" len="med"/>
                      <a:tailEnd type="none" w="med" len="med"/>
                    </a:lnT>
                    <a:solidFill>
                      <a:schemeClr val="tx2">
                        <a:lumMod val="40000"/>
                        <a:lumOff val="60000"/>
                      </a:schemeClr>
                    </a:solidFill>
                  </a:tcPr>
                </a:tc>
                <a:tc hMerge="1">
                  <a:txBody>
                    <a:bodyPr/>
                    <a:lstStyle/>
                    <a:p>
                      <a:pPr algn="ctr" fontAlgn="ctr"/>
                      <a:endParaRPr lang="es-ES" sz="1800" b="1" i="0" u="none" strike="noStrike">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hMerge="1">
                  <a:txBody>
                    <a:bodyPr/>
                    <a:lstStyle/>
                    <a:p>
                      <a:pPr algn="ctr" fontAlgn="ctr"/>
                      <a:endParaRPr lang="es-ES" sz="1800" b="1" i="0" u="none" strike="noStrike">
                        <a:solidFill>
                          <a:srgbClr val="000000"/>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solidFill>
                      <a:schemeClr val="tx2">
                        <a:lumMod val="40000"/>
                        <a:lumOff val="60000"/>
                      </a:schemeClr>
                    </a:solidFill>
                  </a:tcPr>
                </a:tc>
                <a:tc hMerge="1">
                  <a:txBody>
                    <a:bodyPr/>
                    <a:lstStyle/>
                    <a:p>
                      <a:pPr algn="ctr" fontAlgn="ctr"/>
                      <a:endParaRPr lang="es-ES" sz="1800" b="1" i="0" u="none" strike="noStrike">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hMerge="1">
                  <a:txBody>
                    <a:bodyPr/>
                    <a:lstStyle/>
                    <a:p>
                      <a:pPr algn="ctr" fontAlgn="ctr"/>
                      <a:endParaRPr lang="es-ES" sz="1800" b="1" i="0" u="none" strike="noStrike">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a:txBody>
                    <a:bodyPr/>
                    <a:lstStyle/>
                    <a:p>
                      <a:pPr algn="ctr" fontAlgn="ctr"/>
                      <a:r>
                        <a:rPr lang="es-ES" sz="2400" b="1" i="0" u="none" strike="noStrike" dirty="0">
                          <a:solidFill>
                            <a:srgbClr val="000000"/>
                          </a:solidFill>
                          <a:effectLst/>
                          <a:latin typeface="Arial" panose="020B0604020202020204" pitchFamily="34" charset="0"/>
                        </a:rPr>
                        <a:t>SGT</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lumMod val="40000"/>
                        <a:lumOff val="60000"/>
                      </a:schemeClr>
                    </a:solidFill>
                  </a:tcPr>
                </a:tc>
                <a:extLst>
                  <a:ext uri="{0D108BD9-81ED-4DB2-BD59-A6C34878D82A}">
                    <a16:rowId xmlns:a16="http://schemas.microsoft.com/office/drawing/2014/main" val="625852721"/>
                  </a:ext>
                </a:extLst>
              </a:tr>
              <a:tr h="464911">
                <a:tc vMerge="1">
                  <a:txBody>
                    <a:bodyPr/>
                    <a:lstStyle/>
                    <a:p>
                      <a:pPr algn="ctr" fontAlgn="ctr"/>
                      <a:endParaRPr lang="es-ES" sz="2400" b="1" i="0" u="none" strike="noStrike">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a:txBody>
                    <a:bodyPr/>
                    <a:lstStyle/>
                    <a:p>
                      <a:pPr algn="ctr" fontAlgn="ctr"/>
                      <a:r>
                        <a:rPr lang="es-ES" sz="1800" u="none" strike="noStrike" dirty="0">
                          <a:effectLst/>
                        </a:rPr>
                        <a:t>Dominio de Negocio​</a:t>
                      </a:r>
                      <a:endParaRPr lang="es-ES" sz="1800" b="1" i="0" u="none" strike="noStrike" dirty="0">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a:txBody>
                    <a:bodyPr/>
                    <a:lstStyle/>
                    <a:p>
                      <a:pPr algn="ctr" fontAlgn="ctr"/>
                      <a:r>
                        <a:rPr lang="es-ES" sz="1800" u="none" strike="noStrike" dirty="0">
                          <a:effectLst/>
                        </a:rPr>
                        <a:t>Operaciones</a:t>
                      </a:r>
                      <a:endParaRPr lang="es-ES" sz="1800" b="1" i="0" u="none" strike="noStrike" dirty="0">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a:txBody>
                    <a:bodyPr/>
                    <a:lstStyle/>
                    <a:p>
                      <a:pPr algn="ctr" fontAlgn="ctr"/>
                      <a:r>
                        <a:rPr lang="es-ES" sz="1800" u="none" strike="noStrike" dirty="0">
                          <a:effectLst/>
                        </a:rPr>
                        <a:t>Ingeniería ​</a:t>
                      </a:r>
                      <a:endParaRPr lang="es-ES" sz="1800" b="1" i="0" u="none" strike="noStrike" dirty="0">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a:txBody>
                    <a:bodyPr/>
                    <a:lstStyle/>
                    <a:p>
                      <a:pPr algn="ctr" fontAlgn="ctr"/>
                      <a:r>
                        <a:rPr lang="es-ES" sz="1800" u="none" strike="noStrike" dirty="0">
                          <a:effectLst/>
                        </a:rPr>
                        <a:t>Testing​</a:t>
                      </a:r>
                      <a:endParaRPr lang="es-ES" sz="1800" b="1" i="0" u="none" strike="noStrike" dirty="0">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a:txBody>
                    <a:bodyPr/>
                    <a:lstStyle/>
                    <a:p>
                      <a:pPr marL="0" algn="ctr" defTabSz="1828800" rtl="0" eaLnBrk="1" fontAlgn="ctr" latinLnBrk="0" hangingPunct="1"/>
                      <a:r>
                        <a:rPr lang="es-ES" sz="1800" u="none" strike="noStrike" kern="1200" dirty="0">
                          <a:solidFill>
                            <a:schemeClr val="tx1"/>
                          </a:solidFill>
                          <a:effectLst/>
                          <a:latin typeface="+mn-lt"/>
                          <a:ea typeface="+mn-ea"/>
                          <a:cs typeface="+mn-cs"/>
                        </a:rPr>
                        <a:t>Nivel de Servicio</a:t>
                      </a:r>
                    </a:p>
                  </a:txBody>
                  <a:tcPr marL="9525" marR="9525" marT="9525" marB="0" anchor="ctr">
                    <a:solidFill>
                      <a:schemeClr val="tx2">
                        <a:lumMod val="40000"/>
                        <a:lumOff val="60000"/>
                      </a:schemeClr>
                    </a:solidFill>
                  </a:tcPr>
                </a:tc>
                <a:tc>
                  <a:txBody>
                    <a:bodyPr/>
                    <a:lstStyle/>
                    <a:p>
                      <a:pPr marL="0" algn="ctr" defTabSz="1828800" rtl="0" eaLnBrk="1" fontAlgn="ctr" latinLnBrk="0" hangingPunct="1"/>
                      <a:r>
                        <a:rPr lang="es-ES" sz="1800" u="none" strike="noStrike" kern="1200" dirty="0">
                          <a:solidFill>
                            <a:schemeClr val="tx1"/>
                          </a:solidFill>
                          <a:effectLst/>
                          <a:latin typeface="+mn-lt"/>
                          <a:ea typeface="+mn-ea"/>
                          <a:cs typeface="+mn-cs"/>
                        </a:rPr>
                        <a:t>Rendimiento</a:t>
                      </a:r>
                    </a:p>
                  </a:txBody>
                  <a:tcPr marL="9525" marR="9525" marT="9525" marB="0" anchor="ctr">
                    <a:solidFill>
                      <a:schemeClr val="tx2">
                        <a:lumMod val="40000"/>
                        <a:lumOff val="60000"/>
                      </a:schemeClr>
                    </a:solidFill>
                  </a:tcPr>
                </a:tc>
                <a:extLst>
                  <a:ext uri="{0D108BD9-81ED-4DB2-BD59-A6C34878D82A}">
                    <a16:rowId xmlns:a16="http://schemas.microsoft.com/office/drawing/2014/main" val="1477870111"/>
                  </a:ext>
                </a:extLst>
              </a:tr>
              <a:tr h="588036">
                <a:tc>
                  <a:txBody>
                    <a:bodyPr/>
                    <a:lstStyle/>
                    <a:p>
                      <a:pPr marL="0" marR="0" lvl="0" indent="0" algn="l" rtl="0" eaLnBrk="1" fontAlgn="base" latinLnBrk="0" hangingPunct="1">
                        <a:lnSpc>
                          <a:spcPct val="100000"/>
                        </a:lnSpc>
                        <a:spcBef>
                          <a:spcPct val="0"/>
                        </a:spcBef>
                        <a:spcAft>
                          <a:spcPct val="0"/>
                        </a:spcAft>
                        <a:buClrTx/>
                        <a:buSzTx/>
                        <a:buFontTx/>
                        <a:buNone/>
                      </a:pPr>
                      <a:r>
                        <a:rPr kumimoji="0" lang="en-US" altLang="en-US" sz="2000" b="0" i="0" u="none" strike="noStrike" cap="none" normalizeH="0" baseline="0" dirty="0">
                          <a:ln>
                            <a:noFill/>
                          </a:ln>
                          <a:solidFill>
                            <a:sysClr val="windowText" lastClr="000000"/>
                          </a:solidFill>
                          <a:effectLst/>
                          <a:latin typeface="+mn-lt"/>
                          <a:cs typeface="Arial" panose="020B0604020202020204" pitchFamily="34" charset="0"/>
                        </a:rPr>
                        <a:t>Definir Set de pruebas funcionales automaticas en Producción</a:t>
                      </a:r>
                    </a:p>
                  </a:txBody>
                  <a:tcPr marL="108000" marR="72000" marT="93600" marB="93600" anchor="ctr" horzOverflow="overflow"/>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A/R</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C</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extLst>
                  <a:ext uri="{0D108BD9-81ED-4DB2-BD59-A6C34878D82A}">
                    <a16:rowId xmlns:a16="http://schemas.microsoft.com/office/drawing/2014/main" val="1018969389"/>
                  </a:ext>
                </a:extLst>
              </a:tr>
              <a:tr h="588036">
                <a:tc>
                  <a:txBody>
                    <a:bodyPr/>
                    <a:lstStyle/>
                    <a:p>
                      <a:pPr marL="0" marR="0" lvl="0" indent="0" algn="l" rtl="0" eaLnBrk="1" fontAlgn="base" latinLnBrk="0" hangingPunct="1">
                        <a:lnSpc>
                          <a:spcPct val="100000"/>
                        </a:lnSpc>
                        <a:spcBef>
                          <a:spcPct val="0"/>
                        </a:spcBef>
                        <a:spcAft>
                          <a:spcPct val="0"/>
                        </a:spcAft>
                        <a:buClrTx/>
                        <a:buSzTx/>
                        <a:buFontTx/>
                        <a:buNone/>
                      </a:pPr>
                      <a:r>
                        <a:rPr kumimoji="0" lang="en-US" altLang="en-US" sz="2000" b="0" i="0" u="none" strike="noStrike" cap="none" normalizeH="0" baseline="0" dirty="0">
                          <a:ln>
                            <a:noFill/>
                          </a:ln>
                          <a:solidFill>
                            <a:sysClr val="windowText" lastClr="000000"/>
                          </a:solidFill>
                          <a:effectLst/>
                          <a:latin typeface="+mn-lt"/>
                          <a:cs typeface="Arial" panose="020B0604020202020204" pitchFamily="34" charset="0"/>
                        </a:rPr>
                        <a:t>Configuraciones del aplicativo en la pipeline (Producción oculto)</a:t>
                      </a:r>
                    </a:p>
                  </a:txBody>
                  <a:tcPr marL="108000" marR="72000" marT="93600" marB="93600" anchor="ctr" horzOverflow="overflow"/>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I</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A/R</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extLst>
                  <a:ext uri="{0D108BD9-81ED-4DB2-BD59-A6C34878D82A}">
                    <a16:rowId xmlns:a16="http://schemas.microsoft.com/office/drawing/2014/main" val="278564822"/>
                  </a:ext>
                </a:extLst>
              </a:tr>
              <a:tr h="588036">
                <a:tc>
                  <a:txBody>
                    <a:bodyPr/>
                    <a:lstStyle/>
                    <a:p>
                      <a:pPr marL="0" marR="0" lvl="0" indent="0" algn="l" rtl="0" eaLnBrk="1" fontAlgn="base" latinLnBrk="0" hangingPunct="1">
                        <a:lnSpc>
                          <a:spcPct val="100000"/>
                        </a:lnSpc>
                        <a:spcBef>
                          <a:spcPct val="0"/>
                        </a:spcBef>
                        <a:spcAft>
                          <a:spcPct val="0"/>
                        </a:spcAft>
                        <a:buClrTx/>
                        <a:buSzTx/>
                        <a:buFontTx/>
                        <a:buNone/>
                      </a:pPr>
                      <a:r>
                        <a:rPr kumimoji="0" lang="en-US" altLang="en-US" sz="2000" b="0" i="0" u="none" strike="noStrike" cap="none" normalizeH="0" baseline="0" dirty="0">
                          <a:ln>
                            <a:noFill/>
                          </a:ln>
                          <a:solidFill>
                            <a:sysClr val="windowText" lastClr="000000"/>
                          </a:solidFill>
                          <a:effectLst/>
                          <a:latin typeface="+mn-lt"/>
                          <a:cs typeface="Arial" panose="020B0604020202020204" pitchFamily="34" charset="0"/>
                        </a:rPr>
                        <a:t>Configurar Ventana de despliegue automática</a:t>
                      </a:r>
                    </a:p>
                  </a:txBody>
                  <a:tcPr marL="108000" marR="72000" marT="93600" marB="93600" anchor="ctr" horzOverflow="overflow"/>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I</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A/R</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extLst>
                  <a:ext uri="{0D108BD9-81ED-4DB2-BD59-A6C34878D82A}">
                    <a16:rowId xmlns:a16="http://schemas.microsoft.com/office/drawing/2014/main" val="790489203"/>
                  </a:ext>
                </a:extLst>
              </a:tr>
              <a:tr h="588036">
                <a:tc>
                  <a:txBody>
                    <a:bodyPr/>
                    <a:lstStyle>
                      <a:lvl1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1pPr>
                      <a:lvl2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2pPr>
                      <a:lvl3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3pPr>
                      <a:lvl4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4pPr>
                      <a:lvl5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5pPr>
                      <a:lvl6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6pPr>
                      <a:lvl7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7pPr>
                      <a:lvl8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8pPr>
                      <a:lvl9pPr marL="0" marR="0" indent="0" algn="l" defTabSz="1097280" rtl="0" latinLnBrk="0">
                        <a:lnSpc>
                          <a:spcPct val="100000"/>
                        </a:lnSpc>
                        <a:spcBef>
                          <a:spcPts val="0"/>
                        </a:spcBef>
                        <a:spcAft>
                          <a:spcPts val="0"/>
                        </a:spcAft>
                        <a:buClrTx/>
                        <a:buSzTx/>
                        <a:buFontTx/>
                        <a:buNone/>
                        <a:tabLst/>
                        <a:defRPr sz="1440" b="1" i="0" u="none" strike="noStrike" cap="none" spc="0" baseline="0">
                          <a:ln>
                            <a:noFill/>
                          </a:ln>
                          <a:solidFill>
                            <a:schemeClr val="tx1"/>
                          </a:solidFill>
                          <a:uFillTx/>
                          <a:latin typeface="IBM Plex Sans Light"/>
                          <a:sym typeface="Arial"/>
                        </a:defRPr>
                      </a:lvl9pPr>
                    </a:lstStyle>
                    <a:p>
                      <a:pPr marL="0" marR="0" lvl="0" indent="0" algn="l" rtl="0" eaLnBrk="1" fontAlgn="base" latinLnBrk="0" hangingPunct="1">
                        <a:lnSpc>
                          <a:spcPct val="100000"/>
                        </a:lnSpc>
                        <a:spcBef>
                          <a:spcPct val="0"/>
                        </a:spcBef>
                        <a:spcAft>
                          <a:spcPct val="0"/>
                        </a:spcAft>
                        <a:buClrTx/>
                        <a:buSzTx/>
                        <a:buFontTx/>
                        <a:buNone/>
                      </a:pPr>
                      <a:r>
                        <a:rPr kumimoji="0" lang="en-US" altLang="en-US" sz="2000" b="0" i="0" u="none" strike="noStrike" cap="none" normalizeH="0" baseline="0" dirty="0">
                          <a:ln>
                            <a:noFill/>
                          </a:ln>
                          <a:solidFill>
                            <a:sysClr val="windowText" lastClr="000000"/>
                          </a:solidFill>
                          <a:effectLst/>
                          <a:latin typeface="+mn-lt"/>
                          <a:cs typeface="Arial" panose="020B0604020202020204" pitchFamily="34" charset="0"/>
                        </a:rPr>
                        <a:t>Documentar en Service Now presentación comité</a:t>
                      </a:r>
                    </a:p>
                  </a:txBody>
                  <a:tcPr marL="108000" marR="72000" marT="93600" marB="93600" anchor="ctr" horzOverflow="overflow"/>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A/R</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C</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C</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extLst>
                  <a:ext uri="{0D108BD9-81ED-4DB2-BD59-A6C34878D82A}">
                    <a16:rowId xmlns:a16="http://schemas.microsoft.com/office/drawing/2014/main" val="1570785459"/>
                  </a:ext>
                </a:extLst>
              </a:tr>
              <a:tr h="588036">
                <a:tc>
                  <a:txBody>
                    <a:bodyPr/>
                    <a:lstStyle/>
                    <a:p>
                      <a:pPr marL="0" marR="0" lvl="0" indent="0" algn="l" rtl="0" eaLnBrk="1" fontAlgn="base" latinLnBrk="0" hangingPunct="1">
                        <a:lnSpc>
                          <a:spcPct val="100000"/>
                        </a:lnSpc>
                        <a:spcBef>
                          <a:spcPct val="0"/>
                        </a:spcBef>
                        <a:spcAft>
                          <a:spcPct val="0"/>
                        </a:spcAft>
                        <a:buClrTx/>
                        <a:buSzTx/>
                        <a:buFontTx/>
                        <a:buNone/>
                      </a:pPr>
                      <a:r>
                        <a:rPr kumimoji="0" lang="en-US" altLang="en-US" sz="2000" b="0" i="0" u="none" strike="noStrike" cap="none" normalizeH="0" baseline="0" dirty="0">
                          <a:ln>
                            <a:noFill/>
                          </a:ln>
                          <a:solidFill>
                            <a:sysClr val="windowText" lastClr="000000"/>
                          </a:solidFill>
                          <a:effectLst/>
                          <a:latin typeface="+mn-lt"/>
                          <a:cs typeface="Arial" panose="020B0604020202020204" pitchFamily="34" charset="0"/>
                        </a:rPr>
                        <a:t>Revisar las dependencias y orden de despliegue</a:t>
                      </a:r>
                    </a:p>
                  </a:txBody>
                  <a:tcPr marL="108000" marR="72000" marT="93600" marB="93600" anchor="ctr" horzOverflow="overflow"/>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A/R</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C</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extLst>
                  <a:ext uri="{0D108BD9-81ED-4DB2-BD59-A6C34878D82A}">
                    <a16:rowId xmlns:a16="http://schemas.microsoft.com/office/drawing/2014/main" val="4209250993"/>
                  </a:ext>
                </a:extLst>
              </a:tr>
              <a:tr h="588036">
                <a:tc>
                  <a:txBody>
                    <a:bodyPr/>
                    <a:lstStyle/>
                    <a:p>
                      <a:pPr marL="0" marR="0" lvl="0" indent="0" algn="l" rtl="0" eaLnBrk="1" fontAlgn="base" latinLnBrk="0" hangingPunct="1">
                        <a:lnSpc>
                          <a:spcPct val="100000"/>
                        </a:lnSpc>
                        <a:spcBef>
                          <a:spcPct val="0"/>
                        </a:spcBef>
                        <a:spcAft>
                          <a:spcPct val="0"/>
                        </a:spcAft>
                        <a:buClrTx/>
                        <a:buSzTx/>
                        <a:buFontTx/>
                        <a:buNone/>
                      </a:pPr>
                      <a:r>
                        <a:rPr kumimoji="0" lang="en-US" altLang="en-US" sz="2000" b="0" i="0" u="none" strike="noStrike" cap="none" normalizeH="0" baseline="0" dirty="0">
                          <a:ln>
                            <a:noFill/>
                          </a:ln>
                          <a:solidFill>
                            <a:sysClr val="windowText" lastClr="000000"/>
                          </a:solidFill>
                          <a:effectLst/>
                          <a:latin typeface="+mn-lt"/>
                          <a:cs typeface="Arial" panose="020B0604020202020204" pitchFamily="34" charset="0"/>
                        </a:rPr>
                        <a:t>Despliegue dependencias On-premise (Producción oculto)</a:t>
                      </a:r>
                    </a:p>
                  </a:txBody>
                  <a:tcPr marL="108000" marR="72000" marT="93600" marB="93600" anchor="ctr" horzOverflow="overflow"/>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I</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A/R</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extLst>
                  <a:ext uri="{0D108BD9-81ED-4DB2-BD59-A6C34878D82A}">
                    <a16:rowId xmlns:a16="http://schemas.microsoft.com/office/drawing/2014/main" val="380116964"/>
                  </a:ext>
                </a:extLst>
              </a:tr>
              <a:tr h="588036">
                <a:tc>
                  <a:txBody>
                    <a:bodyPr/>
                    <a:lstStyle/>
                    <a:p>
                      <a:r>
                        <a:rPr lang="es-ES" sz="2000" b="0" i="0" u="none" strike="noStrike" kern="1200" cap="none" spc="0" normalizeH="0" baseline="0" dirty="0">
                          <a:ln>
                            <a:noFill/>
                          </a:ln>
                          <a:solidFill>
                            <a:srgbClr val="000000"/>
                          </a:solidFill>
                          <a:effectLst/>
                          <a:uFillTx/>
                          <a:latin typeface="Arial" panose="020B0604020202020204" pitchFamily="34" charset="0"/>
                          <a:ea typeface="+mn-ea"/>
                          <a:cs typeface="Arial" panose="020B0604020202020204" pitchFamily="34" charset="0"/>
                        </a:rPr>
                        <a:t>Despliegue en Entorno de Producción oculto</a:t>
                      </a:r>
                    </a:p>
                  </a:txBody>
                  <a:tcPr marL="108000" marR="72000" marT="93600" marB="93600" anchor="ctr" horzOverflow="overflow"/>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A/R</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C</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extLst>
                  <a:ext uri="{0D108BD9-81ED-4DB2-BD59-A6C34878D82A}">
                    <a16:rowId xmlns:a16="http://schemas.microsoft.com/office/drawing/2014/main" val="448729602"/>
                  </a:ext>
                </a:extLst>
              </a:tr>
              <a:tr h="588036">
                <a:tc>
                  <a:txBody>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altLang="en-US" sz="2000" b="0" i="0" u="none" strike="noStrike" cap="none" normalizeH="0" baseline="0" dirty="0">
                          <a:ln>
                            <a:noFill/>
                          </a:ln>
                          <a:solidFill>
                            <a:sysClr val="windowText" lastClr="000000"/>
                          </a:solidFill>
                          <a:effectLst/>
                          <a:latin typeface="+mn-lt"/>
                          <a:cs typeface="Arial"/>
                        </a:rPr>
                        <a:t>Ejecución de pruebas funcionales manuales en Producción Oculto</a:t>
                      </a:r>
                    </a:p>
                  </a:txBody>
                  <a:tcPr marL="108000" marR="72000" marT="93600" marB="93600" anchor="ctr" horzOverflow="overflow"/>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C</a:t>
                      </a: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R</a:t>
                      </a: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I</a:t>
                      </a: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A/R</a:t>
                      </a: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I</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extLst>
                  <a:ext uri="{0D108BD9-81ED-4DB2-BD59-A6C34878D82A}">
                    <a16:rowId xmlns:a16="http://schemas.microsoft.com/office/drawing/2014/main" val="2323056452"/>
                  </a:ext>
                </a:extLst>
              </a:tr>
              <a:tr h="588036">
                <a:tc>
                  <a:txBody>
                    <a:bodyPr/>
                    <a:lstStyle/>
                    <a:p>
                      <a:r>
                        <a:rPr lang="es-ES" sz="2000" b="0" i="0" u="none" strike="noStrike" kern="1200" cap="none" spc="0" normalizeH="0" baseline="0" dirty="0">
                          <a:ln>
                            <a:noFill/>
                          </a:ln>
                          <a:solidFill>
                            <a:srgbClr val="000000"/>
                          </a:solidFill>
                          <a:effectLst/>
                          <a:uFillTx/>
                          <a:latin typeface="Arial" panose="020B0604020202020204" pitchFamily="34" charset="0"/>
                          <a:ea typeface="+mn-ea"/>
                          <a:cs typeface="Arial" panose="020B0604020202020204" pitchFamily="34" charset="0"/>
                        </a:rPr>
                        <a:t>Declarar ventana de despliegue On-Premise</a:t>
                      </a:r>
                    </a:p>
                  </a:txBody>
                  <a:tcPr marL="108000" marR="72000" marT="93600" marB="93600" anchor="ctr" horzOverflow="overflow"/>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I</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A/R</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C</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extLst>
                  <a:ext uri="{0D108BD9-81ED-4DB2-BD59-A6C34878D82A}">
                    <a16:rowId xmlns:a16="http://schemas.microsoft.com/office/drawing/2014/main" val="3800592721"/>
                  </a:ext>
                </a:extLst>
              </a:tr>
              <a:tr h="588036">
                <a:tc>
                  <a:txBody>
                    <a:bodyPr/>
                    <a:lstStyle/>
                    <a:p>
                      <a:r>
                        <a:rPr lang="es-ES" sz="2000" b="0" i="0" u="none" strike="noStrike" kern="1200" cap="none" spc="0" normalizeH="0" baseline="0" dirty="0">
                          <a:ln>
                            <a:noFill/>
                          </a:ln>
                          <a:solidFill>
                            <a:srgbClr val="000000"/>
                          </a:solidFill>
                          <a:effectLst/>
                          <a:uFillTx/>
                          <a:latin typeface="Arial" panose="020B0604020202020204" pitchFamily="34" charset="0"/>
                          <a:ea typeface="+mn-ea"/>
                          <a:cs typeface="Arial" panose="020B0604020202020204" pitchFamily="34" charset="0"/>
                        </a:rPr>
                        <a:t>Presentar aplicativo a comité (CAB)</a:t>
                      </a:r>
                    </a:p>
                  </a:txBody>
                  <a:tcPr marL="108000" marR="72000" marT="93600" marB="93600" anchor="ctr" horzOverflow="overflow"/>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I</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I</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A/R</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extLst>
                  <a:ext uri="{0D108BD9-81ED-4DB2-BD59-A6C34878D82A}">
                    <a16:rowId xmlns:a16="http://schemas.microsoft.com/office/drawing/2014/main" val="4083819196"/>
                  </a:ext>
                </a:extLst>
              </a:tr>
              <a:tr h="588036">
                <a:tc>
                  <a:txBody>
                    <a:bodyPr/>
                    <a:lstStyle/>
                    <a:p>
                      <a:pPr marL="0" marR="0" lvl="0" indent="0" algn="l" defTabSz="1828800" rtl="0" eaLnBrk="1" fontAlgn="base" latinLnBrk="0" hangingPunct="1">
                        <a:lnSpc>
                          <a:spcPct val="100000"/>
                        </a:lnSpc>
                        <a:spcBef>
                          <a:spcPct val="0"/>
                        </a:spcBef>
                        <a:spcAft>
                          <a:spcPct val="0"/>
                        </a:spcAft>
                        <a:buClrTx/>
                        <a:buSzTx/>
                        <a:buFontTx/>
                        <a:buNone/>
                        <a:tabLst/>
                        <a:defRPr/>
                      </a:pPr>
                      <a:r>
                        <a:rPr kumimoji="0" lang="en-US" altLang="en-US" sz="2000" b="0" i="0" u="none" strike="noStrike" cap="none" normalizeH="0" baseline="0" dirty="0">
                          <a:ln>
                            <a:noFill/>
                          </a:ln>
                          <a:solidFill>
                            <a:sysClr val="windowText" lastClr="000000"/>
                          </a:solidFill>
                          <a:effectLst/>
                          <a:latin typeface="+mn-lt"/>
                          <a:cs typeface="Arial" panose="020B0604020202020204" pitchFamily="34" charset="0"/>
                        </a:rPr>
                        <a:t>Configuraciones del aplicativo en la pipeline (Producción final)</a:t>
                      </a:r>
                    </a:p>
                  </a:txBody>
                  <a:tcPr marL="108000" marR="72000" marT="93600" marB="93600" anchor="ctr" horzOverflow="overflow"/>
                </a:tc>
                <a:tc>
                  <a:txBody>
                    <a:bodyPr/>
                    <a:lstStyle/>
                    <a:p>
                      <a:pPr marL="0" marR="0" lvl="0" indent="0" algn="ctr" defTabSz="1828800" rtl="0" eaLnBrk="1" fontAlgn="ctr" latinLnBrk="0" hangingPunct="1">
                        <a:lnSpc>
                          <a:spcPct val="100000"/>
                        </a:lnSpc>
                        <a:spcBef>
                          <a:spcPts val="0"/>
                        </a:spcBef>
                        <a:spcAft>
                          <a:spcPts val="0"/>
                        </a:spcAft>
                        <a:buClrTx/>
                        <a:buSzTx/>
                        <a:buFontTx/>
                        <a:buNone/>
                        <a:tabLst/>
                        <a:defRPr/>
                      </a:pPr>
                      <a:r>
                        <a:rPr lang="es-ES" sz="1600" b="0" i="0" u="none" strike="noStrike" kern="1200" dirty="0">
                          <a:solidFill>
                            <a:schemeClr val="tx1"/>
                          </a:solidFill>
                          <a:effectLst/>
                          <a:latin typeface="Arial" panose="020B0604020202020204" pitchFamily="34" charset="0"/>
                          <a:ea typeface="+mn-ea"/>
                          <a:cs typeface="+mn-cs"/>
                        </a:rPr>
                        <a:t>I</a:t>
                      </a:r>
                    </a:p>
                  </a:txBody>
                  <a:tcPr marL="9525" marR="9525" marT="9525" marB="0" anchor="ctr"/>
                </a:tc>
                <a:tc>
                  <a:txBody>
                    <a:bodyPr/>
                    <a:lstStyle/>
                    <a:p>
                      <a:pPr marL="0" marR="0" lvl="0" indent="0" algn="ctr" defTabSz="1828800" rtl="0" eaLnBrk="1" fontAlgn="ctr" latinLnBrk="0" hangingPunct="1">
                        <a:lnSpc>
                          <a:spcPct val="100000"/>
                        </a:lnSpc>
                        <a:spcBef>
                          <a:spcPts val="0"/>
                        </a:spcBef>
                        <a:spcAft>
                          <a:spcPts val="0"/>
                        </a:spcAft>
                        <a:buClrTx/>
                        <a:buSzTx/>
                        <a:buFontTx/>
                        <a:buNone/>
                        <a:tabLst/>
                        <a:defRPr/>
                      </a:pPr>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A/R</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b"/>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b"/>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b"/>
                </a:tc>
                <a:extLst>
                  <a:ext uri="{0D108BD9-81ED-4DB2-BD59-A6C34878D82A}">
                    <a16:rowId xmlns:a16="http://schemas.microsoft.com/office/drawing/2014/main" val="2714993342"/>
                  </a:ext>
                </a:extLst>
              </a:tr>
              <a:tr h="588036">
                <a:tc>
                  <a:txBody>
                    <a:bodyPr/>
                    <a:lstStyle/>
                    <a:p>
                      <a:pPr marL="0" marR="0" lvl="0" indent="0" algn="l" defTabSz="1828800" rtl="0" eaLnBrk="1" fontAlgn="base" latinLnBrk="0" hangingPunct="1">
                        <a:lnSpc>
                          <a:spcPct val="100000"/>
                        </a:lnSpc>
                        <a:spcBef>
                          <a:spcPct val="0"/>
                        </a:spcBef>
                        <a:spcAft>
                          <a:spcPct val="0"/>
                        </a:spcAft>
                        <a:buClrTx/>
                        <a:buSzTx/>
                        <a:buFontTx/>
                        <a:buNone/>
                        <a:tabLst/>
                        <a:defRPr/>
                      </a:pPr>
                      <a:r>
                        <a:rPr kumimoji="0" lang="en-US" altLang="en-US" sz="2000" b="0" i="0" u="none" strike="noStrike" cap="none" normalizeH="0" baseline="0" dirty="0">
                          <a:ln>
                            <a:noFill/>
                          </a:ln>
                          <a:solidFill>
                            <a:sysClr val="windowText" lastClr="000000"/>
                          </a:solidFill>
                          <a:effectLst/>
                          <a:latin typeface="+mn-lt"/>
                          <a:cs typeface="Arial" panose="020B0604020202020204" pitchFamily="34" charset="0"/>
                        </a:rPr>
                        <a:t>Despliegue dependencias On-premise (Producción final)</a:t>
                      </a:r>
                    </a:p>
                  </a:txBody>
                  <a:tcPr marL="108000" marR="72000" marT="93600" marB="93600" anchor="ctr" horzOverflow="overflow"/>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I</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A/R</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b"/>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extLst>
                  <a:ext uri="{0D108BD9-81ED-4DB2-BD59-A6C34878D82A}">
                    <a16:rowId xmlns:a16="http://schemas.microsoft.com/office/drawing/2014/main" val="147715488"/>
                  </a:ext>
                </a:extLst>
              </a:tr>
              <a:tr h="588036">
                <a:tc>
                  <a:txBody>
                    <a:bodyPr/>
                    <a:lstStyle/>
                    <a:p>
                      <a:pPr marL="0" marR="0" lvl="0" indent="0" algn="l" defTabSz="1828800" rtl="0" eaLnBrk="1" fontAlgn="base" latinLnBrk="0" hangingPunct="1">
                        <a:lnSpc>
                          <a:spcPct val="100000"/>
                        </a:lnSpc>
                        <a:spcBef>
                          <a:spcPct val="0"/>
                        </a:spcBef>
                        <a:spcAft>
                          <a:spcPct val="0"/>
                        </a:spcAft>
                        <a:buClrTx/>
                        <a:buSzTx/>
                        <a:buFontTx/>
                        <a:buNone/>
                        <a:tabLst/>
                        <a:defRPr/>
                      </a:pPr>
                      <a:r>
                        <a:rPr kumimoji="0" lang="en-US" altLang="en-US" sz="2000" b="0" i="0" u="none" strike="noStrike" cap="none" normalizeH="0" baseline="0" dirty="0">
                          <a:ln>
                            <a:noFill/>
                          </a:ln>
                          <a:solidFill>
                            <a:sysClr val="windowText" lastClr="000000"/>
                          </a:solidFill>
                          <a:effectLst/>
                          <a:latin typeface="+mn-lt"/>
                          <a:cs typeface="Arial"/>
                        </a:rPr>
                        <a:t>Ejecución de pruebas rendimiento manuales en Producción Final</a:t>
                      </a:r>
                    </a:p>
                  </a:txBody>
                  <a:tcPr marL="108000" marR="72000" marT="93600" marB="93600" anchor="ctr" horzOverflow="overflow"/>
                </a:tc>
                <a:tc>
                  <a:txBody>
                    <a:bodyPr/>
                    <a:lstStyle/>
                    <a:p>
                      <a:pPr marL="0" marR="0" lvl="0" indent="0" algn="ctr" defTabSz="1828800" rtl="0" eaLnBrk="1" fontAlgn="ctr" latinLnBrk="0" hangingPunct="1">
                        <a:lnSpc>
                          <a:spcPct val="100000"/>
                        </a:lnSpc>
                        <a:spcBef>
                          <a:spcPts val="0"/>
                        </a:spcBef>
                        <a:spcAft>
                          <a:spcPts val="0"/>
                        </a:spcAft>
                        <a:buClrTx/>
                        <a:buSzTx/>
                        <a:buFontTx/>
                        <a:buNone/>
                        <a:tabLst/>
                        <a:defRPr/>
                      </a:pPr>
                      <a:r>
                        <a:rPr lang="es-ES" sz="1600" b="0" i="0" u="none" strike="noStrike" kern="1200" dirty="0">
                          <a:solidFill>
                            <a:schemeClr val="tx1"/>
                          </a:solidFill>
                          <a:effectLst/>
                          <a:latin typeface="Arial" panose="020B0604020202020204" pitchFamily="34" charset="0"/>
                          <a:ea typeface="+mn-ea"/>
                          <a:cs typeface="+mn-cs"/>
                        </a:rPr>
                        <a:t>I</a:t>
                      </a:r>
                    </a:p>
                  </a:txBody>
                  <a:tcPr marL="9525" marR="9525" marT="9525" marB="0" anchor="ctr"/>
                </a:tc>
                <a:tc>
                  <a:txBody>
                    <a:bodyPr/>
                    <a:lstStyle/>
                    <a:p>
                      <a:pPr marL="0" marR="0" lvl="0" indent="0" algn="ctr" defTabSz="1828800" rtl="0" eaLnBrk="1" fontAlgn="ctr" latinLnBrk="0" hangingPunct="1">
                        <a:lnSpc>
                          <a:spcPct val="100000"/>
                        </a:lnSpc>
                        <a:spcBef>
                          <a:spcPts val="0"/>
                        </a:spcBef>
                        <a:spcAft>
                          <a:spcPts val="0"/>
                        </a:spcAft>
                        <a:buClrTx/>
                        <a:buSzTx/>
                        <a:buFontTx/>
                        <a:buNone/>
                        <a:tabLst/>
                        <a:defRPr/>
                      </a:pPr>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I</a:t>
                      </a: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A/R</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b"/>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R</a:t>
                      </a:r>
                    </a:p>
                  </a:txBody>
                  <a:tcPr marL="9525" marR="9525" marT="9525" marB="0" anchor="ctr"/>
                </a:tc>
                <a:extLst>
                  <a:ext uri="{0D108BD9-81ED-4DB2-BD59-A6C34878D82A}">
                    <a16:rowId xmlns:a16="http://schemas.microsoft.com/office/drawing/2014/main" val="2589663961"/>
                  </a:ext>
                </a:extLst>
              </a:tr>
              <a:tr h="588036">
                <a:tc>
                  <a:txBody>
                    <a:bodyPr/>
                    <a:lstStyle/>
                    <a:p>
                      <a:pPr marL="0" marR="0" lvl="0" indent="0" algn="l" defTabSz="1828800" rtl="0" eaLnBrk="1" fontAlgn="ctr" latinLnBrk="0" hangingPunct="1">
                        <a:lnSpc>
                          <a:spcPct val="100000"/>
                        </a:lnSpc>
                        <a:spcBef>
                          <a:spcPct val="0"/>
                        </a:spcBef>
                        <a:spcAft>
                          <a:spcPct val="0"/>
                        </a:spcAft>
                        <a:buClrTx/>
                        <a:buSzTx/>
                        <a:buFontTx/>
                        <a:buNone/>
                      </a:pPr>
                      <a:r>
                        <a:rPr lang="en-US" altLang="en-US" sz="2000" b="0" i="0" u="none" strike="noStrike" kern="1200" cap="none" spc="0" normalizeH="0" baseline="0" dirty="0">
                          <a:ln>
                            <a:noFill/>
                          </a:ln>
                          <a:solidFill>
                            <a:srgbClr val="000000"/>
                          </a:solidFill>
                          <a:effectLst/>
                          <a:uFillTx/>
                          <a:latin typeface="Arial" panose="020B0604020202020204" pitchFamily="34" charset="0"/>
                          <a:ea typeface="+mn-ea"/>
                          <a:cs typeface="Arial" panose="020B0604020202020204" pitchFamily="34" charset="0"/>
                        </a:rPr>
                        <a:t>Realizar Switch de entornos de Producción</a:t>
                      </a:r>
                    </a:p>
                  </a:txBody>
                  <a:tcPr marL="108000" marR="72000" marT="93600" marB="93600" anchor="ctr" horzOverflow="overflow"/>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I</a:t>
                      </a: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I</a:t>
                      </a: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A/R</a:t>
                      </a: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I</a:t>
                      </a: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C</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b"/>
                </a:tc>
                <a:extLst>
                  <a:ext uri="{0D108BD9-81ED-4DB2-BD59-A6C34878D82A}">
                    <a16:rowId xmlns:a16="http://schemas.microsoft.com/office/drawing/2014/main" val="2194775341"/>
                  </a:ext>
                </a:extLst>
              </a:tr>
              <a:tr h="588036">
                <a:tc>
                  <a:txBody>
                    <a:bodyPr/>
                    <a:lstStyle>
                      <a:lvl1pPr marL="0" marR="0" indent="0" algn="l" defTabSz="1097280" rtl="0" latinLnBrk="0">
                        <a:lnSpc>
                          <a:spcPct val="100000"/>
                        </a:lnSpc>
                        <a:spcBef>
                          <a:spcPct val="40000"/>
                        </a:spcBef>
                        <a:spcAft>
                          <a:spcPts val="0"/>
                        </a:spcAft>
                        <a:buClrTx/>
                        <a:buSzTx/>
                        <a:buFont typeface="Wingdings" panose="05000000000000000000" pitchFamily="2" charset="2"/>
                        <a:buNone/>
                        <a:tabLst/>
                        <a:defRPr sz="16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1pPr>
                      <a:lvl2pPr marL="742950" marR="0" indent="-285750" algn="l" defTabSz="1097280" rtl="0" latinLnBrk="0">
                        <a:lnSpc>
                          <a:spcPct val="100000"/>
                        </a:lnSpc>
                        <a:spcBef>
                          <a:spcPct val="40000"/>
                        </a:spcBef>
                        <a:spcAft>
                          <a:spcPts val="0"/>
                        </a:spcAft>
                        <a:buClrTx/>
                        <a:buSzTx/>
                        <a:buFont typeface="Arial" panose="020B0604020202020204" pitchFamily="34" charset="0"/>
                        <a:buNone/>
                        <a:tabLst/>
                        <a:defRPr sz="14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2pPr>
                      <a:lvl3pPr marL="1143000" marR="0" indent="-228600" algn="l" defTabSz="1097280" rtl="0" latinLnBrk="0">
                        <a:lnSpc>
                          <a:spcPct val="100000"/>
                        </a:lnSpc>
                        <a:spcBef>
                          <a:spcPct val="40000"/>
                        </a:spcBef>
                        <a:spcAft>
                          <a:spcPts val="0"/>
                        </a:spcAft>
                        <a:buClrTx/>
                        <a:buSzTx/>
                        <a:buFontTx/>
                        <a:buNone/>
                        <a:tabLst/>
                        <a:defRPr sz="14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3pPr>
                      <a:lvl4pPr marL="1600200" marR="0" indent="-228600" algn="l" defTabSz="1097280" rtl="0" latinLnBrk="0">
                        <a:lnSpc>
                          <a:spcPct val="100000"/>
                        </a:lnSpc>
                        <a:spcBef>
                          <a:spcPct val="40000"/>
                        </a:spcBef>
                        <a:spcAft>
                          <a:spcPts val="0"/>
                        </a:spcAft>
                        <a:buClrTx/>
                        <a:buSzTx/>
                        <a:buFont typeface="Arial" panose="020B0604020202020204" pitchFamily="34" charset="0"/>
                        <a:buNone/>
                        <a:tabLst/>
                        <a:defRPr sz="14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4pPr>
                      <a:lvl5pPr marL="2057400" marR="0" indent="-228600" algn="l" defTabSz="1097280" rtl="0" latinLnBrk="0">
                        <a:lnSpc>
                          <a:spcPct val="100000"/>
                        </a:lnSpc>
                        <a:spcBef>
                          <a:spcPct val="40000"/>
                        </a:spcBef>
                        <a:spcAft>
                          <a:spcPts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5pPr>
                      <a:lvl6pPr marL="25146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6pPr>
                      <a:lvl7pPr marL="29718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7pPr>
                      <a:lvl8pPr marL="34290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8pPr>
                      <a:lvl9pPr marL="38862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9pPr>
                    </a:lstStyle>
                    <a:p>
                      <a:pPr marL="0" marR="0" lvl="0" indent="0" algn="l" rtl="0" eaLnBrk="1" fontAlgn="base" latinLnBrk="0" hangingPunct="1">
                        <a:lnSpc>
                          <a:spcPct val="100000"/>
                        </a:lnSpc>
                        <a:spcBef>
                          <a:spcPct val="0"/>
                        </a:spcBef>
                        <a:spcAft>
                          <a:spcPct val="0"/>
                        </a:spcAft>
                        <a:buClrTx/>
                        <a:buSzTx/>
                        <a:buFontTx/>
                        <a:buNone/>
                      </a:pPr>
                      <a:r>
                        <a:rPr kumimoji="0" lang="en-US" altLang="en-US" sz="2000" b="0" i="0" u="none" strike="noStrike" cap="none" normalizeH="0" baseline="0" dirty="0">
                          <a:ln>
                            <a:noFill/>
                          </a:ln>
                          <a:solidFill>
                            <a:sysClr val="windowText" lastClr="000000"/>
                          </a:solidFill>
                          <a:effectLst/>
                          <a:latin typeface="+mn-lt"/>
                          <a:cs typeface="Arial"/>
                        </a:rPr>
                        <a:t>Ejecución de pruebas funcionales manuales en Producción Final</a:t>
                      </a:r>
                    </a:p>
                  </a:txBody>
                  <a:tcPr marL="108000" marR="72000" marT="93600" marB="93600" anchor="ctr" horzOverflow="overflow"/>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C</a:t>
                      </a: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R</a:t>
                      </a: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I</a:t>
                      </a: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A/R</a:t>
                      </a: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I</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extLst>
                  <a:ext uri="{0D108BD9-81ED-4DB2-BD59-A6C34878D82A}">
                    <a16:rowId xmlns:a16="http://schemas.microsoft.com/office/drawing/2014/main" val="1166545635"/>
                  </a:ext>
                </a:extLst>
              </a:tr>
              <a:tr h="588036">
                <a:tc>
                  <a:txBody>
                    <a:bodyPr/>
                    <a:lstStyle>
                      <a:lvl1pPr marL="0" marR="0" indent="0" algn="l" defTabSz="1097280" rtl="0" latinLnBrk="0">
                        <a:lnSpc>
                          <a:spcPct val="100000"/>
                        </a:lnSpc>
                        <a:spcBef>
                          <a:spcPct val="40000"/>
                        </a:spcBef>
                        <a:spcAft>
                          <a:spcPts val="0"/>
                        </a:spcAft>
                        <a:buClrTx/>
                        <a:buSzTx/>
                        <a:buFont typeface="Wingdings" panose="05000000000000000000" pitchFamily="2" charset="2"/>
                        <a:buNone/>
                        <a:tabLst/>
                        <a:defRPr sz="16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1pPr>
                      <a:lvl2pPr marL="742950" marR="0" indent="-285750" algn="l" defTabSz="1097280" rtl="0" latinLnBrk="0">
                        <a:lnSpc>
                          <a:spcPct val="100000"/>
                        </a:lnSpc>
                        <a:spcBef>
                          <a:spcPct val="40000"/>
                        </a:spcBef>
                        <a:spcAft>
                          <a:spcPts val="0"/>
                        </a:spcAft>
                        <a:buClrTx/>
                        <a:buSzTx/>
                        <a:buFont typeface="Arial" panose="020B0604020202020204" pitchFamily="34" charset="0"/>
                        <a:buNone/>
                        <a:tabLst/>
                        <a:defRPr sz="14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2pPr>
                      <a:lvl3pPr marL="1143000" marR="0" indent="-228600" algn="l" defTabSz="1097280" rtl="0" latinLnBrk="0">
                        <a:lnSpc>
                          <a:spcPct val="100000"/>
                        </a:lnSpc>
                        <a:spcBef>
                          <a:spcPct val="40000"/>
                        </a:spcBef>
                        <a:spcAft>
                          <a:spcPts val="0"/>
                        </a:spcAft>
                        <a:buClrTx/>
                        <a:buSzTx/>
                        <a:buFontTx/>
                        <a:buNone/>
                        <a:tabLst/>
                        <a:defRPr sz="14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3pPr>
                      <a:lvl4pPr marL="1600200" marR="0" indent="-228600" algn="l" defTabSz="1097280" rtl="0" latinLnBrk="0">
                        <a:lnSpc>
                          <a:spcPct val="100000"/>
                        </a:lnSpc>
                        <a:spcBef>
                          <a:spcPct val="40000"/>
                        </a:spcBef>
                        <a:spcAft>
                          <a:spcPts val="0"/>
                        </a:spcAft>
                        <a:buClrTx/>
                        <a:buSzTx/>
                        <a:buFont typeface="Arial" panose="020B0604020202020204" pitchFamily="34" charset="0"/>
                        <a:buNone/>
                        <a:tabLst/>
                        <a:defRPr sz="14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4pPr>
                      <a:lvl5pPr marL="2057400" marR="0" indent="-228600" algn="l" defTabSz="1097280" rtl="0" latinLnBrk="0">
                        <a:lnSpc>
                          <a:spcPct val="100000"/>
                        </a:lnSpc>
                        <a:spcBef>
                          <a:spcPct val="40000"/>
                        </a:spcBef>
                        <a:spcAft>
                          <a:spcPts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5pPr>
                      <a:lvl6pPr marL="25146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6pPr>
                      <a:lvl7pPr marL="29718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7pPr>
                      <a:lvl8pPr marL="34290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8pPr>
                      <a:lvl9pPr marL="3886200" marR="0" indent="-228600" algn="l" defTabSz="1097280" rtl="0" eaLnBrk="0" fontAlgn="base" latinLnBrk="0" hangingPunct="0">
                        <a:lnSpc>
                          <a:spcPct val="100000"/>
                        </a:lnSpc>
                        <a:spcBef>
                          <a:spcPct val="40000"/>
                        </a:spcBef>
                        <a:spcAft>
                          <a:spcPct val="0"/>
                        </a:spcAft>
                        <a:buClrTx/>
                        <a:buSzTx/>
                        <a:buFont typeface="Arial" panose="020B0604020202020204" pitchFamily="34" charset="0"/>
                        <a:buNone/>
                        <a:tabLst/>
                        <a:defRPr sz="1200" b="1" i="0" u="none" strike="noStrike" cap="none" spc="0" baseline="0">
                          <a:ln>
                            <a:noFill/>
                          </a:ln>
                          <a:solidFill>
                            <a:schemeClr val="tx1"/>
                          </a:solidFill>
                          <a:uFillTx/>
                          <a:latin typeface="Arial" panose="020B0604020202020204" pitchFamily="34" charset="0"/>
                          <a:cs typeface="Arial" panose="020B0604020202020204" pitchFamily="34" charset="0"/>
                          <a:sym typeface="Arial"/>
                        </a:defRPr>
                      </a:lvl9pPr>
                    </a:lstStyle>
                    <a:p>
                      <a:pPr marL="0" marR="0" lvl="0" indent="0" algn="l" defTabSz="109728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altLang="en-US" sz="2000" b="0" i="0" u="none" strike="noStrike" kern="1200" cap="none" spc="0" normalizeH="0" baseline="0" dirty="0">
                          <a:ln>
                            <a:noFill/>
                          </a:ln>
                          <a:solidFill>
                            <a:srgbClr val="000000"/>
                          </a:solidFill>
                          <a:effectLst/>
                          <a:uFillTx/>
                          <a:latin typeface="Arial" panose="020B0604020202020204" pitchFamily="34" charset="0"/>
                          <a:ea typeface="+mn-ea"/>
                          <a:cs typeface="Arial" panose="020B0604020202020204" pitchFamily="34" charset="0"/>
                          <a:sym typeface="Arial"/>
                        </a:rPr>
                        <a:t>Switch Back del aplicativo</a:t>
                      </a:r>
                    </a:p>
                  </a:txBody>
                  <a:tcPr marL="108000" marR="72000" marT="93600" marB="93600" anchor="ctr" horzOverflow="overflow"/>
                </a:tc>
                <a:tc>
                  <a:txBody>
                    <a:bodyPr/>
                    <a:lstStyle/>
                    <a:p>
                      <a:pPr marL="0" marR="0" lvl="0" indent="0" algn="ctr" defTabSz="1828800" rtl="0" eaLnBrk="1" fontAlgn="ctr" latinLnBrk="0" hangingPunct="1">
                        <a:lnSpc>
                          <a:spcPct val="100000"/>
                        </a:lnSpc>
                        <a:spcBef>
                          <a:spcPts val="0"/>
                        </a:spcBef>
                        <a:spcAft>
                          <a:spcPts val="0"/>
                        </a:spcAft>
                        <a:buClrTx/>
                        <a:buSzTx/>
                        <a:buFontTx/>
                        <a:buNone/>
                        <a:tabLst/>
                        <a:defRPr/>
                      </a:pPr>
                      <a:r>
                        <a:rPr lang="es-ES" sz="1600" b="0" i="0" u="none" strike="noStrike" kern="1200" dirty="0">
                          <a:solidFill>
                            <a:schemeClr val="tx1"/>
                          </a:solidFill>
                          <a:effectLst/>
                          <a:latin typeface="Arial" panose="020B0604020202020204" pitchFamily="34" charset="0"/>
                          <a:ea typeface="+mn-ea"/>
                          <a:cs typeface="+mn-cs"/>
                        </a:rPr>
                        <a:t>I</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marR="0" lvl="0" indent="0" algn="ctr" defTabSz="1828800" rtl="0" eaLnBrk="1" fontAlgn="ctr" latinLnBrk="0" hangingPunct="1">
                        <a:lnSpc>
                          <a:spcPct val="100000"/>
                        </a:lnSpc>
                        <a:spcBef>
                          <a:spcPts val="0"/>
                        </a:spcBef>
                        <a:spcAft>
                          <a:spcPts val="0"/>
                        </a:spcAft>
                        <a:buClrTx/>
                        <a:buSzTx/>
                        <a:buFontTx/>
                        <a:buNone/>
                        <a:tabLst/>
                        <a:defRPr/>
                      </a:pPr>
                      <a:r>
                        <a:rPr lang="es-ES" sz="1600" b="0" i="0" u="none" strike="noStrike" kern="1200" dirty="0">
                          <a:solidFill>
                            <a:schemeClr val="tx1"/>
                          </a:solidFill>
                          <a:effectLst/>
                          <a:latin typeface="Arial" panose="020B0604020202020204" pitchFamily="34" charset="0"/>
                          <a:ea typeface="+mn-ea"/>
                          <a:cs typeface="+mn-cs"/>
                        </a:rPr>
                        <a:t>A/R</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marL="0" algn="ctr" defTabSz="1828800" rtl="0" eaLnBrk="1" fontAlgn="ctr" latinLnBrk="0" hangingPunct="1"/>
                      <a:r>
                        <a:rPr lang="es-ES" sz="1600" b="0" i="0" u="none" strike="noStrike" kern="1200" dirty="0">
                          <a:solidFill>
                            <a:schemeClr val="tx1"/>
                          </a:solidFill>
                          <a:effectLst/>
                          <a:latin typeface="Arial" panose="020B0604020202020204" pitchFamily="34" charset="0"/>
                          <a:ea typeface="+mn-ea"/>
                          <a:cs typeface="+mn-cs"/>
                        </a:rPr>
                        <a:t>C</a:t>
                      </a:r>
                    </a:p>
                  </a:txBody>
                  <a:tcPr marL="9525" marR="9525" marT="9525" marB="0" anchor="ctr"/>
                </a:tc>
                <a:tc>
                  <a:txBody>
                    <a:bodyPr/>
                    <a:lstStyle/>
                    <a:p>
                      <a:pPr marL="0" algn="ctr" defTabSz="1828800" rtl="0" eaLnBrk="1" fontAlgn="ctr" latinLnBrk="0" hangingPunct="1"/>
                      <a:endParaRPr lang="es-ES" sz="1600" b="0" i="0" u="none" strike="noStrike" kern="1200" dirty="0">
                        <a:solidFill>
                          <a:schemeClr val="tx1"/>
                        </a:solidFill>
                        <a:effectLst/>
                        <a:latin typeface="Arial" panose="020B0604020202020204" pitchFamily="34" charset="0"/>
                        <a:ea typeface="+mn-ea"/>
                        <a:cs typeface="+mn-cs"/>
                      </a:endParaRPr>
                    </a:p>
                  </a:txBody>
                  <a:tcPr marL="9525" marR="9525" marT="9525" marB="0" anchor="ctr"/>
                </a:tc>
                <a:extLst>
                  <a:ext uri="{0D108BD9-81ED-4DB2-BD59-A6C34878D82A}">
                    <a16:rowId xmlns:a16="http://schemas.microsoft.com/office/drawing/2014/main" val="3804298921"/>
                  </a:ext>
                </a:extLst>
              </a:tr>
            </a:tbl>
          </a:graphicData>
        </a:graphic>
      </p:graphicFrame>
    </p:spTree>
    <p:extLst>
      <p:ext uri="{BB962C8B-B14F-4D97-AF65-F5344CB8AC3E}">
        <p14:creationId xmlns:p14="http://schemas.microsoft.com/office/powerpoint/2010/main" val="6673084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1AECC4A-54E2-4B48-9F88-ACC3FE88C62A}"/>
              </a:ext>
            </a:extLst>
          </p:cNvPr>
          <p:cNvSpPr txBox="1"/>
          <p:nvPr/>
        </p:nvSpPr>
        <p:spPr>
          <a:xfrm>
            <a:off x="650240" y="541319"/>
            <a:ext cx="22611504" cy="1569660"/>
          </a:xfrm>
          <a:prstGeom prst="rect">
            <a:avLst/>
          </a:prstGeom>
          <a:noFill/>
        </p:spPr>
        <p:txBody>
          <a:bodyPr wrap="square" rtlCol="0" anchor="t">
            <a:spAutoFit/>
          </a:bodyPr>
          <a:lstStyle/>
          <a:p>
            <a:pPr algn="l"/>
            <a:r>
              <a:rPr lang="en-GB" sz="4000" b="1" kern="1200" dirty="0">
                <a:solidFill>
                  <a:srgbClr val="C00000"/>
                </a:solidFill>
                <a:cs typeface="Arial"/>
              </a:rPr>
              <a:t>CI / CD de releases</a:t>
            </a:r>
            <a:r>
              <a:rPr lang="en-US" sz="4000" b="1" kern="1200" dirty="0">
                <a:solidFill>
                  <a:srgbClr val="C00000"/>
                </a:solidFill>
              </a:rPr>
              <a:t>  </a:t>
            </a:r>
            <a:r>
              <a:rPr lang="en-GB" sz="2800" kern="1200" dirty="0">
                <a:solidFill>
                  <a:srgbClr val="C00000"/>
                </a:solidFill>
              </a:rPr>
              <a:t>Despliegue &amp; Empaquetado de Releases</a:t>
            </a:r>
          </a:p>
          <a:p>
            <a:pPr algn="l"/>
            <a:r>
              <a:rPr lang="es-ES" altLang="en-US" sz="2800" kern="1200" dirty="0">
                <a:solidFill>
                  <a:schemeClr val="tx1"/>
                </a:solidFill>
              </a:rPr>
              <a:t>Vista de Procesos</a:t>
            </a:r>
            <a:endParaRPr lang="en-US" altLang="en-US" sz="2800" kern="1200" dirty="0">
              <a:solidFill>
                <a:schemeClr val="tx1"/>
              </a:solidFill>
            </a:endParaRPr>
          </a:p>
          <a:p>
            <a:pPr algn="l"/>
            <a:endParaRPr lang="en-US" altLang="en-US" sz="2800" kern="1200" dirty="0">
              <a:solidFill>
                <a:srgbClr val="C00000"/>
              </a:solidFill>
              <a:latin typeface="IBM Plex Sans"/>
            </a:endParaRPr>
          </a:p>
        </p:txBody>
      </p:sp>
      <p:pic>
        <p:nvPicPr>
          <p:cNvPr id="9" name="New picture">
            <a:extLst>
              <a:ext uri="{FF2B5EF4-FFF2-40B4-BE49-F238E27FC236}">
                <a16:creationId xmlns:a16="http://schemas.microsoft.com/office/drawing/2014/main" id="{7E016C9B-38F7-4A53-939A-F7C0DD2C65EF}"/>
              </a:ext>
            </a:extLst>
          </p:cNvPr>
          <p:cNvPicPr/>
          <p:nvPr/>
        </p:nvPicPr>
        <p:blipFill rotWithShape="1">
          <a:blip r:embed="rId3"/>
          <a:srcRect b="55686"/>
          <a:stretch/>
        </p:blipFill>
        <p:spPr>
          <a:xfrm>
            <a:off x="650240" y="3230653"/>
            <a:ext cx="23210614" cy="6641135"/>
          </a:xfrm>
          <a:prstGeom prst="rect">
            <a:avLst/>
          </a:prstGeom>
        </p:spPr>
      </p:pic>
    </p:spTree>
    <p:extLst>
      <p:ext uri="{BB962C8B-B14F-4D97-AF65-F5344CB8AC3E}">
        <p14:creationId xmlns:p14="http://schemas.microsoft.com/office/powerpoint/2010/main" val="3848171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27">
            <a:extLst>
              <a:ext uri="{FF2B5EF4-FFF2-40B4-BE49-F238E27FC236}">
                <a16:creationId xmlns:a16="http://schemas.microsoft.com/office/drawing/2014/main" id="{B39756F6-8ACD-4876-9791-8B2C1392B1A5}"/>
              </a:ext>
            </a:extLst>
          </p:cNvPr>
          <p:cNvSpPr txBox="1">
            <a:spLocks noChangeArrowheads="1"/>
          </p:cNvSpPr>
          <p:nvPr/>
        </p:nvSpPr>
        <p:spPr bwMode="auto">
          <a:xfrm>
            <a:off x="1140883" y="7935102"/>
            <a:ext cx="1851470" cy="34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a:r>
              <a:rPr lang="en-US" sz="2000" dirty="0">
                <a:solidFill>
                  <a:srgbClr val="C00000"/>
                </a:solidFill>
                <a:cs typeface="Arial" panose="020B0604020202020204" pitchFamily="34" charset="0"/>
              </a:rPr>
              <a:t>Informed</a:t>
            </a: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r>
              <a:rPr lang="en-US" sz="2000" dirty="0">
                <a:solidFill>
                  <a:srgbClr val="C00000"/>
                </a:solidFill>
                <a:cs typeface="Arial" panose="020B0604020202020204" pitchFamily="34" charset="0"/>
              </a:rPr>
              <a:t>Accountable</a:t>
            </a: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r>
              <a:rPr lang="en-US" altLang="en-US" sz="2000" dirty="0">
                <a:solidFill>
                  <a:srgbClr val="C00000"/>
                </a:solidFill>
                <a:cs typeface="Arial" panose="020B0604020202020204" pitchFamily="34" charset="0"/>
              </a:rPr>
              <a:t>Consulted</a:t>
            </a:r>
          </a:p>
        </p:txBody>
      </p:sp>
      <p:pic>
        <p:nvPicPr>
          <p:cNvPr id="5" name="Graphic 6" descr="Handshake">
            <a:extLst>
              <a:ext uri="{FF2B5EF4-FFF2-40B4-BE49-F238E27FC236}">
                <a16:creationId xmlns:a16="http://schemas.microsoft.com/office/drawing/2014/main" id="{A6C39EC4-D085-4D0A-82D0-7068D8F022E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7146" y="10546135"/>
            <a:ext cx="788947" cy="788947"/>
          </a:xfrm>
          <a:prstGeom prst="rect">
            <a:avLst/>
          </a:prstGeom>
        </p:spPr>
      </p:pic>
      <p:pic>
        <p:nvPicPr>
          <p:cNvPr id="6" name="Graphic 26" descr="Research">
            <a:extLst>
              <a:ext uri="{FF2B5EF4-FFF2-40B4-BE49-F238E27FC236}">
                <a16:creationId xmlns:a16="http://schemas.microsoft.com/office/drawing/2014/main" id="{10556F45-81C5-42C0-BEA6-0EAB9F2E696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0876" y="8982625"/>
            <a:ext cx="741219" cy="741219"/>
          </a:xfrm>
          <a:prstGeom prst="rect">
            <a:avLst/>
          </a:prstGeom>
        </p:spPr>
      </p:pic>
      <p:pic>
        <p:nvPicPr>
          <p:cNvPr id="7" name="Graphic 34" descr="Information">
            <a:extLst>
              <a:ext uri="{FF2B5EF4-FFF2-40B4-BE49-F238E27FC236}">
                <a16:creationId xmlns:a16="http://schemas.microsoft.com/office/drawing/2014/main" id="{81CF4022-F252-483E-B2C7-C5ACC37EF95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94255" y="7445529"/>
            <a:ext cx="747097" cy="747097"/>
          </a:xfrm>
          <a:prstGeom prst="rect">
            <a:avLst/>
          </a:prstGeom>
        </p:spPr>
      </p:pic>
      <p:sp>
        <p:nvSpPr>
          <p:cNvPr id="9" name="Rectángulo 8">
            <a:extLst>
              <a:ext uri="{FF2B5EF4-FFF2-40B4-BE49-F238E27FC236}">
                <a16:creationId xmlns:a16="http://schemas.microsoft.com/office/drawing/2014/main" id="{C13A6DCA-C0B5-4A84-BB9D-E6D4C45DE3BF}"/>
              </a:ext>
            </a:extLst>
          </p:cNvPr>
          <p:cNvSpPr/>
          <p:nvPr/>
        </p:nvSpPr>
        <p:spPr>
          <a:xfrm>
            <a:off x="7396998" y="6876299"/>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0" name="CuadroTexto 9">
            <a:extLst>
              <a:ext uri="{FF2B5EF4-FFF2-40B4-BE49-F238E27FC236}">
                <a16:creationId xmlns:a16="http://schemas.microsoft.com/office/drawing/2014/main" id="{28A90464-4A26-4659-9C1A-ECBA52D2FE58}"/>
              </a:ext>
            </a:extLst>
          </p:cNvPr>
          <p:cNvSpPr txBox="1"/>
          <p:nvPr/>
        </p:nvSpPr>
        <p:spPr>
          <a:xfrm>
            <a:off x="7396997" y="6284344"/>
            <a:ext cx="3880600" cy="646331"/>
          </a:xfrm>
          <a:prstGeom prst="rect">
            <a:avLst/>
          </a:prstGeom>
          <a:noFill/>
        </p:spPr>
        <p:txBody>
          <a:bodyPr wrap="square" rtlCol="0">
            <a:spAutoFit/>
          </a:bodyPr>
          <a:lstStyle/>
          <a:p>
            <a:pPr algn="l"/>
            <a:r>
              <a:rPr lang="es-ES" sz="1800" b="1" dirty="0">
                <a:solidFill>
                  <a:srgbClr val="C00000"/>
                </a:solidFill>
              </a:rPr>
              <a:t>Despliegue en entorno de producción oculto</a:t>
            </a:r>
            <a:endParaRPr lang="es-ES" sz="2400" b="1" dirty="0">
              <a:solidFill>
                <a:srgbClr val="C00000"/>
              </a:solidFill>
            </a:endParaRPr>
          </a:p>
        </p:txBody>
      </p:sp>
      <p:sp>
        <p:nvSpPr>
          <p:cNvPr id="11" name="CuadroTexto 10">
            <a:extLst>
              <a:ext uri="{FF2B5EF4-FFF2-40B4-BE49-F238E27FC236}">
                <a16:creationId xmlns:a16="http://schemas.microsoft.com/office/drawing/2014/main" id="{F87C3647-9152-4C18-A7A2-97DC1E0237F0}"/>
              </a:ext>
            </a:extLst>
          </p:cNvPr>
          <p:cNvSpPr txBox="1"/>
          <p:nvPr/>
        </p:nvSpPr>
        <p:spPr>
          <a:xfrm>
            <a:off x="7326775" y="7353970"/>
            <a:ext cx="5654842" cy="3416320"/>
          </a:xfrm>
          <a:prstGeom prst="rect">
            <a:avLst/>
          </a:prstGeom>
          <a:noFill/>
        </p:spPr>
        <p:txBody>
          <a:bodyPr wrap="square" rtlCol="0">
            <a:spAutoFit/>
          </a:bodyPr>
          <a:lstStyle/>
          <a:p>
            <a:pPr algn="l"/>
            <a:endParaRPr lang="en-US" altLang="en-US" sz="2400" dirty="0"/>
          </a:p>
          <a:p>
            <a:pPr algn="l"/>
            <a:endParaRPr lang="en-US" altLang="en-US" sz="2400" dirty="0"/>
          </a:p>
          <a:p>
            <a:pPr algn="l"/>
            <a:endParaRPr lang="en-US" altLang="en-US" sz="2400" dirty="0"/>
          </a:p>
          <a:p>
            <a:pPr algn="l"/>
            <a:endParaRPr lang="en-US" altLang="en-US" sz="2400" dirty="0"/>
          </a:p>
          <a:p>
            <a:pPr algn="l"/>
            <a:r>
              <a:rPr lang="en-US" altLang="en-US" sz="2400" dirty="0"/>
              <a:t>Dominio de Negocio</a:t>
            </a:r>
          </a:p>
          <a:p>
            <a:pPr algn="l"/>
            <a:endParaRPr lang="en-US" altLang="en-US" sz="2400" dirty="0"/>
          </a:p>
          <a:p>
            <a:pPr algn="l"/>
            <a:endParaRPr lang="en-US" altLang="en-US" sz="2400" dirty="0"/>
          </a:p>
          <a:p>
            <a:pPr algn="l"/>
            <a:endParaRPr lang="en-US" altLang="en-US" sz="2400" dirty="0"/>
          </a:p>
          <a:p>
            <a:pPr algn="l"/>
            <a:r>
              <a:rPr lang="en-US" altLang="en-US" sz="2400" dirty="0"/>
              <a:t> Ingeniería (SanTec)</a:t>
            </a:r>
            <a:endParaRPr lang="es-ES" sz="2400" dirty="0"/>
          </a:p>
        </p:txBody>
      </p:sp>
      <p:cxnSp>
        <p:nvCxnSpPr>
          <p:cNvPr id="12" name="Conector recto 11">
            <a:extLst>
              <a:ext uri="{FF2B5EF4-FFF2-40B4-BE49-F238E27FC236}">
                <a16:creationId xmlns:a16="http://schemas.microsoft.com/office/drawing/2014/main" id="{F419A8BB-E9D3-4A26-916C-CF50B95568D7}"/>
              </a:ext>
            </a:extLst>
          </p:cNvPr>
          <p:cNvCxnSpPr>
            <a:cxnSpLocks/>
          </p:cNvCxnSpPr>
          <p:nvPr/>
        </p:nvCxnSpPr>
        <p:spPr>
          <a:xfrm>
            <a:off x="483686" y="8425282"/>
            <a:ext cx="22915389"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13" name="Conector recto 12">
            <a:extLst>
              <a:ext uri="{FF2B5EF4-FFF2-40B4-BE49-F238E27FC236}">
                <a16:creationId xmlns:a16="http://schemas.microsoft.com/office/drawing/2014/main" id="{A2232A32-13D4-4644-9D1C-A1AACDED4F9E}"/>
              </a:ext>
            </a:extLst>
          </p:cNvPr>
          <p:cNvCxnSpPr>
            <a:cxnSpLocks/>
          </p:cNvCxnSpPr>
          <p:nvPr/>
        </p:nvCxnSpPr>
        <p:spPr>
          <a:xfrm>
            <a:off x="483686" y="9867955"/>
            <a:ext cx="22778058"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14" name="Conector recto 13">
            <a:extLst>
              <a:ext uri="{FF2B5EF4-FFF2-40B4-BE49-F238E27FC236}">
                <a16:creationId xmlns:a16="http://schemas.microsoft.com/office/drawing/2014/main" id="{44E782D8-3ACF-4AEB-A1C6-117B5AD55B5B}"/>
              </a:ext>
            </a:extLst>
          </p:cNvPr>
          <p:cNvCxnSpPr>
            <a:cxnSpLocks/>
          </p:cNvCxnSpPr>
          <p:nvPr/>
        </p:nvCxnSpPr>
        <p:spPr>
          <a:xfrm flipV="1">
            <a:off x="483686" y="11335082"/>
            <a:ext cx="22915389" cy="38947"/>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sp>
        <p:nvSpPr>
          <p:cNvPr id="15" name="CuadroTexto 14">
            <a:extLst>
              <a:ext uri="{FF2B5EF4-FFF2-40B4-BE49-F238E27FC236}">
                <a16:creationId xmlns:a16="http://schemas.microsoft.com/office/drawing/2014/main" id="{24159ECD-2A0F-4AE8-8D16-18E50EAA0EC5}"/>
              </a:ext>
            </a:extLst>
          </p:cNvPr>
          <p:cNvSpPr txBox="1"/>
          <p:nvPr/>
        </p:nvSpPr>
        <p:spPr>
          <a:xfrm>
            <a:off x="11429998" y="6260281"/>
            <a:ext cx="3970449" cy="646331"/>
          </a:xfrm>
          <a:prstGeom prst="rect">
            <a:avLst/>
          </a:prstGeom>
          <a:noFill/>
        </p:spPr>
        <p:txBody>
          <a:bodyPr wrap="square" rtlCol="0">
            <a:spAutoFit/>
          </a:bodyPr>
          <a:lstStyle/>
          <a:p>
            <a:pPr algn="l"/>
            <a:r>
              <a:rPr lang="es-ES" sz="1800" b="1" dirty="0">
                <a:solidFill>
                  <a:srgbClr val="C00000"/>
                </a:solidFill>
              </a:rPr>
              <a:t>Documentar en Service Now presentación comité</a:t>
            </a:r>
            <a:endParaRPr lang="es-ES" sz="2400" b="1" dirty="0">
              <a:solidFill>
                <a:srgbClr val="C00000"/>
              </a:solidFill>
            </a:endParaRPr>
          </a:p>
        </p:txBody>
      </p:sp>
      <p:sp>
        <p:nvSpPr>
          <p:cNvPr id="16" name="CuadroTexto 15">
            <a:extLst>
              <a:ext uri="{FF2B5EF4-FFF2-40B4-BE49-F238E27FC236}">
                <a16:creationId xmlns:a16="http://schemas.microsoft.com/office/drawing/2014/main" id="{F2945026-2395-4C3D-904D-53220633C770}"/>
              </a:ext>
            </a:extLst>
          </p:cNvPr>
          <p:cNvSpPr txBox="1"/>
          <p:nvPr/>
        </p:nvSpPr>
        <p:spPr>
          <a:xfrm>
            <a:off x="11391050" y="7355657"/>
            <a:ext cx="5654842" cy="4893647"/>
          </a:xfrm>
          <a:prstGeom prst="rect">
            <a:avLst/>
          </a:prstGeom>
          <a:noFill/>
        </p:spPr>
        <p:txBody>
          <a:bodyPr wrap="square" rtlCol="0">
            <a:spAutoFit/>
          </a:bodyPr>
          <a:lstStyle/>
          <a:p>
            <a:pPr algn="l"/>
            <a:endParaRPr lang="en-US" altLang="en-US" sz="2400" dirty="0"/>
          </a:p>
          <a:p>
            <a:pPr algn="l"/>
            <a:endParaRPr lang="en-US" altLang="en-US" sz="2400" dirty="0"/>
          </a:p>
          <a:p>
            <a:pPr algn="l"/>
            <a:endParaRPr lang="en-US" altLang="en-US" sz="2400" dirty="0"/>
          </a:p>
          <a:p>
            <a:pPr algn="l"/>
            <a:endParaRPr lang="en-US" altLang="en-US" sz="2400" dirty="0"/>
          </a:p>
          <a:p>
            <a:pPr algn="l"/>
            <a:r>
              <a:rPr lang="en-US" altLang="en-US" sz="2400" dirty="0"/>
              <a:t>Dominio de Negocio</a:t>
            </a:r>
          </a:p>
          <a:p>
            <a:pPr algn="l"/>
            <a:endParaRPr lang="es-ES" altLang="en-US" sz="2400" dirty="0"/>
          </a:p>
          <a:p>
            <a:pPr algn="l"/>
            <a:endParaRPr lang="es-ES" altLang="en-US" sz="2400" dirty="0"/>
          </a:p>
          <a:p>
            <a:pPr algn="l"/>
            <a:endParaRPr lang="es-ES" altLang="en-US" sz="2400" dirty="0"/>
          </a:p>
          <a:p>
            <a:pPr algn="l"/>
            <a:r>
              <a:rPr lang="en-US" altLang="en-US" sz="2400" dirty="0"/>
              <a:t>Ingeniería (SanTec)</a:t>
            </a:r>
          </a:p>
          <a:p>
            <a:pPr algn="l"/>
            <a:r>
              <a:rPr lang="en-US" altLang="en-US" sz="2400" dirty="0"/>
              <a:t>Nivel de Servicio (SanTec)</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p:txBody>
      </p:sp>
      <p:sp>
        <p:nvSpPr>
          <p:cNvPr id="17" name="CuadroTexto 16">
            <a:extLst>
              <a:ext uri="{FF2B5EF4-FFF2-40B4-BE49-F238E27FC236}">
                <a16:creationId xmlns:a16="http://schemas.microsoft.com/office/drawing/2014/main" id="{1926B1C7-3E8B-4A0B-8140-623A26B0AC4B}"/>
              </a:ext>
            </a:extLst>
          </p:cNvPr>
          <p:cNvSpPr txBox="1"/>
          <p:nvPr/>
        </p:nvSpPr>
        <p:spPr>
          <a:xfrm>
            <a:off x="15400448" y="6261968"/>
            <a:ext cx="3880600" cy="646331"/>
          </a:xfrm>
          <a:prstGeom prst="rect">
            <a:avLst/>
          </a:prstGeom>
          <a:noFill/>
        </p:spPr>
        <p:txBody>
          <a:bodyPr wrap="square" rtlCol="0">
            <a:spAutoFit/>
          </a:bodyPr>
          <a:lstStyle/>
          <a:p>
            <a:pPr algn="l"/>
            <a:r>
              <a:rPr lang="es-ES" sz="1800" b="1" dirty="0">
                <a:solidFill>
                  <a:srgbClr val="C00000"/>
                </a:solidFill>
              </a:rPr>
              <a:t>Revisar dependencias y orden de despliegue</a:t>
            </a:r>
            <a:endParaRPr lang="es-ES" sz="2400" b="1" dirty="0">
              <a:solidFill>
                <a:srgbClr val="C00000"/>
              </a:solidFill>
            </a:endParaRPr>
          </a:p>
        </p:txBody>
      </p:sp>
      <p:sp>
        <p:nvSpPr>
          <p:cNvPr id="18" name="CuadroTexto 17">
            <a:extLst>
              <a:ext uri="{FF2B5EF4-FFF2-40B4-BE49-F238E27FC236}">
                <a16:creationId xmlns:a16="http://schemas.microsoft.com/office/drawing/2014/main" id="{D08BA1D2-B70E-4C5A-B294-01EDA46C82A7}"/>
              </a:ext>
            </a:extLst>
          </p:cNvPr>
          <p:cNvSpPr txBox="1"/>
          <p:nvPr/>
        </p:nvSpPr>
        <p:spPr>
          <a:xfrm>
            <a:off x="15400448" y="7332911"/>
            <a:ext cx="5654842" cy="4893647"/>
          </a:xfrm>
          <a:prstGeom prst="rect">
            <a:avLst/>
          </a:prstGeom>
          <a:noFill/>
        </p:spPr>
        <p:txBody>
          <a:bodyPr wrap="square" rtlCol="0">
            <a:spAutoFit/>
          </a:bodyPr>
          <a:lstStyle/>
          <a:p>
            <a:pPr algn="l"/>
            <a:endParaRPr lang="en-US" altLang="en-US" sz="2400" dirty="0"/>
          </a:p>
          <a:p>
            <a:pPr algn="l"/>
            <a:endParaRPr lang="en-US" altLang="en-US" sz="2400" dirty="0"/>
          </a:p>
          <a:p>
            <a:pPr algn="l"/>
            <a:endParaRPr lang="en-US" altLang="en-US" sz="2400" dirty="0"/>
          </a:p>
          <a:p>
            <a:pPr algn="l"/>
            <a:endParaRPr lang="en-US" altLang="en-US" sz="2400" dirty="0"/>
          </a:p>
          <a:p>
            <a:pPr algn="l"/>
            <a:r>
              <a:rPr lang="en-US" altLang="en-US" sz="2400" dirty="0"/>
              <a:t>Dominio de Negocio</a:t>
            </a:r>
          </a:p>
          <a:p>
            <a:pPr algn="l"/>
            <a:endParaRPr lang="es-ES" altLang="en-US" sz="2400" dirty="0"/>
          </a:p>
          <a:p>
            <a:pPr algn="l"/>
            <a:endParaRPr lang="es-ES" altLang="en-US" sz="2400" dirty="0"/>
          </a:p>
          <a:p>
            <a:pPr algn="l"/>
            <a:endParaRPr lang="es-ES" altLang="en-US" sz="2400" dirty="0"/>
          </a:p>
          <a:p>
            <a:pPr algn="l"/>
            <a:r>
              <a:rPr lang="en-US" altLang="en-US" sz="2400" dirty="0"/>
              <a:t> Ingeniería (SanTec)</a:t>
            </a:r>
          </a:p>
          <a:p>
            <a:pPr algn="l"/>
            <a:endParaRPr lang="en-US" altLang="en-US" sz="2400" dirty="0"/>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endParaRPr lang="en-US" altLang="en-US" sz="2400" dirty="0"/>
          </a:p>
        </p:txBody>
      </p:sp>
      <p:sp>
        <p:nvSpPr>
          <p:cNvPr id="19" name="TextBox 27">
            <a:extLst>
              <a:ext uri="{FF2B5EF4-FFF2-40B4-BE49-F238E27FC236}">
                <a16:creationId xmlns:a16="http://schemas.microsoft.com/office/drawing/2014/main" id="{545476C9-DDD1-4B22-B9CD-75A2BBB644D3}"/>
              </a:ext>
            </a:extLst>
          </p:cNvPr>
          <p:cNvSpPr txBox="1">
            <a:spLocks noChangeArrowheads="1"/>
          </p:cNvSpPr>
          <p:nvPr/>
        </p:nvSpPr>
        <p:spPr bwMode="auto">
          <a:xfrm>
            <a:off x="1934085" y="5266146"/>
            <a:ext cx="9455840" cy="646331"/>
          </a:xfrm>
          <a:prstGeom prst="rect">
            <a:avLst/>
          </a:prstGeom>
          <a:noFill/>
          <a:ln>
            <a:noFill/>
          </a:ln>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eaLnBrk="1" hangingPunct="1"/>
            <a:r>
              <a:rPr lang="en-US" altLang="en-US" sz="3600" dirty="0">
                <a:solidFill>
                  <a:srgbClr val="C00000"/>
                </a:solidFill>
                <a:cs typeface="Arial" panose="020B0604020202020204" pitchFamily="34" charset="0"/>
              </a:rPr>
              <a:t>Responsible   </a:t>
            </a:r>
            <a:r>
              <a:rPr lang="en-US" altLang="en-US" sz="3200" b="0" dirty="0">
                <a:cs typeface="Arial" panose="020B0604020202020204" pitchFamily="34" charset="0"/>
              </a:rPr>
              <a:t>Dominio de Negocio</a:t>
            </a:r>
          </a:p>
        </p:txBody>
      </p:sp>
      <p:pic>
        <p:nvPicPr>
          <p:cNvPr id="20" name="Picture 25">
            <a:extLst>
              <a:ext uri="{FF2B5EF4-FFF2-40B4-BE49-F238E27FC236}">
                <a16:creationId xmlns:a16="http://schemas.microsoft.com/office/drawing/2014/main" id="{AEE41418-2BED-43F6-B3C3-040728E5F1F9}"/>
              </a:ext>
            </a:extLst>
          </p:cNvPr>
          <p:cNvPicPr>
            <a:picLocks noChangeAspect="1"/>
          </p:cNvPicPr>
          <p:nvPr/>
        </p:nvPicPr>
        <p:blipFill>
          <a:blip r:embed="rId9">
            <a:extLst>
              <a:ext uri="{BEBA8EAE-BF5A-486C-A8C5-ECC9F3942E4B}">
                <a14:imgProps xmlns:a14="http://schemas.microsoft.com/office/drawing/2010/main">
                  <a14:imgLayer r:embed="rId10">
                    <a14:imgEffect>
                      <a14:colorTemperature colorTemp="2300"/>
                    </a14:imgEffect>
                  </a14:imgLayer>
                </a14:imgProps>
              </a:ext>
              <a:ext uri="{28A0092B-C50C-407E-A947-70E740481C1C}">
                <a14:useLocalDpi xmlns:a14="http://schemas.microsoft.com/office/drawing/2010/main" val="0"/>
              </a:ext>
            </a:extLst>
          </a:blip>
          <a:stretch>
            <a:fillRect/>
          </a:stretch>
        </p:blipFill>
        <p:spPr>
          <a:xfrm>
            <a:off x="255221" y="4554484"/>
            <a:ext cx="1817801" cy="1817801"/>
          </a:xfrm>
          <a:prstGeom prst="rect">
            <a:avLst/>
          </a:prstGeom>
        </p:spPr>
      </p:pic>
      <p:sp>
        <p:nvSpPr>
          <p:cNvPr id="23" name="Rectángulo 22">
            <a:extLst>
              <a:ext uri="{FF2B5EF4-FFF2-40B4-BE49-F238E27FC236}">
                <a16:creationId xmlns:a16="http://schemas.microsoft.com/office/drawing/2014/main" id="{450A2B88-9C23-41D5-9584-7571AB9805DE}"/>
              </a:ext>
            </a:extLst>
          </p:cNvPr>
          <p:cNvSpPr/>
          <p:nvPr/>
        </p:nvSpPr>
        <p:spPr>
          <a:xfrm>
            <a:off x="15462998" y="6876299"/>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4" name="Rectángulo 23">
            <a:extLst>
              <a:ext uri="{FF2B5EF4-FFF2-40B4-BE49-F238E27FC236}">
                <a16:creationId xmlns:a16="http://schemas.microsoft.com/office/drawing/2014/main" id="{0072EEEA-2099-4269-A4F4-513FA18711D3}"/>
              </a:ext>
            </a:extLst>
          </p:cNvPr>
          <p:cNvSpPr/>
          <p:nvPr/>
        </p:nvSpPr>
        <p:spPr>
          <a:xfrm>
            <a:off x="11429998" y="6882281"/>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34" name="TextBox 1">
            <a:extLst>
              <a:ext uri="{FF2B5EF4-FFF2-40B4-BE49-F238E27FC236}">
                <a16:creationId xmlns:a16="http://schemas.microsoft.com/office/drawing/2014/main" id="{D72BA1CB-4EE8-4025-8A43-D6AF66F726DD}"/>
              </a:ext>
            </a:extLst>
          </p:cNvPr>
          <p:cNvSpPr txBox="1"/>
          <p:nvPr/>
        </p:nvSpPr>
        <p:spPr>
          <a:xfrm>
            <a:off x="650240" y="541319"/>
            <a:ext cx="22611504" cy="1569660"/>
          </a:xfrm>
          <a:prstGeom prst="rect">
            <a:avLst/>
          </a:prstGeom>
          <a:noFill/>
        </p:spPr>
        <p:txBody>
          <a:bodyPr wrap="square" rtlCol="0" anchor="t">
            <a:spAutoFit/>
          </a:bodyPr>
          <a:lstStyle/>
          <a:p>
            <a:pPr algn="l"/>
            <a:r>
              <a:rPr lang="en-GB" sz="4000" b="1" kern="1200" dirty="0">
                <a:solidFill>
                  <a:srgbClr val="C00000"/>
                </a:solidFill>
                <a:cs typeface="Arial"/>
              </a:rPr>
              <a:t>CI / CD de releases</a:t>
            </a:r>
            <a:r>
              <a:rPr lang="en-US" sz="4000" b="1" kern="1200" dirty="0">
                <a:solidFill>
                  <a:srgbClr val="C00000"/>
                </a:solidFill>
              </a:rPr>
              <a:t>  </a:t>
            </a:r>
            <a:r>
              <a:rPr lang="en-GB" sz="2800" kern="1200" dirty="0">
                <a:solidFill>
                  <a:srgbClr val="C00000"/>
                </a:solidFill>
              </a:rPr>
              <a:t>Despliegue &amp; Empaquetado de Releases</a:t>
            </a:r>
          </a:p>
          <a:p>
            <a:pPr algn="l"/>
            <a:r>
              <a:rPr lang="es-ES" altLang="en-US" sz="2800" kern="1200" dirty="0">
                <a:solidFill>
                  <a:schemeClr val="tx1"/>
                </a:solidFill>
              </a:rPr>
              <a:t>Vista de Procesos</a:t>
            </a:r>
            <a:endParaRPr lang="en-US" altLang="en-US" sz="2800" kern="1200" dirty="0">
              <a:solidFill>
                <a:schemeClr val="tx1"/>
              </a:solidFill>
            </a:endParaRPr>
          </a:p>
          <a:p>
            <a:pPr algn="l"/>
            <a:endParaRPr lang="en-US" altLang="en-US" sz="2800" kern="1200" dirty="0">
              <a:solidFill>
                <a:srgbClr val="C00000"/>
              </a:solidFill>
              <a:latin typeface="IBM Plex Sans"/>
            </a:endParaRPr>
          </a:p>
        </p:txBody>
      </p:sp>
      <p:sp>
        <p:nvSpPr>
          <p:cNvPr id="31" name="Rectángulo 30">
            <a:extLst>
              <a:ext uri="{FF2B5EF4-FFF2-40B4-BE49-F238E27FC236}">
                <a16:creationId xmlns:a16="http://schemas.microsoft.com/office/drawing/2014/main" id="{9C968943-C34C-4958-A8DA-13F7ABF264CF}"/>
              </a:ext>
            </a:extLst>
          </p:cNvPr>
          <p:cNvSpPr/>
          <p:nvPr/>
        </p:nvSpPr>
        <p:spPr>
          <a:xfrm>
            <a:off x="3402517" y="6876299"/>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32" name="CuadroTexto 31">
            <a:extLst>
              <a:ext uri="{FF2B5EF4-FFF2-40B4-BE49-F238E27FC236}">
                <a16:creationId xmlns:a16="http://schemas.microsoft.com/office/drawing/2014/main" id="{BB297817-660B-468C-B9E8-61B8B3FFBE9C}"/>
              </a:ext>
            </a:extLst>
          </p:cNvPr>
          <p:cNvSpPr txBox="1"/>
          <p:nvPr/>
        </p:nvSpPr>
        <p:spPr>
          <a:xfrm>
            <a:off x="3402516" y="6284344"/>
            <a:ext cx="3880600" cy="584775"/>
          </a:xfrm>
          <a:prstGeom prst="rect">
            <a:avLst/>
          </a:prstGeom>
          <a:noFill/>
        </p:spPr>
        <p:txBody>
          <a:bodyPr wrap="square" rtlCol="0">
            <a:spAutoFit/>
          </a:bodyPr>
          <a:lstStyle/>
          <a:p>
            <a:pPr algn="l"/>
            <a:r>
              <a:rPr lang="es-ES" sz="1600" b="1" dirty="0">
                <a:solidFill>
                  <a:srgbClr val="C00000"/>
                </a:solidFill>
              </a:rPr>
              <a:t>Definir Set de pruebas funcionales automáticas en Producción</a:t>
            </a:r>
            <a:endParaRPr lang="es-ES" sz="2000" b="1" dirty="0">
              <a:solidFill>
                <a:srgbClr val="C00000"/>
              </a:solidFill>
            </a:endParaRPr>
          </a:p>
        </p:txBody>
      </p:sp>
      <p:sp>
        <p:nvSpPr>
          <p:cNvPr id="33" name="CuadroTexto 32">
            <a:extLst>
              <a:ext uri="{FF2B5EF4-FFF2-40B4-BE49-F238E27FC236}">
                <a16:creationId xmlns:a16="http://schemas.microsoft.com/office/drawing/2014/main" id="{D9CBFE7E-AE8D-4BDA-B96A-B2FDC07A1E52}"/>
              </a:ext>
            </a:extLst>
          </p:cNvPr>
          <p:cNvSpPr txBox="1"/>
          <p:nvPr/>
        </p:nvSpPr>
        <p:spPr>
          <a:xfrm>
            <a:off x="3332294" y="7353970"/>
            <a:ext cx="5654842" cy="3416320"/>
          </a:xfrm>
          <a:prstGeom prst="rect">
            <a:avLst/>
          </a:prstGeom>
          <a:noFill/>
        </p:spPr>
        <p:txBody>
          <a:bodyPr wrap="square" rtlCol="0">
            <a:spAutoFit/>
          </a:bodyPr>
          <a:lstStyle/>
          <a:p>
            <a:pPr algn="l"/>
            <a:endParaRPr lang="en-US" altLang="en-US" sz="2400" dirty="0"/>
          </a:p>
          <a:p>
            <a:pPr algn="l"/>
            <a:endParaRPr lang="en-US" altLang="en-US" sz="2400" dirty="0"/>
          </a:p>
          <a:p>
            <a:pPr algn="l"/>
            <a:endParaRPr lang="en-US" altLang="en-US" sz="2400" dirty="0"/>
          </a:p>
          <a:p>
            <a:pPr algn="l"/>
            <a:endParaRPr lang="en-US" altLang="en-US" sz="2400" dirty="0"/>
          </a:p>
          <a:p>
            <a:pPr algn="l"/>
            <a:r>
              <a:rPr lang="en-US" altLang="en-US" sz="2400" dirty="0"/>
              <a:t>Dominio de Negocio</a:t>
            </a:r>
          </a:p>
          <a:p>
            <a:pPr algn="l"/>
            <a:endParaRPr lang="en-US" altLang="en-US" sz="2400" dirty="0"/>
          </a:p>
          <a:p>
            <a:pPr algn="l"/>
            <a:endParaRPr lang="en-US" altLang="en-US" sz="2400" dirty="0"/>
          </a:p>
          <a:p>
            <a:pPr algn="l"/>
            <a:endParaRPr lang="en-US" altLang="en-US" sz="2400" dirty="0"/>
          </a:p>
          <a:p>
            <a:pPr algn="l"/>
            <a:r>
              <a:rPr lang="en-US" altLang="en-US" sz="2400" dirty="0"/>
              <a:t> Testing (SanTec)</a:t>
            </a:r>
            <a:endParaRPr lang="es-ES" sz="2400" dirty="0"/>
          </a:p>
        </p:txBody>
      </p:sp>
      <p:pic>
        <p:nvPicPr>
          <p:cNvPr id="29" name="New picture">
            <a:extLst>
              <a:ext uri="{FF2B5EF4-FFF2-40B4-BE49-F238E27FC236}">
                <a16:creationId xmlns:a16="http://schemas.microsoft.com/office/drawing/2014/main" id="{DA2A05B7-ECCF-40A8-86C3-7FE16035F77E}"/>
              </a:ext>
            </a:extLst>
          </p:cNvPr>
          <p:cNvPicPr/>
          <p:nvPr/>
        </p:nvPicPr>
        <p:blipFill rotWithShape="1">
          <a:blip r:embed="rId11"/>
          <a:srcRect b="90815"/>
          <a:stretch/>
        </p:blipFill>
        <p:spPr>
          <a:xfrm>
            <a:off x="650240" y="2613176"/>
            <a:ext cx="23210614" cy="1376516"/>
          </a:xfrm>
          <a:prstGeom prst="rect">
            <a:avLst/>
          </a:prstGeom>
        </p:spPr>
      </p:pic>
    </p:spTree>
    <p:extLst>
      <p:ext uri="{BB962C8B-B14F-4D97-AF65-F5344CB8AC3E}">
        <p14:creationId xmlns:p14="http://schemas.microsoft.com/office/powerpoint/2010/main" val="33820363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Box 1">
            <a:extLst>
              <a:ext uri="{FF2B5EF4-FFF2-40B4-BE49-F238E27FC236}">
                <a16:creationId xmlns:a16="http://schemas.microsoft.com/office/drawing/2014/main" id="{8514B4C4-9FBC-4B8D-9B3A-ADBB5F694855}"/>
              </a:ext>
            </a:extLst>
          </p:cNvPr>
          <p:cNvSpPr txBox="1"/>
          <p:nvPr/>
        </p:nvSpPr>
        <p:spPr>
          <a:xfrm>
            <a:off x="650240" y="541319"/>
            <a:ext cx="22611504" cy="1569660"/>
          </a:xfrm>
          <a:prstGeom prst="rect">
            <a:avLst/>
          </a:prstGeom>
          <a:noFill/>
        </p:spPr>
        <p:txBody>
          <a:bodyPr wrap="square" rtlCol="0" anchor="t">
            <a:spAutoFit/>
          </a:bodyPr>
          <a:lstStyle/>
          <a:p>
            <a:pPr algn="l"/>
            <a:r>
              <a:rPr lang="en-GB" sz="4000" b="1" kern="1200" dirty="0">
                <a:solidFill>
                  <a:srgbClr val="C00000"/>
                </a:solidFill>
                <a:cs typeface="Arial"/>
              </a:rPr>
              <a:t>CI / CD de releases</a:t>
            </a:r>
            <a:r>
              <a:rPr lang="en-US" sz="4000" b="1" kern="1200" dirty="0">
                <a:solidFill>
                  <a:srgbClr val="C00000"/>
                </a:solidFill>
              </a:rPr>
              <a:t>  </a:t>
            </a:r>
            <a:r>
              <a:rPr lang="en-GB" sz="2800" kern="1200" dirty="0">
                <a:solidFill>
                  <a:srgbClr val="C00000"/>
                </a:solidFill>
              </a:rPr>
              <a:t>Despliegue &amp; Empaquetado de Releases</a:t>
            </a:r>
          </a:p>
          <a:p>
            <a:pPr algn="l"/>
            <a:r>
              <a:rPr lang="es-ES" altLang="en-US" sz="2800" kern="1200" dirty="0">
                <a:solidFill>
                  <a:schemeClr val="tx1"/>
                </a:solidFill>
              </a:rPr>
              <a:t>Vista de Procesos</a:t>
            </a:r>
            <a:endParaRPr lang="en-US" altLang="en-US" sz="2800" kern="1200" dirty="0">
              <a:solidFill>
                <a:schemeClr val="tx1"/>
              </a:solidFill>
            </a:endParaRPr>
          </a:p>
          <a:p>
            <a:pPr algn="l"/>
            <a:endParaRPr lang="en-US" altLang="en-US" sz="2800" kern="1200" dirty="0">
              <a:solidFill>
                <a:srgbClr val="C00000"/>
              </a:solidFill>
              <a:latin typeface="IBM Plex Sans"/>
            </a:endParaRPr>
          </a:p>
        </p:txBody>
      </p:sp>
      <p:sp>
        <p:nvSpPr>
          <p:cNvPr id="37" name="TextBox 27">
            <a:extLst>
              <a:ext uri="{FF2B5EF4-FFF2-40B4-BE49-F238E27FC236}">
                <a16:creationId xmlns:a16="http://schemas.microsoft.com/office/drawing/2014/main" id="{E4C0A8A2-1176-423D-92E8-63B71235B1FA}"/>
              </a:ext>
            </a:extLst>
          </p:cNvPr>
          <p:cNvSpPr txBox="1">
            <a:spLocks noChangeArrowheads="1"/>
          </p:cNvSpPr>
          <p:nvPr/>
        </p:nvSpPr>
        <p:spPr bwMode="auto">
          <a:xfrm>
            <a:off x="1140883" y="7935102"/>
            <a:ext cx="1851470" cy="34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a:r>
              <a:rPr lang="en-US" sz="2000" dirty="0">
                <a:solidFill>
                  <a:srgbClr val="C00000"/>
                </a:solidFill>
                <a:cs typeface="Arial" panose="020B0604020202020204" pitchFamily="34" charset="0"/>
              </a:rPr>
              <a:t>Informed</a:t>
            </a: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r>
              <a:rPr lang="en-US" sz="2000" dirty="0">
                <a:solidFill>
                  <a:srgbClr val="C00000"/>
                </a:solidFill>
                <a:cs typeface="Arial" panose="020B0604020202020204" pitchFamily="34" charset="0"/>
              </a:rPr>
              <a:t>Accountable</a:t>
            </a: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r>
              <a:rPr lang="en-US" altLang="en-US" sz="2000" dirty="0">
                <a:solidFill>
                  <a:srgbClr val="C00000"/>
                </a:solidFill>
                <a:cs typeface="Arial" panose="020B0604020202020204" pitchFamily="34" charset="0"/>
              </a:rPr>
              <a:t>Consulted</a:t>
            </a:r>
          </a:p>
        </p:txBody>
      </p:sp>
      <p:pic>
        <p:nvPicPr>
          <p:cNvPr id="40" name="Graphic 6" descr="Handshake">
            <a:extLst>
              <a:ext uri="{FF2B5EF4-FFF2-40B4-BE49-F238E27FC236}">
                <a16:creationId xmlns:a16="http://schemas.microsoft.com/office/drawing/2014/main" id="{25AF6365-D087-4CB8-98BD-001E68DAD9A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7146" y="10546135"/>
            <a:ext cx="788947" cy="788947"/>
          </a:xfrm>
          <a:prstGeom prst="rect">
            <a:avLst/>
          </a:prstGeom>
        </p:spPr>
      </p:pic>
      <p:pic>
        <p:nvPicPr>
          <p:cNvPr id="44" name="Graphic 26" descr="Research">
            <a:extLst>
              <a:ext uri="{FF2B5EF4-FFF2-40B4-BE49-F238E27FC236}">
                <a16:creationId xmlns:a16="http://schemas.microsoft.com/office/drawing/2014/main" id="{0E9E1BA4-939B-4C9C-9572-DBD1A0EC8BB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0876" y="8982625"/>
            <a:ext cx="741219" cy="741219"/>
          </a:xfrm>
          <a:prstGeom prst="rect">
            <a:avLst/>
          </a:prstGeom>
        </p:spPr>
      </p:pic>
      <p:pic>
        <p:nvPicPr>
          <p:cNvPr id="45" name="Graphic 34" descr="Information">
            <a:extLst>
              <a:ext uri="{FF2B5EF4-FFF2-40B4-BE49-F238E27FC236}">
                <a16:creationId xmlns:a16="http://schemas.microsoft.com/office/drawing/2014/main" id="{F730A813-5BCC-48CA-9059-55698FBCD48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94255" y="7445529"/>
            <a:ext cx="747097" cy="747097"/>
          </a:xfrm>
          <a:prstGeom prst="rect">
            <a:avLst/>
          </a:prstGeom>
        </p:spPr>
      </p:pic>
      <p:sp>
        <p:nvSpPr>
          <p:cNvPr id="46" name="Rectángulo 45">
            <a:extLst>
              <a:ext uri="{FF2B5EF4-FFF2-40B4-BE49-F238E27FC236}">
                <a16:creationId xmlns:a16="http://schemas.microsoft.com/office/drawing/2014/main" id="{48FD65BF-2CED-44E0-90F0-EAD17D252529}"/>
              </a:ext>
            </a:extLst>
          </p:cNvPr>
          <p:cNvSpPr/>
          <p:nvPr/>
        </p:nvSpPr>
        <p:spPr>
          <a:xfrm>
            <a:off x="7396998" y="6876299"/>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1" name="CuadroTexto 50">
            <a:extLst>
              <a:ext uri="{FF2B5EF4-FFF2-40B4-BE49-F238E27FC236}">
                <a16:creationId xmlns:a16="http://schemas.microsoft.com/office/drawing/2014/main" id="{BAAC79E7-49D7-44F2-A56E-8AF341C87224}"/>
              </a:ext>
            </a:extLst>
          </p:cNvPr>
          <p:cNvSpPr txBox="1"/>
          <p:nvPr/>
        </p:nvSpPr>
        <p:spPr>
          <a:xfrm>
            <a:off x="7396997" y="6284344"/>
            <a:ext cx="3880600" cy="584775"/>
          </a:xfrm>
          <a:prstGeom prst="rect">
            <a:avLst/>
          </a:prstGeom>
          <a:noFill/>
        </p:spPr>
        <p:txBody>
          <a:bodyPr wrap="square" rtlCol="0">
            <a:spAutoFit/>
          </a:bodyPr>
          <a:lstStyle/>
          <a:p>
            <a:pPr algn="l"/>
            <a:r>
              <a:rPr lang="es-ES" sz="1600" b="1" dirty="0">
                <a:solidFill>
                  <a:srgbClr val="C00000"/>
                </a:solidFill>
              </a:rPr>
              <a:t>Configurar ventana de despliegue automatica</a:t>
            </a:r>
          </a:p>
        </p:txBody>
      </p:sp>
      <p:sp>
        <p:nvSpPr>
          <p:cNvPr id="52" name="CuadroTexto 51">
            <a:extLst>
              <a:ext uri="{FF2B5EF4-FFF2-40B4-BE49-F238E27FC236}">
                <a16:creationId xmlns:a16="http://schemas.microsoft.com/office/drawing/2014/main" id="{41623245-8BB4-4213-ABBA-54413DCA6010}"/>
              </a:ext>
            </a:extLst>
          </p:cNvPr>
          <p:cNvSpPr txBox="1"/>
          <p:nvPr/>
        </p:nvSpPr>
        <p:spPr>
          <a:xfrm>
            <a:off x="7326775" y="7353970"/>
            <a:ext cx="5654842" cy="3046988"/>
          </a:xfrm>
          <a:prstGeom prst="rect">
            <a:avLst/>
          </a:prstGeom>
          <a:noFill/>
        </p:spPr>
        <p:txBody>
          <a:bodyPr wrap="square" rtlCol="0">
            <a:spAutoFit/>
          </a:bodyPr>
          <a:lstStyle/>
          <a:p>
            <a:pPr algn="l"/>
            <a:r>
              <a:rPr lang="en-US" altLang="en-US" sz="2400" dirty="0"/>
              <a:t>Dominio de Negocio</a:t>
            </a:r>
          </a:p>
          <a:p>
            <a:pPr algn="l"/>
            <a:endParaRPr lang="en-US" altLang="en-US" sz="2400" dirty="0"/>
          </a:p>
          <a:p>
            <a:pPr algn="l"/>
            <a:endParaRPr lang="en-US" altLang="en-US" sz="2400" dirty="0"/>
          </a:p>
          <a:p>
            <a:pPr algn="l"/>
            <a:endParaRPr lang="en-US" altLang="en-US" sz="2400" dirty="0"/>
          </a:p>
          <a:p>
            <a:pPr algn="l"/>
            <a:r>
              <a:rPr lang="en-US" altLang="en-US" sz="2400" dirty="0"/>
              <a:t>Ingeniería (SanTec)</a:t>
            </a:r>
          </a:p>
          <a:p>
            <a:pPr algn="l"/>
            <a:endParaRPr lang="en-US" altLang="en-US" sz="2400" dirty="0"/>
          </a:p>
          <a:p>
            <a:pPr algn="l"/>
            <a:endParaRPr lang="en-US" altLang="en-US" sz="2400" dirty="0"/>
          </a:p>
          <a:p>
            <a:pPr algn="l"/>
            <a:endParaRPr lang="es-ES" sz="2400" dirty="0"/>
          </a:p>
        </p:txBody>
      </p:sp>
      <p:cxnSp>
        <p:nvCxnSpPr>
          <p:cNvPr id="53" name="Conector recto 52">
            <a:extLst>
              <a:ext uri="{FF2B5EF4-FFF2-40B4-BE49-F238E27FC236}">
                <a16:creationId xmlns:a16="http://schemas.microsoft.com/office/drawing/2014/main" id="{77B7A943-3D61-45EA-B647-B69791459010}"/>
              </a:ext>
            </a:extLst>
          </p:cNvPr>
          <p:cNvCxnSpPr>
            <a:cxnSpLocks/>
          </p:cNvCxnSpPr>
          <p:nvPr/>
        </p:nvCxnSpPr>
        <p:spPr>
          <a:xfrm>
            <a:off x="483686" y="8425282"/>
            <a:ext cx="22915389"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54" name="Conector recto 53">
            <a:extLst>
              <a:ext uri="{FF2B5EF4-FFF2-40B4-BE49-F238E27FC236}">
                <a16:creationId xmlns:a16="http://schemas.microsoft.com/office/drawing/2014/main" id="{A1F08230-7DE1-4266-A3D6-B686F7E2F0BF}"/>
              </a:ext>
            </a:extLst>
          </p:cNvPr>
          <p:cNvCxnSpPr>
            <a:cxnSpLocks/>
          </p:cNvCxnSpPr>
          <p:nvPr/>
        </p:nvCxnSpPr>
        <p:spPr>
          <a:xfrm>
            <a:off x="483686" y="9867955"/>
            <a:ext cx="22778058"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55" name="Conector recto 54">
            <a:extLst>
              <a:ext uri="{FF2B5EF4-FFF2-40B4-BE49-F238E27FC236}">
                <a16:creationId xmlns:a16="http://schemas.microsoft.com/office/drawing/2014/main" id="{40803549-85BD-46DD-9A82-E4D042A127B7}"/>
              </a:ext>
            </a:extLst>
          </p:cNvPr>
          <p:cNvCxnSpPr>
            <a:cxnSpLocks/>
          </p:cNvCxnSpPr>
          <p:nvPr/>
        </p:nvCxnSpPr>
        <p:spPr>
          <a:xfrm flipV="1">
            <a:off x="483686" y="11335082"/>
            <a:ext cx="22915389" cy="38947"/>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sp>
        <p:nvSpPr>
          <p:cNvPr id="56" name="CuadroTexto 55">
            <a:extLst>
              <a:ext uri="{FF2B5EF4-FFF2-40B4-BE49-F238E27FC236}">
                <a16:creationId xmlns:a16="http://schemas.microsoft.com/office/drawing/2014/main" id="{62D4FE2E-DED4-401E-9717-D7C225CAE374}"/>
              </a:ext>
            </a:extLst>
          </p:cNvPr>
          <p:cNvSpPr txBox="1"/>
          <p:nvPr/>
        </p:nvSpPr>
        <p:spPr>
          <a:xfrm>
            <a:off x="11429998" y="6260281"/>
            <a:ext cx="3970449" cy="584775"/>
          </a:xfrm>
          <a:prstGeom prst="rect">
            <a:avLst/>
          </a:prstGeom>
          <a:noFill/>
        </p:spPr>
        <p:txBody>
          <a:bodyPr wrap="square" rtlCol="0">
            <a:spAutoFit/>
          </a:bodyPr>
          <a:lstStyle/>
          <a:p>
            <a:pPr algn="l"/>
            <a:r>
              <a:rPr lang="es-ES" sz="1600" b="1" dirty="0">
                <a:solidFill>
                  <a:srgbClr val="C00000"/>
                </a:solidFill>
              </a:rPr>
              <a:t>Declarar ventana de despliegue (On-premise)</a:t>
            </a:r>
          </a:p>
        </p:txBody>
      </p:sp>
      <p:sp>
        <p:nvSpPr>
          <p:cNvPr id="57" name="CuadroTexto 56">
            <a:extLst>
              <a:ext uri="{FF2B5EF4-FFF2-40B4-BE49-F238E27FC236}">
                <a16:creationId xmlns:a16="http://schemas.microsoft.com/office/drawing/2014/main" id="{74570A98-47BD-47A5-B20E-6A12C8EB4372}"/>
              </a:ext>
            </a:extLst>
          </p:cNvPr>
          <p:cNvSpPr txBox="1"/>
          <p:nvPr/>
        </p:nvSpPr>
        <p:spPr>
          <a:xfrm>
            <a:off x="11391050" y="7355657"/>
            <a:ext cx="5654842" cy="4524315"/>
          </a:xfrm>
          <a:prstGeom prst="rect">
            <a:avLst/>
          </a:prstGeom>
          <a:noFill/>
        </p:spPr>
        <p:txBody>
          <a:bodyPr wrap="square" rtlCol="0">
            <a:spAutoFit/>
          </a:bodyPr>
          <a:lstStyle/>
          <a:p>
            <a:pPr algn="l"/>
            <a:r>
              <a:rPr lang="en-US" altLang="en-US" sz="2400" dirty="0"/>
              <a:t>Dominio de Negocio</a:t>
            </a:r>
          </a:p>
          <a:p>
            <a:pPr algn="l"/>
            <a:endParaRPr lang="en-US" altLang="en-US" sz="2400" dirty="0"/>
          </a:p>
          <a:p>
            <a:pPr algn="l"/>
            <a:endParaRPr lang="en-US" altLang="en-US" sz="2400" dirty="0"/>
          </a:p>
          <a:p>
            <a:pPr algn="l"/>
            <a:endParaRPr lang="en-US" altLang="en-US" sz="2400" dirty="0"/>
          </a:p>
          <a:p>
            <a:pPr algn="l"/>
            <a:r>
              <a:rPr lang="en-US" altLang="en-US" sz="2400" dirty="0"/>
              <a:t>Ingeniería (SanTec)</a:t>
            </a:r>
          </a:p>
          <a:p>
            <a:pPr algn="l"/>
            <a:endParaRPr lang="es-ES" altLang="en-US" sz="2400" dirty="0"/>
          </a:p>
          <a:p>
            <a:pPr algn="l"/>
            <a:endParaRPr lang="es-ES" altLang="en-US" sz="2400" dirty="0"/>
          </a:p>
          <a:p>
            <a:pPr algn="l"/>
            <a:endParaRPr lang="es-ES" altLang="en-US" sz="2400" dirty="0"/>
          </a:p>
          <a:p>
            <a:pPr algn="l"/>
            <a:r>
              <a:rPr lang="en-US" altLang="en-US" sz="2400" dirty="0"/>
              <a:t>Nivel de Servicio (SanTec)</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p:txBody>
      </p:sp>
      <p:sp>
        <p:nvSpPr>
          <p:cNvPr id="58" name="CuadroTexto 57">
            <a:extLst>
              <a:ext uri="{FF2B5EF4-FFF2-40B4-BE49-F238E27FC236}">
                <a16:creationId xmlns:a16="http://schemas.microsoft.com/office/drawing/2014/main" id="{D0C6BFB3-EB53-41DA-B00B-9C1EDA55D099}"/>
              </a:ext>
            </a:extLst>
          </p:cNvPr>
          <p:cNvSpPr txBox="1"/>
          <p:nvPr/>
        </p:nvSpPr>
        <p:spPr>
          <a:xfrm>
            <a:off x="15400448" y="6261968"/>
            <a:ext cx="3880600" cy="584775"/>
          </a:xfrm>
          <a:prstGeom prst="rect">
            <a:avLst/>
          </a:prstGeom>
          <a:noFill/>
        </p:spPr>
        <p:txBody>
          <a:bodyPr wrap="square" rtlCol="0">
            <a:spAutoFit/>
          </a:bodyPr>
          <a:lstStyle/>
          <a:p>
            <a:pPr algn="l"/>
            <a:r>
              <a:rPr lang="es-ES" sz="1600" b="1" dirty="0">
                <a:solidFill>
                  <a:srgbClr val="C00000"/>
                </a:solidFill>
              </a:rPr>
              <a:t>Despliegue dependencias On-premise (producción oculto)</a:t>
            </a:r>
          </a:p>
        </p:txBody>
      </p:sp>
      <p:sp>
        <p:nvSpPr>
          <p:cNvPr id="59" name="CuadroTexto 58">
            <a:extLst>
              <a:ext uri="{FF2B5EF4-FFF2-40B4-BE49-F238E27FC236}">
                <a16:creationId xmlns:a16="http://schemas.microsoft.com/office/drawing/2014/main" id="{EA164CAD-C037-48F3-A5CC-0F306E478289}"/>
              </a:ext>
            </a:extLst>
          </p:cNvPr>
          <p:cNvSpPr txBox="1"/>
          <p:nvPr/>
        </p:nvSpPr>
        <p:spPr>
          <a:xfrm>
            <a:off x="15400448" y="7332911"/>
            <a:ext cx="5654842" cy="4524315"/>
          </a:xfrm>
          <a:prstGeom prst="rect">
            <a:avLst/>
          </a:prstGeom>
          <a:noFill/>
        </p:spPr>
        <p:txBody>
          <a:bodyPr wrap="square" rtlCol="0">
            <a:spAutoFit/>
          </a:bodyPr>
          <a:lstStyle/>
          <a:p>
            <a:pPr algn="l"/>
            <a:r>
              <a:rPr lang="en-US" altLang="en-US" sz="2400" dirty="0"/>
              <a:t>Dominio de Negocio</a:t>
            </a:r>
          </a:p>
          <a:p>
            <a:pPr algn="l"/>
            <a:endParaRPr lang="en-US" altLang="en-US" sz="2400" dirty="0"/>
          </a:p>
          <a:p>
            <a:pPr algn="l"/>
            <a:endParaRPr lang="en-US" altLang="en-US" sz="2400" dirty="0"/>
          </a:p>
          <a:p>
            <a:pPr algn="l"/>
            <a:endParaRPr lang="en-US" altLang="en-US" sz="2400" dirty="0"/>
          </a:p>
          <a:p>
            <a:pPr algn="l"/>
            <a:r>
              <a:rPr lang="en-US" altLang="en-US" sz="2400" dirty="0"/>
              <a:t>Ingeniería (SanTec)</a:t>
            </a:r>
          </a:p>
          <a:p>
            <a:pPr algn="l"/>
            <a:endParaRPr lang="es-ES" altLang="en-US" sz="2400" dirty="0"/>
          </a:p>
          <a:p>
            <a:pPr algn="l"/>
            <a:endParaRPr lang="es-ES" altLang="en-US" sz="2400" dirty="0"/>
          </a:p>
          <a:p>
            <a:pPr algn="l"/>
            <a:endParaRPr lang="es-ES" altLang="en-US" sz="2400" dirty="0"/>
          </a:p>
          <a:p>
            <a:pPr algn="l"/>
            <a:r>
              <a:rPr lang="en-US" altLang="en-US" sz="2400" dirty="0"/>
              <a:t> </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endParaRPr lang="en-US" altLang="en-US" sz="2400" dirty="0"/>
          </a:p>
        </p:txBody>
      </p:sp>
      <p:sp>
        <p:nvSpPr>
          <p:cNvPr id="60" name="TextBox 27">
            <a:extLst>
              <a:ext uri="{FF2B5EF4-FFF2-40B4-BE49-F238E27FC236}">
                <a16:creationId xmlns:a16="http://schemas.microsoft.com/office/drawing/2014/main" id="{43CA0528-F41E-4E8E-B64C-E284357D8C83}"/>
              </a:ext>
            </a:extLst>
          </p:cNvPr>
          <p:cNvSpPr txBox="1">
            <a:spLocks noChangeArrowheads="1"/>
          </p:cNvSpPr>
          <p:nvPr/>
        </p:nvSpPr>
        <p:spPr bwMode="auto">
          <a:xfrm>
            <a:off x="1934085" y="5266146"/>
            <a:ext cx="9455840" cy="646331"/>
          </a:xfrm>
          <a:prstGeom prst="rect">
            <a:avLst/>
          </a:prstGeom>
          <a:noFill/>
          <a:ln>
            <a:noFill/>
          </a:ln>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eaLnBrk="1" hangingPunct="1"/>
            <a:r>
              <a:rPr lang="en-US" altLang="en-US" sz="3600" dirty="0">
                <a:solidFill>
                  <a:srgbClr val="C00000"/>
                </a:solidFill>
                <a:cs typeface="Arial" panose="020B0604020202020204" pitchFamily="34" charset="0"/>
              </a:rPr>
              <a:t>Responsible   </a:t>
            </a:r>
            <a:r>
              <a:rPr lang="en-US" altLang="en-US" sz="3200" b="0" dirty="0">
                <a:cs typeface="Arial" panose="020B0604020202020204" pitchFamily="34" charset="0"/>
              </a:rPr>
              <a:t>Ingeniería (SanTec)</a:t>
            </a:r>
          </a:p>
        </p:txBody>
      </p:sp>
      <p:pic>
        <p:nvPicPr>
          <p:cNvPr id="61" name="Picture 25">
            <a:extLst>
              <a:ext uri="{FF2B5EF4-FFF2-40B4-BE49-F238E27FC236}">
                <a16:creationId xmlns:a16="http://schemas.microsoft.com/office/drawing/2014/main" id="{3DF637A4-E179-407B-B821-159898DB504F}"/>
              </a:ext>
            </a:extLst>
          </p:cNvPr>
          <p:cNvPicPr>
            <a:picLocks noChangeAspect="1"/>
          </p:cNvPicPr>
          <p:nvPr/>
        </p:nvPicPr>
        <p:blipFill>
          <a:blip r:embed="rId9">
            <a:extLst>
              <a:ext uri="{BEBA8EAE-BF5A-486C-A8C5-ECC9F3942E4B}">
                <a14:imgProps xmlns:a14="http://schemas.microsoft.com/office/drawing/2010/main">
                  <a14:imgLayer r:embed="rId10">
                    <a14:imgEffect>
                      <a14:colorTemperature colorTemp="2300"/>
                    </a14:imgEffect>
                  </a14:imgLayer>
                </a14:imgProps>
              </a:ext>
              <a:ext uri="{28A0092B-C50C-407E-A947-70E740481C1C}">
                <a14:useLocalDpi xmlns:a14="http://schemas.microsoft.com/office/drawing/2010/main" val="0"/>
              </a:ext>
            </a:extLst>
          </a:blip>
          <a:stretch>
            <a:fillRect/>
          </a:stretch>
        </p:blipFill>
        <p:spPr>
          <a:xfrm>
            <a:off x="255221" y="4554484"/>
            <a:ext cx="1817801" cy="1817801"/>
          </a:xfrm>
          <a:prstGeom prst="rect">
            <a:avLst/>
          </a:prstGeom>
        </p:spPr>
      </p:pic>
      <p:sp>
        <p:nvSpPr>
          <p:cNvPr id="62" name="Rectángulo 61">
            <a:extLst>
              <a:ext uri="{FF2B5EF4-FFF2-40B4-BE49-F238E27FC236}">
                <a16:creationId xmlns:a16="http://schemas.microsoft.com/office/drawing/2014/main" id="{A36C87DD-015C-4146-9432-FE248A42C798}"/>
              </a:ext>
            </a:extLst>
          </p:cNvPr>
          <p:cNvSpPr/>
          <p:nvPr/>
        </p:nvSpPr>
        <p:spPr>
          <a:xfrm>
            <a:off x="19495998" y="6892180"/>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63" name="Rectángulo 62">
            <a:extLst>
              <a:ext uri="{FF2B5EF4-FFF2-40B4-BE49-F238E27FC236}">
                <a16:creationId xmlns:a16="http://schemas.microsoft.com/office/drawing/2014/main" id="{C21ECB6B-24E0-4933-AEE8-9434E6107F18}"/>
              </a:ext>
            </a:extLst>
          </p:cNvPr>
          <p:cNvSpPr/>
          <p:nvPr/>
        </p:nvSpPr>
        <p:spPr>
          <a:xfrm>
            <a:off x="15462998" y="6876299"/>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64" name="Rectángulo 63">
            <a:extLst>
              <a:ext uri="{FF2B5EF4-FFF2-40B4-BE49-F238E27FC236}">
                <a16:creationId xmlns:a16="http://schemas.microsoft.com/office/drawing/2014/main" id="{D19B7C72-BD98-4F5B-8A00-1859A456E58C}"/>
              </a:ext>
            </a:extLst>
          </p:cNvPr>
          <p:cNvSpPr/>
          <p:nvPr/>
        </p:nvSpPr>
        <p:spPr>
          <a:xfrm>
            <a:off x="11429998" y="6882281"/>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65" name="CuadroTexto 64">
            <a:extLst>
              <a:ext uri="{FF2B5EF4-FFF2-40B4-BE49-F238E27FC236}">
                <a16:creationId xmlns:a16="http://schemas.microsoft.com/office/drawing/2014/main" id="{B8A8C6C1-D260-475E-BC67-BEBFA268A2C2}"/>
              </a:ext>
            </a:extLst>
          </p:cNvPr>
          <p:cNvSpPr txBox="1"/>
          <p:nvPr/>
        </p:nvSpPr>
        <p:spPr>
          <a:xfrm>
            <a:off x="19495998" y="6294815"/>
            <a:ext cx="3907900" cy="584775"/>
          </a:xfrm>
          <a:prstGeom prst="rect">
            <a:avLst/>
          </a:prstGeom>
          <a:noFill/>
        </p:spPr>
        <p:txBody>
          <a:bodyPr wrap="square" rtlCol="0">
            <a:spAutoFit/>
          </a:bodyPr>
          <a:lstStyle/>
          <a:p>
            <a:pPr algn="l"/>
            <a:r>
              <a:rPr lang="es-ES" sz="1600" b="1" dirty="0">
                <a:solidFill>
                  <a:srgbClr val="C00000"/>
                </a:solidFill>
              </a:rPr>
              <a:t>Configuración del aplicativo en la pipeline (Producción final)</a:t>
            </a:r>
          </a:p>
        </p:txBody>
      </p:sp>
      <p:pic>
        <p:nvPicPr>
          <p:cNvPr id="66" name="Picture 25">
            <a:extLst>
              <a:ext uri="{FF2B5EF4-FFF2-40B4-BE49-F238E27FC236}">
                <a16:creationId xmlns:a16="http://schemas.microsoft.com/office/drawing/2014/main" id="{780D8862-9572-446F-A35F-53135D34F8EF}"/>
              </a:ext>
            </a:extLst>
          </p:cNvPr>
          <p:cNvPicPr>
            <a:picLocks noChangeAspect="1"/>
          </p:cNvPicPr>
          <p:nvPr/>
        </p:nvPicPr>
        <p:blipFill>
          <a:blip r:embed="rId9">
            <a:extLst>
              <a:ext uri="{BEBA8EAE-BF5A-486C-A8C5-ECC9F3942E4B}">
                <a14:imgProps xmlns:a14="http://schemas.microsoft.com/office/drawing/2010/main">
                  <a14:imgLayer r:embed="rId10">
                    <a14:imgEffect>
                      <a14:colorTemperature colorTemp="2300"/>
                    </a14:imgEffect>
                  </a14:imgLayer>
                </a14:imgProps>
              </a:ext>
              <a:ext uri="{28A0092B-C50C-407E-A947-70E740481C1C}">
                <a14:useLocalDpi xmlns:a14="http://schemas.microsoft.com/office/drawing/2010/main" val="0"/>
              </a:ext>
            </a:extLst>
          </a:blip>
          <a:stretch>
            <a:fillRect/>
          </a:stretch>
        </p:blipFill>
        <p:spPr>
          <a:xfrm>
            <a:off x="1117247" y="11634775"/>
            <a:ext cx="947290" cy="947290"/>
          </a:xfrm>
          <a:prstGeom prst="rect">
            <a:avLst/>
          </a:prstGeom>
        </p:spPr>
      </p:pic>
      <p:sp>
        <p:nvSpPr>
          <p:cNvPr id="67" name="Rectángulo 66">
            <a:extLst>
              <a:ext uri="{FF2B5EF4-FFF2-40B4-BE49-F238E27FC236}">
                <a16:creationId xmlns:a16="http://schemas.microsoft.com/office/drawing/2014/main" id="{5D82118D-1A16-495D-BDD2-4615268B3141}"/>
              </a:ext>
            </a:extLst>
          </p:cNvPr>
          <p:cNvSpPr/>
          <p:nvPr/>
        </p:nvSpPr>
        <p:spPr>
          <a:xfrm>
            <a:off x="3402517" y="6876299"/>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68" name="CuadroTexto 67">
            <a:extLst>
              <a:ext uri="{FF2B5EF4-FFF2-40B4-BE49-F238E27FC236}">
                <a16:creationId xmlns:a16="http://schemas.microsoft.com/office/drawing/2014/main" id="{6BBAB4A6-D11F-4671-8B20-1BC0CD362518}"/>
              </a:ext>
            </a:extLst>
          </p:cNvPr>
          <p:cNvSpPr txBox="1"/>
          <p:nvPr/>
        </p:nvSpPr>
        <p:spPr>
          <a:xfrm>
            <a:off x="3402516" y="6284344"/>
            <a:ext cx="3880600" cy="584775"/>
          </a:xfrm>
          <a:prstGeom prst="rect">
            <a:avLst/>
          </a:prstGeom>
          <a:noFill/>
        </p:spPr>
        <p:txBody>
          <a:bodyPr wrap="square" rtlCol="0">
            <a:spAutoFit/>
          </a:bodyPr>
          <a:lstStyle/>
          <a:p>
            <a:pPr algn="l"/>
            <a:r>
              <a:rPr lang="es-ES" sz="1600" b="1" dirty="0">
                <a:solidFill>
                  <a:srgbClr val="C00000"/>
                </a:solidFill>
              </a:rPr>
              <a:t>Configuraciones del aplicativo en la pipeline (Producción oculto)</a:t>
            </a:r>
            <a:endParaRPr lang="es-ES" sz="2000" b="1" dirty="0">
              <a:solidFill>
                <a:srgbClr val="C00000"/>
              </a:solidFill>
            </a:endParaRPr>
          </a:p>
        </p:txBody>
      </p:sp>
      <p:sp>
        <p:nvSpPr>
          <p:cNvPr id="69" name="CuadroTexto 68">
            <a:extLst>
              <a:ext uri="{FF2B5EF4-FFF2-40B4-BE49-F238E27FC236}">
                <a16:creationId xmlns:a16="http://schemas.microsoft.com/office/drawing/2014/main" id="{4F6B917E-E430-4FB3-B7DA-2A9B8459A5AC}"/>
              </a:ext>
            </a:extLst>
          </p:cNvPr>
          <p:cNvSpPr txBox="1"/>
          <p:nvPr/>
        </p:nvSpPr>
        <p:spPr>
          <a:xfrm>
            <a:off x="3332294" y="7353970"/>
            <a:ext cx="5654842" cy="3046988"/>
          </a:xfrm>
          <a:prstGeom prst="rect">
            <a:avLst/>
          </a:prstGeom>
          <a:noFill/>
        </p:spPr>
        <p:txBody>
          <a:bodyPr wrap="square" rtlCol="0">
            <a:spAutoFit/>
          </a:bodyPr>
          <a:lstStyle/>
          <a:p>
            <a:pPr algn="l"/>
            <a:r>
              <a:rPr lang="en-US" altLang="en-US" sz="2400" dirty="0"/>
              <a:t>Dominio de Negocio</a:t>
            </a:r>
          </a:p>
          <a:p>
            <a:pPr algn="l"/>
            <a:endParaRPr lang="en-US" altLang="en-US" sz="2400" dirty="0"/>
          </a:p>
          <a:p>
            <a:pPr algn="l"/>
            <a:endParaRPr lang="en-US" altLang="en-US" sz="2400" dirty="0"/>
          </a:p>
          <a:p>
            <a:pPr algn="l"/>
            <a:endParaRPr lang="en-US" altLang="en-US" sz="2400" dirty="0"/>
          </a:p>
          <a:p>
            <a:pPr algn="l"/>
            <a:r>
              <a:rPr lang="en-US" altLang="en-US" sz="2400" dirty="0"/>
              <a:t>Ingeniería (SanTec)</a:t>
            </a:r>
          </a:p>
          <a:p>
            <a:pPr algn="l"/>
            <a:endParaRPr lang="en-US" altLang="en-US" sz="2400" dirty="0"/>
          </a:p>
          <a:p>
            <a:pPr algn="l"/>
            <a:endParaRPr lang="en-US" altLang="en-US" sz="2400" dirty="0"/>
          </a:p>
          <a:p>
            <a:pPr algn="l"/>
            <a:r>
              <a:rPr lang="en-US" altLang="en-US" sz="2400" dirty="0"/>
              <a:t> </a:t>
            </a:r>
            <a:endParaRPr lang="es-ES" sz="2400" dirty="0"/>
          </a:p>
        </p:txBody>
      </p:sp>
      <p:sp>
        <p:nvSpPr>
          <p:cNvPr id="70" name="CuadroTexto 69">
            <a:extLst>
              <a:ext uri="{FF2B5EF4-FFF2-40B4-BE49-F238E27FC236}">
                <a16:creationId xmlns:a16="http://schemas.microsoft.com/office/drawing/2014/main" id="{52F5B52C-31D1-4BBA-B384-F54EE4B28CA9}"/>
              </a:ext>
            </a:extLst>
          </p:cNvPr>
          <p:cNvSpPr txBox="1"/>
          <p:nvPr/>
        </p:nvSpPr>
        <p:spPr>
          <a:xfrm>
            <a:off x="19449806" y="7355657"/>
            <a:ext cx="5654842" cy="4524315"/>
          </a:xfrm>
          <a:prstGeom prst="rect">
            <a:avLst/>
          </a:prstGeom>
          <a:noFill/>
        </p:spPr>
        <p:txBody>
          <a:bodyPr wrap="square" rtlCol="0">
            <a:spAutoFit/>
          </a:bodyPr>
          <a:lstStyle/>
          <a:p>
            <a:pPr algn="l"/>
            <a:r>
              <a:rPr lang="en-US" altLang="en-US" sz="2400" dirty="0"/>
              <a:t>Dominio de Negocio</a:t>
            </a:r>
          </a:p>
          <a:p>
            <a:pPr algn="l"/>
            <a:endParaRPr lang="en-US" altLang="en-US" sz="2400" dirty="0"/>
          </a:p>
          <a:p>
            <a:pPr algn="l"/>
            <a:endParaRPr lang="en-US" altLang="en-US" sz="2400" dirty="0"/>
          </a:p>
          <a:p>
            <a:pPr algn="l"/>
            <a:endParaRPr lang="en-US" altLang="en-US" sz="2400" dirty="0"/>
          </a:p>
          <a:p>
            <a:pPr algn="l"/>
            <a:r>
              <a:rPr lang="en-US" altLang="en-US" sz="2400" dirty="0"/>
              <a:t>Ingeniería (SanTec)</a:t>
            </a:r>
          </a:p>
          <a:p>
            <a:pPr algn="l"/>
            <a:endParaRPr lang="es-ES" altLang="en-US" sz="2400" dirty="0"/>
          </a:p>
          <a:p>
            <a:pPr algn="l"/>
            <a:endParaRPr lang="es-ES" altLang="en-US" sz="2400" dirty="0"/>
          </a:p>
          <a:p>
            <a:pPr algn="l"/>
            <a:endParaRPr lang="es-ES" altLang="en-US" sz="2400" dirty="0"/>
          </a:p>
          <a:p>
            <a:pPr algn="l"/>
            <a:r>
              <a:rPr lang="en-US" altLang="en-US" sz="2400" dirty="0"/>
              <a:t> </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endParaRPr lang="en-US" altLang="en-US" sz="2400" dirty="0"/>
          </a:p>
        </p:txBody>
      </p:sp>
      <p:pic>
        <p:nvPicPr>
          <p:cNvPr id="30" name="New picture">
            <a:extLst>
              <a:ext uri="{FF2B5EF4-FFF2-40B4-BE49-F238E27FC236}">
                <a16:creationId xmlns:a16="http://schemas.microsoft.com/office/drawing/2014/main" id="{0A54CFD6-9A66-49F1-837E-91550F557A1E}"/>
              </a:ext>
            </a:extLst>
          </p:cNvPr>
          <p:cNvPicPr/>
          <p:nvPr/>
        </p:nvPicPr>
        <p:blipFill rotWithShape="1">
          <a:blip r:embed="rId11"/>
          <a:srcRect t="8128" b="72159"/>
          <a:stretch/>
        </p:blipFill>
        <p:spPr>
          <a:xfrm>
            <a:off x="650240" y="1679449"/>
            <a:ext cx="23210614" cy="2954215"/>
          </a:xfrm>
          <a:prstGeom prst="rect">
            <a:avLst/>
          </a:prstGeom>
        </p:spPr>
      </p:pic>
    </p:spTree>
    <p:extLst>
      <p:ext uri="{BB962C8B-B14F-4D97-AF65-F5344CB8AC3E}">
        <p14:creationId xmlns:p14="http://schemas.microsoft.com/office/powerpoint/2010/main" val="41209755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Box 1">
            <a:extLst>
              <a:ext uri="{FF2B5EF4-FFF2-40B4-BE49-F238E27FC236}">
                <a16:creationId xmlns:a16="http://schemas.microsoft.com/office/drawing/2014/main" id="{8514B4C4-9FBC-4B8D-9B3A-ADBB5F694855}"/>
              </a:ext>
            </a:extLst>
          </p:cNvPr>
          <p:cNvSpPr txBox="1"/>
          <p:nvPr/>
        </p:nvSpPr>
        <p:spPr>
          <a:xfrm>
            <a:off x="650240" y="541319"/>
            <a:ext cx="22611504" cy="1569660"/>
          </a:xfrm>
          <a:prstGeom prst="rect">
            <a:avLst/>
          </a:prstGeom>
          <a:noFill/>
        </p:spPr>
        <p:txBody>
          <a:bodyPr wrap="square" rtlCol="0" anchor="t">
            <a:spAutoFit/>
          </a:bodyPr>
          <a:lstStyle/>
          <a:p>
            <a:pPr algn="l"/>
            <a:r>
              <a:rPr lang="en-GB" sz="4000" b="1" kern="1200" dirty="0">
                <a:solidFill>
                  <a:srgbClr val="C00000"/>
                </a:solidFill>
                <a:cs typeface="Arial"/>
              </a:rPr>
              <a:t>CI / CD de releases</a:t>
            </a:r>
            <a:r>
              <a:rPr lang="en-US" sz="4000" b="1" kern="1200" dirty="0">
                <a:solidFill>
                  <a:srgbClr val="C00000"/>
                </a:solidFill>
              </a:rPr>
              <a:t>  </a:t>
            </a:r>
            <a:r>
              <a:rPr lang="en-GB" sz="2800" kern="1200" dirty="0">
                <a:solidFill>
                  <a:srgbClr val="C00000"/>
                </a:solidFill>
              </a:rPr>
              <a:t>Despliegue &amp; Empaquetado de Releases</a:t>
            </a:r>
          </a:p>
          <a:p>
            <a:pPr algn="l"/>
            <a:r>
              <a:rPr lang="es-ES" altLang="en-US" sz="2800" kern="1200" dirty="0">
                <a:solidFill>
                  <a:schemeClr val="tx1"/>
                </a:solidFill>
              </a:rPr>
              <a:t>Vista de Procesos</a:t>
            </a:r>
            <a:endParaRPr lang="en-US" altLang="en-US" sz="2800" kern="1200" dirty="0">
              <a:solidFill>
                <a:schemeClr val="tx1"/>
              </a:solidFill>
            </a:endParaRPr>
          </a:p>
          <a:p>
            <a:pPr algn="l"/>
            <a:endParaRPr lang="en-US" altLang="en-US" sz="2800" kern="1200" dirty="0">
              <a:solidFill>
                <a:srgbClr val="C00000"/>
              </a:solidFill>
              <a:latin typeface="IBM Plex Sans"/>
            </a:endParaRPr>
          </a:p>
        </p:txBody>
      </p:sp>
      <p:sp>
        <p:nvSpPr>
          <p:cNvPr id="37" name="TextBox 27">
            <a:extLst>
              <a:ext uri="{FF2B5EF4-FFF2-40B4-BE49-F238E27FC236}">
                <a16:creationId xmlns:a16="http://schemas.microsoft.com/office/drawing/2014/main" id="{E4C0A8A2-1176-423D-92E8-63B71235B1FA}"/>
              </a:ext>
            </a:extLst>
          </p:cNvPr>
          <p:cNvSpPr txBox="1">
            <a:spLocks noChangeArrowheads="1"/>
          </p:cNvSpPr>
          <p:nvPr/>
        </p:nvSpPr>
        <p:spPr bwMode="auto">
          <a:xfrm>
            <a:off x="1140883" y="7935102"/>
            <a:ext cx="1851470" cy="34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a:r>
              <a:rPr lang="en-US" sz="2000" dirty="0">
                <a:solidFill>
                  <a:srgbClr val="C00000"/>
                </a:solidFill>
                <a:cs typeface="Arial" panose="020B0604020202020204" pitchFamily="34" charset="0"/>
              </a:rPr>
              <a:t>Informed</a:t>
            </a: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r>
              <a:rPr lang="en-US" sz="2000" dirty="0">
                <a:solidFill>
                  <a:srgbClr val="C00000"/>
                </a:solidFill>
                <a:cs typeface="Arial" panose="020B0604020202020204" pitchFamily="34" charset="0"/>
              </a:rPr>
              <a:t>Accountable</a:t>
            </a: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r>
              <a:rPr lang="en-US" altLang="en-US" sz="2000" dirty="0">
                <a:solidFill>
                  <a:srgbClr val="C00000"/>
                </a:solidFill>
                <a:cs typeface="Arial" panose="020B0604020202020204" pitchFamily="34" charset="0"/>
              </a:rPr>
              <a:t>Consulted</a:t>
            </a:r>
          </a:p>
        </p:txBody>
      </p:sp>
      <p:pic>
        <p:nvPicPr>
          <p:cNvPr id="40" name="Graphic 6" descr="Handshake">
            <a:extLst>
              <a:ext uri="{FF2B5EF4-FFF2-40B4-BE49-F238E27FC236}">
                <a16:creationId xmlns:a16="http://schemas.microsoft.com/office/drawing/2014/main" id="{25AF6365-D087-4CB8-98BD-001E68DAD9A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7146" y="10546135"/>
            <a:ext cx="788947" cy="788947"/>
          </a:xfrm>
          <a:prstGeom prst="rect">
            <a:avLst/>
          </a:prstGeom>
        </p:spPr>
      </p:pic>
      <p:pic>
        <p:nvPicPr>
          <p:cNvPr id="44" name="Graphic 26" descr="Research">
            <a:extLst>
              <a:ext uri="{FF2B5EF4-FFF2-40B4-BE49-F238E27FC236}">
                <a16:creationId xmlns:a16="http://schemas.microsoft.com/office/drawing/2014/main" id="{0E9E1BA4-939B-4C9C-9572-DBD1A0EC8BB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0876" y="8982625"/>
            <a:ext cx="741219" cy="741219"/>
          </a:xfrm>
          <a:prstGeom prst="rect">
            <a:avLst/>
          </a:prstGeom>
        </p:spPr>
      </p:pic>
      <p:pic>
        <p:nvPicPr>
          <p:cNvPr id="45" name="Graphic 34" descr="Information">
            <a:extLst>
              <a:ext uri="{FF2B5EF4-FFF2-40B4-BE49-F238E27FC236}">
                <a16:creationId xmlns:a16="http://schemas.microsoft.com/office/drawing/2014/main" id="{F730A813-5BCC-48CA-9059-55698FBCD48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94255" y="7445529"/>
            <a:ext cx="747097" cy="747097"/>
          </a:xfrm>
          <a:prstGeom prst="rect">
            <a:avLst/>
          </a:prstGeom>
        </p:spPr>
      </p:pic>
      <p:cxnSp>
        <p:nvCxnSpPr>
          <p:cNvPr id="53" name="Conector recto 52">
            <a:extLst>
              <a:ext uri="{FF2B5EF4-FFF2-40B4-BE49-F238E27FC236}">
                <a16:creationId xmlns:a16="http://schemas.microsoft.com/office/drawing/2014/main" id="{77B7A943-3D61-45EA-B647-B69791459010}"/>
              </a:ext>
            </a:extLst>
          </p:cNvPr>
          <p:cNvCxnSpPr>
            <a:cxnSpLocks/>
          </p:cNvCxnSpPr>
          <p:nvPr/>
        </p:nvCxnSpPr>
        <p:spPr>
          <a:xfrm>
            <a:off x="483686" y="8425282"/>
            <a:ext cx="22915389"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54" name="Conector recto 53">
            <a:extLst>
              <a:ext uri="{FF2B5EF4-FFF2-40B4-BE49-F238E27FC236}">
                <a16:creationId xmlns:a16="http://schemas.microsoft.com/office/drawing/2014/main" id="{A1F08230-7DE1-4266-A3D6-B686F7E2F0BF}"/>
              </a:ext>
            </a:extLst>
          </p:cNvPr>
          <p:cNvCxnSpPr>
            <a:cxnSpLocks/>
          </p:cNvCxnSpPr>
          <p:nvPr/>
        </p:nvCxnSpPr>
        <p:spPr>
          <a:xfrm>
            <a:off x="483686" y="9867955"/>
            <a:ext cx="22778058"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55" name="Conector recto 54">
            <a:extLst>
              <a:ext uri="{FF2B5EF4-FFF2-40B4-BE49-F238E27FC236}">
                <a16:creationId xmlns:a16="http://schemas.microsoft.com/office/drawing/2014/main" id="{40803549-85BD-46DD-9A82-E4D042A127B7}"/>
              </a:ext>
            </a:extLst>
          </p:cNvPr>
          <p:cNvCxnSpPr>
            <a:cxnSpLocks/>
          </p:cNvCxnSpPr>
          <p:nvPr/>
        </p:nvCxnSpPr>
        <p:spPr>
          <a:xfrm flipV="1">
            <a:off x="483686" y="11335082"/>
            <a:ext cx="22915389" cy="38947"/>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sp>
        <p:nvSpPr>
          <p:cNvPr id="60" name="TextBox 27">
            <a:extLst>
              <a:ext uri="{FF2B5EF4-FFF2-40B4-BE49-F238E27FC236}">
                <a16:creationId xmlns:a16="http://schemas.microsoft.com/office/drawing/2014/main" id="{43CA0528-F41E-4E8E-B64C-E284357D8C83}"/>
              </a:ext>
            </a:extLst>
          </p:cNvPr>
          <p:cNvSpPr txBox="1">
            <a:spLocks noChangeArrowheads="1"/>
          </p:cNvSpPr>
          <p:nvPr/>
        </p:nvSpPr>
        <p:spPr bwMode="auto">
          <a:xfrm>
            <a:off x="1934085" y="5266146"/>
            <a:ext cx="9455840" cy="646331"/>
          </a:xfrm>
          <a:prstGeom prst="rect">
            <a:avLst/>
          </a:prstGeom>
          <a:noFill/>
          <a:ln>
            <a:noFill/>
          </a:ln>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eaLnBrk="1" hangingPunct="1"/>
            <a:r>
              <a:rPr lang="en-US" altLang="en-US" sz="3600" dirty="0">
                <a:solidFill>
                  <a:srgbClr val="C00000"/>
                </a:solidFill>
                <a:cs typeface="Arial" panose="020B0604020202020204" pitchFamily="34" charset="0"/>
              </a:rPr>
              <a:t>Responsible   </a:t>
            </a:r>
            <a:r>
              <a:rPr lang="en-US" altLang="en-US" sz="3200" b="0" dirty="0">
                <a:cs typeface="Arial" panose="020B0604020202020204" pitchFamily="34" charset="0"/>
              </a:rPr>
              <a:t>Ingeniería (SanTec)</a:t>
            </a:r>
          </a:p>
        </p:txBody>
      </p:sp>
      <p:pic>
        <p:nvPicPr>
          <p:cNvPr id="61" name="Picture 25">
            <a:extLst>
              <a:ext uri="{FF2B5EF4-FFF2-40B4-BE49-F238E27FC236}">
                <a16:creationId xmlns:a16="http://schemas.microsoft.com/office/drawing/2014/main" id="{3DF637A4-E179-407B-B821-159898DB504F}"/>
              </a:ext>
            </a:extLst>
          </p:cNvPr>
          <p:cNvPicPr>
            <a:picLocks noChangeAspect="1"/>
          </p:cNvPicPr>
          <p:nvPr/>
        </p:nvPicPr>
        <p:blipFill>
          <a:blip r:embed="rId9">
            <a:extLst>
              <a:ext uri="{BEBA8EAE-BF5A-486C-A8C5-ECC9F3942E4B}">
                <a14:imgProps xmlns:a14="http://schemas.microsoft.com/office/drawing/2010/main">
                  <a14:imgLayer r:embed="rId10">
                    <a14:imgEffect>
                      <a14:colorTemperature colorTemp="2300"/>
                    </a14:imgEffect>
                  </a14:imgLayer>
                </a14:imgProps>
              </a:ext>
              <a:ext uri="{28A0092B-C50C-407E-A947-70E740481C1C}">
                <a14:useLocalDpi xmlns:a14="http://schemas.microsoft.com/office/drawing/2010/main" val="0"/>
              </a:ext>
            </a:extLst>
          </a:blip>
          <a:stretch>
            <a:fillRect/>
          </a:stretch>
        </p:blipFill>
        <p:spPr>
          <a:xfrm>
            <a:off x="255221" y="4554484"/>
            <a:ext cx="1817801" cy="1817801"/>
          </a:xfrm>
          <a:prstGeom prst="rect">
            <a:avLst/>
          </a:prstGeom>
        </p:spPr>
      </p:pic>
      <p:sp>
        <p:nvSpPr>
          <p:cNvPr id="67" name="Rectángulo 66">
            <a:extLst>
              <a:ext uri="{FF2B5EF4-FFF2-40B4-BE49-F238E27FC236}">
                <a16:creationId xmlns:a16="http://schemas.microsoft.com/office/drawing/2014/main" id="{5D82118D-1A16-495D-BDD2-4615268B3141}"/>
              </a:ext>
            </a:extLst>
          </p:cNvPr>
          <p:cNvSpPr/>
          <p:nvPr/>
        </p:nvSpPr>
        <p:spPr>
          <a:xfrm>
            <a:off x="3402517" y="6876299"/>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68" name="CuadroTexto 67">
            <a:extLst>
              <a:ext uri="{FF2B5EF4-FFF2-40B4-BE49-F238E27FC236}">
                <a16:creationId xmlns:a16="http://schemas.microsoft.com/office/drawing/2014/main" id="{6BBAB4A6-D11F-4671-8B20-1BC0CD362518}"/>
              </a:ext>
            </a:extLst>
          </p:cNvPr>
          <p:cNvSpPr txBox="1"/>
          <p:nvPr/>
        </p:nvSpPr>
        <p:spPr>
          <a:xfrm>
            <a:off x="3402516" y="6284344"/>
            <a:ext cx="3880600" cy="584775"/>
          </a:xfrm>
          <a:prstGeom prst="rect">
            <a:avLst/>
          </a:prstGeom>
          <a:noFill/>
        </p:spPr>
        <p:txBody>
          <a:bodyPr wrap="square" rtlCol="0">
            <a:spAutoFit/>
          </a:bodyPr>
          <a:lstStyle/>
          <a:p>
            <a:pPr algn="l"/>
            <a:r>
              <a:rPr lang="es-ES" sz="1600" b="1" dirty="0">
                <a:solidFill>
                  <a:srgbClr val="C00000"/>
                </a:solidFill>
              </a:rPr>
              <a:t>Realizar Switch de entornos de producción(</a:t>
            </a:r>
            <a:endParaRPr lang="es-ES" sz="2000" b="1" dirty="0">
              <a:solidFill>
                <a:srgbClr val="C00000"/>
              </a:solidFill>
            </a:endParaRPr>
          </a:p>
        </p:txBody>
      </p:sp>
      <p:sp>
        <p:nvSpPr>
          <p:cNvPr id="69" name="CuadroTexto 68">
            <a:extLst>
              <a:ext uri="{FF2B5EF4-FFF2-40B4-BE49-F238E27FC236}">
                <a16:creationId xmlns:a16="http://schemas.microsoft.com/office/drawing/2014/main" id="{4F6B917E-E430-4FB3-B7DA-2A9B8459A5AC}"/>
              </a:ext>
            </a:extLst>
          </p:cNvPr>
          <p:cNvSpPr txBox="1"/>
          <p:nvPr/>
        </p:nvSpPr>
        <p:spPr>
          <a:xfrm>
            <a:off x="3332294" y="7353970"/>
            <a:ext cx="5654842" cy="3385542"/>
          </a:xfrm>
          <a:prstGeom prst="rect">
            <a:avLst/>
          </a:prstGeom>
          <a:noFill/>
        </p:spPr>
        <p:txBody>
          <a:bodyPr wrap="square" rtlCol="0">
            <a:spAutoFit/>
          </a:bodyPr>
          <a:lstStyle/>
          <a:p>
            <a:pPr algn="l"/>
            <a:r>
              <a:rPr lang="en-US" altLang="en-US" sz="2000" dirty="0"/>
              <a:t>Dominio de negocio</a:t>
            </a:r>
          </a:p>
          <a:p>
            <a:pPr algn="l"/>
            <a:r>
              <a:rPr lang="en-US" altLang="en-US" sz="2000" dirty="0"/>
              <a:t>Operaciones (SanTec)</a:t>
            </a:r>
          </a:p>
          <a:p>
            <a:pPr algn="l"/>
            <a:r>
              <a:rPr lang="en-US" altLang="en-US" sz="2000" dirty="0"/>
              <a:t>Testing (SanTec)</a:t>
            </a:r>
          </a:p>
          <a:p>
            <a:pPr algn="l"/>
            <a:endParaRPr lang="en-US" altLang="en-US" sz="1800" dirty="0"/>
          </a:p>
          <a:p>
            <a:pPr algn="l"/>
            <a:endParaRPr lang="en-US" altLang="en-US" sz="1600" dirty="0"/>
          </a:p>
          <a:p>
            <a:pPr algn="l"/>
            <a:r>
              <a:rPr lang="en-US" altLang="en-US" sz="2400" dirty="0"/>
              <a:t>Ingeniería (SanTec)</a:t>
            </a:r>
          </a:p>
          <a:p>
            <a:pPr algn="l"/>
            <a:endParaRPr lang="en-US" altLang="en-US" sz="2400" dirty="0"/>
          </a:p>
          <a:p>
            <a:pPr algn="l"/>
            <a:endParaRPr lang="en-US" altLang="en-US" sz="2400" dirty="0"/>
          </a:p>
          <a:p>
            <a:pPr algn="l"/>
            <a:endParaRPr lang="en-US" altLang="en-US" sz="2400" dirty="0"/>
          </a:p>
          <a:p>
            <a:pPr algn="l"/>
            <a:r>
              <a:rPr lang="en-US" altLang="en-US" sz="2400" dirty="0"/>
              <a:t> Nivel de Servicio (SanTec)</a:t>
            </a:r>
            <a:endParaRPr lang="es-ES" sz="2400" dirty="0"/>
          </a:p>
        </p:txBody>
      </p:sp>
      <p:sp>
        <p:nvSpPr>
          <p:cNvPr id="16" name="Rectángulo 15">
            <a:extLst>
              <a:ext uri="{FF2B5EF4-FFF2-40B4-BE49-F238E27FC236}">
                <a16:creationId xmlns:a16="http://schemas.microsoft.com/office/drawing/2014/main" id="{F79B3519-4C48-48FF-84AB-DF1BF0CB557C}"/>
              </a:ext>
            </a:extLst>
          </p:cNvPr>
          <p:cNvSpPr/>
          <p:nvPr/>
        </p:nvSpPr>
        <p:spPr>
          <a:xfrm>
            <a:off x="7396998" y="6876299"/>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7" name="CuadroTexto 16">
            <a:extLst>
              <a:ext uri="{FF2B5EF4-FFF2-40B4-BE49-F238E27FC236}">
                <a16:creationId xmlns:a16="http://schemas.microsoft.com/office/drawing/2014/main" id="{3CF6B6E2-A678-443E-B156-F29C30C89505}"/>
              </a:ext>
            </a:extLst>
          </p:cNvPr>
          <p:cNvSpPr txBox="1"/>
          <p:nvPr/>
        </p:nvSpPr>
        <p:spPr>
          <a:xfrm>
            <a:off x="7396997" y="6284344"/>
            <a:ext cx="3880600" cy="584775"/>
          </a:xfrm>
          <a:prstGeom prst="rect">
            <a:avLst/>
          </a:prstGeom>
          <a:noFill/>
        </p:spPr>
        <p:txBody>
          <a:bodyPr wrap="square" rtlCol="0">
            <a:spAutoFit/>
          </a:bodyPr>
          <a:lstStyle/>
          <a:p>
            <a:pPr algn="l"/>
            <a:r>
              <a:rPr lang="es-ES" sz="1600" b="1" dirty="0">
                <a:solidFill>
                  <a:srgbClr val="C00000"/>
                </a:solidFill>
              </a:rPr>
              <a:t>Despliegue dependencias On-premise (Producción final)</a:t>
            </a:r>
          </a:p>
        </p:txBody>
      </p:sp>
      <p:sp>
        <p:nvSpPr>
          <p:cNvPr id="18" name="CuadroTexto 17">
            <a:extLst>
              <a:ext uri="{FF2B5EF4-FFF2-40B4-BE49-F238E27FC236}">
                <a16:creationId xmlns:a16="http://schemas.microsoft.com/office/drawing/2014/main" id="{34B94688-E560-4DF6-B48E-768C8C95D145}"/>
              </a:ext>
            </a:extLst>
          </p:cNvPr>
          <p:cNvSpPr txBox="1"/>
          <p:nvPr/>
        </p:nvSpPr>
        <p:spPr>
          <a:xfrm>
            <a:off x="7326775" y="7353970"/>
            <a:ext cx="5654842" cy="3046988"/>
          </a:xfrm>
          <a:prstGeom prst="rect">
            <a:avLst/>
          </a:prstGeom>
          <a:noFill/>
        </p:spPr>
        <p:txBody>
          <a:bodyPr wrap="square" rtlCol="0">
            <a:spAutoFit/>
          </a:bodyPr>
          <a:lstStyle/>
          <a:p>
            <a:pPr algn="l"/>
            <a:r>
              <a:rPr lang="en-US" altLang="en-US" sz="2400" dirty="0"/>
              <a:t>Dominio de Negocio</a:t>
            </a:r>
          </a:p>
          <a:p>
            <a:pPr algn="l"/>
            <a:endParaRPr lang="en-US" altLang="en-US" sz="2400" dirty="0"/>
          </a:p>
          <a:p>
            <a:pPr algn="l"/>
            <a:endParaRPr lang="en-US" altLang="en-US" sz="2400" dirty="0"/>
          </a:p>
          <a:p>
            <a:pPr algn="l"/>
            <a:endParaRPr lang="en-US" altLang="en-US" sz="2400" dirty="0"/>
          </a:p>
          <a:p>
            <a:pPr algn="l"/>
            <a:r>
              <a:rPr lang="en-US" altLang="en-US" sz="2400" dirty="0"/>
              <a:t>Ingeniería (SanTec)</a:t>
            </a:r>
          </a:p>
          <a:p>
            <a:pPr algn="l"/>
            <a:endParaRPr lang="en-US" altLang="en-US" sz="2400" dirty="0"/>
          </a:p>
          <a:p>
            <a:pPr algn="l"/>
            <a:endParaRPr lang="en-US" altLang="en-US" sz="2400" dirty="0"/>
          </a:p>
          <a:p>
            <a:pPr algn="l"/>
            <a:endParaRPr lang="es-ES" sz="2400" dirty="0"/>
          </a:p>
        </p:txBody>
      </p:sp>
      <p:sp>
        <p:nvSpPr>
          <p:cNvPr id="19" name="CuadroTexto 18">
            <a:extLst>
              <a:ext uri="{FF2B5EF4-FFF2-40B4-BE49-F238E27FC236}">
                <a16:creationId xmlns:a16="http://schemas.microsoft.com/office/drawing/2014/main" id="{999000D1-3F05-4BDE-9EB3-ABE2481F0545}"/>
              </a:ext>
            </a:extLst>
          </p:cNvPr>
          <p:cNvSpPr txBox="1"/>
          <p:nvPr/>
        </p:nvSpPr>
        <p:spPr>
          <a:xfrm>
            <a:off x="11429998" y="6260281"/>
            <a:ext cx="3970449" cy="338554"/>
          </a:xfrm>
          <a:prstGeom prst="rect">
            <a:avLst/>
          </a:prstGeom>
          <a:noFill/>
        </p:spPr>
        <p:txBody>
          <a:bodyPr wrap="square" rtlCol="0">
            <a:spAutoFit/>
          </a:bodyPr>
          <a:lstStyle/>
          <a:p>
            <a:pPr algn="l"/>
            <a:r>
              <a:rPr lang="es-ES" sz="1600" b="1" dirty="0">
                <a:solidFill>
                  <a:srgbClr val="C00000"/>
                </a:solidFill>
              </a:rPr>
              <a:t>Switch back del aplicativo</a:t>
            </a:r>
          </a:p>
        </p:txBody>
      </p:sp>
      <p:sp>
        <p:nvSpPr>
          <p:cNvPr id="20" name="CuadroTexto 19">
            <a:extLst>
              <a:ext uri="{FF2B5EF4-FFF2-40B4-BE49-F238E27FC236}">
                <a16:creationId xmlns:a16="http://schemas.microsoft.com/office/drawing/2014/main" id="{2B6F1D40-5F4D-4581-A268-23A088F52856}"/>
              </a:ext>
            </a:extLst>
          </p:cNvPr>
          <p:cNvSpPr txBox="1"/>
          <p:nvPr/>
        </p:nvSpPr>
        <p:spPr>
          <a:xfrm>
            <a:off x="11391050" y="7355657"/>
            <a:ext cx="5654842" cy="4524315"/>
          </a:xfrm>
          <a:prstGeom prst="rect">
            <a:avLst/>
          </a:prstGeom>
          <a:noFill/>
        </p:spPr>
        <p:txBody>
          <a:bodyPr wrap="square" rtlCol="0">
            <a:spAutoFit/>
          </a:bodyPr>
          <a:lstStyle/>
          <a:p>
            <a:pPr algn="l"/>
            <a:r>
              <a:rPr lang="en-US" altLang="en-US" sz="2400" dirty="0"/>
              <a:t>Dominio de Negocio</a:t>
            </a:r>
          </a:p>
          <a:p>
            <a:pPr algn="l"/>
            <a:endParaRPr lang="en-US" altLang="en-US" sz="2400" dirty="0"/>
          </a:p>
          <a:p>
            <a:pPr algn="l"/>
            <a:endParaRPr lang="en-US" altLang="en-US" sz="2400" dirty="0"/>
          </a:p>
          <a:p>
            <a:pPr algn="l"/>
            <a:endParaRPr lang="en-US" altLang="en-US" sz="2400" dirty="0"/>
          </a:p>
          <a:p>
            <a:pPr algn="l"/>
            <a:r>
              <a:rPr lang="en-US" altLang="en-US" sz="2400" dirty="0"/>
              <a:t>Ingeniería (SanTec)</a:t>
            </a:r>
          </a:p>
          <a:p>
            <a:pPr algn="l"/>
            <a:endParaRPr lang="es-ES" altLang="en-US" sz="2400" dirty="0"/>
          </a:p>
          <a:p>
            <a:pPr algn="l"/>
            <a:endParaRPr lang="es-ES" altLang="en-US" sz="2400" dirty="0"/>
          </a:p>
          <a:p>
            <a:pPr algn="l"/>
            <a:endParaRPr lang="es-ES" altLang="en-US" sz="2400" dirty="0"/>
          </a:p>
          <a:p>
            <a:pPr algn="l"/>
            <a:r>
              <a:rPr lang="en-US" altLang="en-US" sz="2400" dirty="0"/>
              <a:t>Nivel de Servicio (SanTec)</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p:txBody>
      </p:sp>
      <p:sp>
        <p:nvSpPr>
          <p:cNvPr id="21" name="Rectángulo 20">
            <a:extLst>
              <a:ext uri="{FF2B5EF4-FFF2-40B4-BE49-F238E27FC236}">
                <a16:creationId xmlns:a16="http://schemas.microsoft.com/office/drawing/2014/main" id="{0AF7851B-42EC-4D6D-802F-FD5359DA3242}"/>
              </a:ext>
            </a:extLst>
          </p:cNvPr>
          <p:cNvSpPr/>
          <p:nvPr/>
        </p:nvSpPr>
        <p:spPr>
          <a:xfrm>
            <a:off x="11429998" y="6882281"/>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pic>
        <p:nvPicPr>
          <p:cNvPr id="22" name="New picture">
            <a:extLst>
              <a:ext uri="{FF2B5EF4-FFF2-40B4-BE49-F238E27FC236}">
                <a16:creationId xmlns:a16="http://schemas.microsoft.com/office/drawing/2014/main" id="{B568336E-1024-4C70-BB75-CD56C57C000A}"/>
              </a:ext>
            </a:extLst>
          </p:cNvPr>
          <p:cNvPicPr/>
          <p:nvPr/>
        </p:nvPicPr>
        <p:blipFill rotWithShape="1">
          <a:blip r:embed="rId11"/>
          <a:srcRect t="8128" b="72159"/>
          <a:stretch/>
        </p:blipFill>
        <p:spPr>
          <a:xfrm>
            <a:off x="650240" y="1679449"/>
            <a:ext cx="23210614" cy="2954215"/>
          </a:xfrm>
          <a:prstGeom prst="rect">
            <a:avLst/>
          </a:prstGeom>
        </p:spPr>
      </p:pic>
    </p:spTree>
    <p:extLst>
      <p:ext uri="{BB962C8B-B14F-4D97-AF65-F5344CB8AC3E}">
        <p14:creationId xmlns:p14="http://schemas.microsoft.com/office/powerpoint/2010/main" val="7409942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Box 27">
            <a:extLst>
              <a:ext uri="{FF2B5EF4-FFF2-40B4-BE49-F238E27FC236}">
                <a16:creationId xmlns:a16="http://schemas.microsoft.com/office/drawing/2014/main" id="{05FEFBFD-B1DD-4142-BA1E-7AFF1EE456C7}"/>
              </a:ext>
            </a:extLst>
          </p:cNvPr>
          <p:cNvSpPr txBox="1">
            <a:spLocks noChangeArrowheads="1"/>
          </p:cNvSpPr>
          <p:nvPr/>
        </p:nvSpPr>
        <p:spPr bwMode="auto">
          <a:xfrm>
            <a:off x="1140883" y="7935102"/>
            <a:ext cx="1851470" cy="34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a:r>
              <a:rPr lang="en-US" sz="2000" dirty="0">
                <a:solidFill>
                  <a:srgbClr val="C00000"/>
                </a:solidFill>
                <a:cs typeface="Arial" panose="020B0604020202020204" pitchFamily="34" charset="0"/>
              </a:rPr>
              <a:t>Informed</a:t>
            </a: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r>
              <a:rPr lang="en-US" sz="2000" dirty="0">
                <a:solidFill>
                  <a:srgbClr val="C00000"/>
                </a:solidFill>
                <a:cs typeface="Arial" panose="020B0604020202020204" pitchFamily="34" charset="0"/>
              </a:rPr>
              <a:t>Accountable</a:t>
            </a: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r>
              <a:rPr lang="en-US" altLang="en-US" sz="2000" dirty="0">
                <a:solidFill>
                  <a:srgbClr val="C00000"/>
                </a:solidFill>
                <a:cs typeface="Arial" panose="020B0604020202020204" pitchFamily="34" charset="0"/>
              </a:rPr>
              <a:t>Consulted</a:t>
            </a:r>
          </a:p>
        </p:txBody>
      </p:sp>
      <p:pic>
        <p:nvPicPr>
          <p:cNvPr id="24" name="Graphic 6" descr="Handshake">
            <a:extLst>
              <a:ext uri="{FF2B5EF4-FFF2-40B4-BE49-F238E27FC236}">
                <a16:creationId xmlns:a16="http://schemas.microsoft.com/office/drawing/2014/main" id="{DACFA7A0-950A-468B-B01B-AF6675D6141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7146" y="10546135"/>
            <a:ext cx="788947" cy="788947"/>
          </a:xfrm>
          <a:prstGeom prst="rect">
            <a:avLst/>
          </a:prstGeom>
        </p:spPr>
      </p:pic>
      <p:pic>
        <p:nvPicPr>
          <p:cNvPr id="25" name="Graphic 26" descr="Research">
            <a:extLst>
              <a:ext uri="{FF2B5EF4-FFF2-40B4-BE49-F238E27FC236}">
                <a16:creationId xmlns:a16="http://schemas.microsoft.com/office/drawing/2014/main" id="{AD5B94CC-1278-483F-9E76-293EBDC3562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0876" y="8982625"/>
            <a:ext cx="741219" cy="741219"/>
          </a:xfrm>
          <a:prstGeom prst="rect">
            <a:avLst/>
          </a:prstGeom>
        </p:spPr>
      </p:pic>
      <p:pic>
        <p:nvPicPr>
          <p:cNvPr id="26" name="Graphic 34" descr="Information">
            <a:extLst>
              <a:ext uri="{FF2B5EF4-FFF2-40B4-BE49-F238E27FC236}">
                <a16:creationId xmlns:a16="http://schemas.microsoft.com/office/drawing/2014/main" id="{69F79ACC-E1B2-4D6C-B4A5-F51DA87C675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94255" y="7445529"/>
            <a:ext cx="747097" cy="747097"/>
          </a:xfrm>
          <a:prstGeom prst="rect">
            <a:avLst/>
          </a:prstGeom>
        </p:spPr>
      </p:pic>
      <p:cxnSp>
        <p:nvCxnSpPr>
          <p:cNvPr id="30" name="Conector recto 29">
            <a:extLst>
              <a:ext uri="{FF2B5EF4-FFF2-40B4-BE49-F238E27FC236}">
                <a16:creationId xmlns:a16="http://schemas.microsoft.com/office/drawing/2014/main" id="{0AC9DD93-295B-4229-8B91-B59A803AA198}"/>
              </a:ext>
            </a:extLst>
          </p:cNvPr>
          <p:cNvCxnSpPr>
            <a:cxnSpLocks/>
          </p:cNvCxnSpPr>
          <p:nvPr/>
        </p:nvCxnSpPr>
        <p:spPr>
          <a:xfrm>
            <a:off x="483686" y="8425282"/>
            <a:ext cx="23069437"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31" name="Conector recto 30">
            <a:extLst>
              <a:ext uri="{FF2B5EF4-FFF2-40B4-BE49-F238E27FC236}">
                <a16:creationId xmlns:a16="http://schemas.microsoft.com/office/drawing/2014/main" id="{799C9FFE-1CE8-48C6-9B4D-1BDB917724A4}"/>
              </a:ext>
            </a:extLst>
          </p:cNvPr>
          <p:cNvCxnSpPr>
            <a:cxnSpLocks/>
          </p:cNvCxnSpPr>
          <p:nvPr/>
        </p:nvCxnSpPr>
        <p:spPr>
          <a:xfrm>
            <a:off x="483686" y="9867955"/>
            <a:ext cx="23069437"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32" name="Conector recto 31">
            <a:extLst>
              <a:ext uri="{FF2B5EF4-FFF2-40B4-BE49-F238E27FC236}">
                <a16:creationId xmlns:a16="http://schemas.microsoft.com/office/drawing/2014/main" id="{580AF1F1-78B6-4121-9A7B-3FAC00F5FE49}"/>
              </a:ext>
            </a:extLst>
          </p:cNvPr>
          <p:cNvCxnSpPr>
            <a:cxnSpLocks/>
          </p:cNvCxnSpPr>
          <p:nvPr/>
        </p:nvCxnSpPr>
        <p:spPr>
          <a:xfrm>
            <a:off x="483686" y="11374029"/>
            <a:ext cx="23080761" cy="38948"/>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sp>
        <p:nvSpPr>
          <p:cNvPr id="43" name="TextBox 27">
            <a:extLst>
              <a:ext uri="{FF2B5EF4-FFF2-40B4-BE49-F238E27FC236}">
                <a16:creationId xmlns:a16="http://schemas.microsoft.com/office/drawing/2014/main" id="{22850E14-AA52-4DE2-85CD-2317AF094A64}"/>
              </a:ext>
            </a:extLst>
          </p:cNvPr>
          <p:cNvSpPr txBox="1">
            <a:spLocks noChangeArrowheads="1"/>
          </p:cNvSpPr>
          <p:nvPr/>
        </p:nvSpPr>
        <p:spPr bwMode="auto">
          <a:xfrm>
            <a:off x="1934085" y="5266146"/>
            <a:ext cx="8509326" cy="646331"/>
          </a:xfrm>
          <a:prstGeom prst="rect">
            <a:avLst/>
          </a:prstGeom>
          <a:noFill/>
          <a:ln>
            <a:noFill/>
          </a:ln>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eaLnBrk="1" hangingPunct="1"/>
            <a:r>
              <a:rPr lang="en-US" altLang="en-US" sz="3600" dirty="0">
                <a:solidFill>
                  <a:srgbClr val="C00000"/>
                </a:solidFill>
                <a:cs typeface="Arial" panose="020B0604020202020204" pitchFamily="34" charset="0"/>
              </a:rPr>
              <a:t>Responsible   </a:t>
            </a:r>
            <a:r>
              <a:rPr lang="en-US" altLang="en-US" sz="3200" b="0" dirty="0">
                <a:cs typeface="Arial" panose="020B0604020202020204" pitchFamily="34" charset="0"/>
              </a:rPr>
              <a:t>Testing (SanTec)</a:t>
            </a:r>
          </a:p>
        </p:txBody>
      </p:sp>
      <p:pic>
        <p:nvPicPr>
          <p:cNvPr id="48" name="Picture 25">
            <a:extLst>
              <a:ext uri="{FF2B5EF4-FFF2-40B4-BE49-F238E27FC236}">
                <a16:creationId xmlns:a16="http://schemas.microsoft.com/office/drawing/2014/main" id="{F616C507-3963-43C5-BB75-36BE0CD0037E}"/>
              </a:ext>
            </a:extLst>
          </p:cNvPr>
          <p:cNvPicPr>
            <a:picLocks noChangeAspect="1"/>
          </p:cNvPicPr>
          <p:nvPr/>
        </p:nvPicPr>
        <p:blipFill>
          <a:blip r:embed="rId9">
            <a:extLst>
              <a:ext uri="{BEBA8EAE-BF5A-486C-A8C5-ECC9F3942E4B}">
                <a14:imgProps xmlns:a14="http://schemas.microsoft.com/office/drawing/2010/main">
                  <a14:imgLayer r:embed="rId10">
                    <a14:imgEffect>
                      <a14:colorTemperature colorTemp="2300"/>
                    </a14:imgEffect>
                  </a14:imgLayer>
                </a14:imgProps>
              </a:ext>
              <a:ext uri="{28A0092B-C50C-407E-A947-70E740481C1C}">
                <a14:useLocalDpi xmlns:a14="http://schemas.microsoft.com/office/drawing/2010/main" val="0"/>
              </a:ext>
            </a:extLst>
          </a:blip>
          <a:stretch>
            <a:fillRect/>
          </a:stretch>
        </p:blipFill>
        <p:spPr>
          <a:xfrm>
            <a:off x="255221" y="4554484"/>
            <a:ext cx="1817801" cy="1817801"/>
          </a:xfrm>
          <a:prstGeom prst="rect">
            <a:avLst/>
          </a:prstGeom>
        </p:spPr>
      </p:pic>
      <p:sp>
        <p:nvSpPr>
          <p:cNvPr id="21" name="Rectángulo 20">
            <a:extLst>
              <a:ext uri="{FF2B5EF4-FFF2-40B4-BE49-F238E27FC236}">
                <a16:creationId xmlns:a16="http://schemas.microsoft.com/office/drawing/2014/main" id="{98BE303B-E355-45F7-AA5D-860540D2DF16}"/>
              </a:ext>
            </a:extLst>
          </p:cNvPr>
          <p:cNvSpPr/>
          <p:nvPr/>
        </p:nvSpPr>
        <p:spPr>
          <a:xfrm>
            <a:off x="3386474" y="6876299"/>
            <a:ext cx="4831253" cy="2408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33" name="CuadroTexto 32">
            <a:extLst>
              <a:ext uri="{FF2B5EF4-FFF2-40B4-BE49-F238E27FC236}">
                <a16:creationId xmlns:a16="http://schemas.microsoft.com/office/drawing/2014/main" id="{E28C85C4-204D-4819-8625-ADA1372223E0}"/>
              </a:ext>
            </a:extLst>
          </p:cNvPr>
          <p:cNvSpPr txBox="1"/>
          <p:nvPr/>
        </p:nvSpPr>
        <p:spPr>
          <a:xfrm>
            <a:off x="3386474" y="6260281"/>
            <a:ext cx="5029200" cy="646331"/>
          </a:xfrm>
          <a:prstGeom prst="rect">
            <a:avLst/>
          </a:prstGeom>
          <a:noFill/>
        </p:spPr>
        <p:txBody>
          <a:bodyPr wrap="square" rtlCol="0">
            <a:spAutoFit/>
          </a:bodyPr>
          <a:lstStyle/>
          <a:p>
            <a:pPr algn="l"/>
            <a:r>
              <a:rPr lang="es-ES" sz="1800" b="1" dirty="0">
                <a:solidFill>
                  <a:srgbClr val="C00000"/>
                </a:solidFill>
              </a:rPr>
              <a:t>Ejecución de pruebas funcionales manuales  (Producción oculto)</a:t>
            </a:r>
            <a:endParaRPr lang="es-ES" sz="2400" b="1" dirty="0">
              <a:solidFill>
                <a:srgbClr val="C00000"/>
              </a:solidFill>
            </a:endParaRPr>
          </a:p>
        </p:txBody>
      </p:sp>
      <p:sp>
        <p:nvSpPr>
          <p:cNvPr id="34" name="CuadroTexto 33">
            <a:extLst>
              <a:ext uri="{FF2B5EF4-FFF2-40B4-BE49-F238E27FC236}">
                <a16:creationId xmlns:a16="http://schemas.microsoft.com/office/drawing/2014/main" id="{BD53CFEC-EDD0-41AB-A19E-B7620EB801F0}"/>
              </a:ext>
            </a:extLst>
          </p:cNvPr>
          <p:cNvSpPr txBox="1"/>
          <p:nvPr/>
        </p:nvSpPr>
        <p:spPr>
          <a:xfrm>
            <a:off x="3386474" y="7352283"/>
            <a:ext cx="5654842" cy="4154984"/>
          </a:xfrm>
          <a:prstGeom prst="rect">
            <a:avLst/>
          </a:prstGeom>
          <a:noFill/>
        </p:spPr>
        <p:txBody>
          <a:bodyPr wrap="square" rtlCol="0">
            <a:spAutoFit/>
          </a:bodyPr>
          <a:lstStyle/>
          <a:p>
            <a:pPr algn="l"/>
            <a:r>
              <a:rPr lang="en-US" altLang="en-US" sz="2400" dirty="0"/>
              <a:t>Nivel de servicio (SanTec)</a:t>
            </a:r>
          </a:p>
          <a:p>
            <a:pPr algn="l"/>
            <a:r>
              <a:rPr lang="en-US" altLang="en-US" sz="2400" dirty="0"/>
              <a:t>Ingeniería (SanTec)</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r>
              <a:rPr lang="es-ES" sz="2400" dirty="0"/>
              <a:t>Testing (SanTec)</a:t>
            </a:r>
            <a:r>
              <a:rPr lang="en-US" altLang="en-US" sz="2400" dirty="0"/>
              <a:t> </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endParaRPr lang="en-US" altLang="en-US" sz="2400" dirty="0"/>
          </a:p>
          <a:p>
            <a:pPr algn="l"/>
            <a:r>
              <a:rPr lang="en-US" altLang="en-US" sz="2400" dirty="0"/>
              <a:t>Dominio de Negocio</a:t>
            </a:r>
          </a:p>
          <a:p>
            <a:pPr algn="l"/>
            <a:endParaRPr lang="en-US" altLang="en-US" sz="2400" dirty="0"/>
          </a:p>
          <a:p>
            <a:pPr algn="l"/>
            <a:r>
              <a:rPr lang="es-ES" sz="2400" dirty="0"/>
              <a:t> </a:t>
            </a:r>
            <a:r>
              <a:rPr lang="en-US" altLang="en-US" sz="2400" dirty="0"/>
              <a:t> </a:t>
            </a:r>
            <a:endParaRPr lang="es-ES" sz="2400" dirty="0"/>
          </a:p>
        </p:txBody>
      </p:sp>
      <p:sp>
        <p:nvSpPr>
          <p:cNvPr id="35" name="Rectángulo 34">
            <a:extLst>
              <a:ext uri="{FF2B5EF4-FFF2-40B4-BE49-F238E27FC236}">
                <a16:creationId xmlns:a16="http://schemas.microsoft.com/office/drawing/2014/main" id="{AAD15D3A-B593-48E6-AF9F-DC10656977FD}"/>
              </a:ext>
            </a:extLst>
          </p:cNvPr>
          <p:cNvSpPr/>
          <p:nvPr/>
        </p:nvSpPr>
        <p:spPr>
          <a:xfrm>
            <a:off x="8457369" y="6876299"/>
            <a:ext cx="4831253" cy="2408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36" name="CuadroTexto 35">
            <a:extLst>
              <a:ext uri="{FF2B5EF4-FFF2-40B4-BE49-F238E27FC236}">
                <a16:creationId xmlns:a16="http://schemas.microsoft.com/office/drawing/2014/main" id="{B3DAE126-2A09-4E9D-9067-DC1B41ECAD0B}"/>
              </a:ext>
            </a:extLst>
          </p:cNvPr>
          <p:cNvSpPr txBox="1"/>
          <p:nvPr/>
        </p:nvSpPr>
        <p:spPr>
          <a:xfrm>
            <a:off x="8457369" y="6260281"/>
            <a:ext cx="5029200" cy="646331"/>
          </a:xfrm>
          <a:prstGeom prst="rect">
            <a:avLst/>
          </a:prstGeom>
          <a:noFill/>
        </p:spPr>
        <p:txBody>
          <a:bodyPr wrap="square" rtlCol="0">
            <a:spAutoFit/>
          </a:bodyPr>
          <a:lstStyle/>
          <a:p>
            <a:pPr algn="l"/>
            <a:r>
              <a:rPr lang="es-ES" sz="1800" b="1" dirty="0">
                <a:solidFill>
                  <a:srgbClr val="C00000"/>
                </a:solidFill>
              </a:rPr>
              <a:t>Ejecución de pruebas de rendimiento manuales en Producción final</a:t>
            </a:r>
            <a:endParaRPr lang="es-ES" sz="2400" b="1" dirty="0">
              <a:solidFill>
                <a:srgbClr val="C00000"/>
              </a:solidFill>
            </a:endParaRPr>
          </a:p>
        </p:txBody>
      </p:sp>
      <p:sp>
        <p:nvSpPr>
          <p:cNvPr id="38" name="Rectángulo 37">
            <a:extLst>
              <a:ext uri="{FF2B5EF4-FFF2-40B4-BE49-F238E27FC236}">
                <a16:creationId xmlns:a16="http://schemas.microsoft.com/office/drawing/2014/main" id="{71A98330-4352-46D0-944E-FDE040643467}"/>
              </a:ext>
            </a:extLst>
          </p:cNvPr>
          <p:cNvSpPr/>
          <p:nvPr/>
        </p:nvSpPr>
        <p:spPr>
          <a:xfrm>
            <a:off x="13496308" y="6902422"/>
            <a:ext cx="4831253" cy="2408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39" name="CuadroTexto 38">
            <a:extLst>
              <a:ext uri="{FF2B5EF4-FFF2-40B4-BE49-F238E27FC236}">
                <a16:creationId xmlns:a16="http://schemas.microsoft.com/office/drawing/2014/main" id="{222F100E-A980-43F9-B1E3-0D2B6BA326FA}"/>
              </a:ext>
            </a:extLst>
          </p:cNvPr>
          <p:cNvSpPr txBox="1"/>
          <p:nvPr/>
        </p:nvSpPr>
        <p:spPr>
          <a:xfrm>
            <a:off x="13496308" y="6286404"/>
            <a:ext cx="5029200" cy="646331"/>
          </a:xfrm>
          <a:prstGeom prst="rect">
            <a:avLst/>
          </a:prstGeom>
          <a:noFill/>
        </p:spPr>
        <p:txBody>
          <a:bodyPr wrap="square" rtlCol="0">
            <a:spAutoFit/>
          </a:bodyPr>
          <a:lstStyle/>
          <a:p>
            <a:pPr algn="l"/>
            <a:r>
              <a:rPr lang="es-ES" sz="1800" b="1" dirty="0">
                <a:solidFill>
                  <a:srgbClr val="C00000"/>
                </a:solidFill>
              </a:rPr>
              <a:t>Ejecución de pruebas funcionales manuales (Producción final)</a:t>
            </a:r>
            <a:endParaRPr lang="es-ES" sz="2400" b="1" dirty="0">
              <a:solidFill>
                <a:srgbClr val="C00000"/>
              </a:solidFill>
            </a:endParaRPr>
          </a:p>
        </p:txBody>
      </p:sp>
      <p:sp>
        <p:nvSpPr>
          <p:cNvPr id="47" name="CuadroTexto 46">
            <a:extLst>
              <a:ext uri="{FF2B5EF4-FFF2-40B4-BE49-F238E27FC236}">
                <a16:creationId xmlns:a16="http://schemas.microsoft.com/office/drawing/2014/main" id="{AE9C4859-2519-40D5-9236-20180EC6A00A}"/>
              </a:ext>
            </a:extLst>
          </p:cNvPr>
          <p:cNvSpPr txBox="1"/>
          <p:nvPr/>
        </p:nvSpPr>
        <p:spPr>
          <a:xfrm>
            <a:off x="8444506" y="7354256"/>
            <a:ext cx="5654842" cy="3416320"/>
          </a:xfrm>
          <a:prstGeom prst="rect">
            <a:avLst/>
          </a:prstGeom>
          <a:noFill/>
        </p:spPr>
        <p:txBody>
          <a:bodyPr wrap="square" rtlCol="0">
            <a:spAutoFit/>
          </a:bodyPr>
          <a:lstStyle/>
          <a:p>
            <a:pPr algn="l"/>
            <a:r>
              <a:rPr lang="en-US" altLang="en-US" sz="2400" dirty="0"/>
              <a:t>Dominio de Negocio</a:t>
            </a:r>
          </a:p>
          <a:p>
            <a:pPr algn="l"/>
            <a:r>
              <a:rPr lang="en-US" altLang="en-US" sz="2400" dirty="0"/>
              <a:t>Ingeniería (SanTec)</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r>
              <a:rPr lang="es-ES" sz="2400" dirty="0"/>
              <a:t>Testing (SanTec)</a:t>
            </a:r>
            <a:r>
              <a:rPr lang="en-US" altLang="en-US" sz="2400" dirty="0"/>
              <a:t> </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endParaRPr lang="en-US" altLang="en-US" sz="2400" dirty="0"/>
          </a:p>
          <a:p>
            <a:pPr algn="l"/>
            <a:r>
              <a:rPr lang="en-US" altLang="en-US" sz="2400" dirty="0"/>
              <a:t> </a:t>
            </a:r>
            <a:endParaRPr lang="es-ES" sz="2400" dirty="0"/>
          </a:p>
        </p:txBody>
      </p:sp>
      <p:sp>
        <p:nvSpPr>
          <p:cNvPr id="27" name="TextBox 1">
            <a:extLst>
              <a:ext uri="{FF2B5EF4-FFF2-40B4-BE49-F238E27FC236}">
                <a16:creationId xmlns:a16="http://schemas.microsoft.com/office/drawing/2014/main" id="{3A7E062D-BAB0-4200-9FA7-AD3762A0F75E}"/>
              </a:ext>
            </a:extLst>
          </p:cNvPr>
          <p:cNvSpPr txBox="1"/>
          <p:nvPr/>
        </p:nvSpPr>
        <p:spPr>
          <a:xfrm>
            <a:off x="650240" y="541319"/>
            <a:ext cx="22611504" cy="1569660"/>
          </a:xfrm>
          <a:prstGeom prst="rect">
            <a:avLst/>
          </a:prstGeom>
          <a:noFill/>
        </p:spPr>
        <p:txBody>
          <a:bodyPr wrap="square" rtlCol="0" anchor="t">
            <a:spAutoFit/>
          </a:bodyPr>
          <a:lstStyle/>
          <a:p>
            <a:pPr algn="l"/>
            <a:r>
              <a:rPr lang="en-GB" sz="4000" b="1" kern="1200" dirty="0">
                <a:solidFill>
                  <a:srgbClr val="C00000"/>
                </a:solidFill>
                <a:cs typeface="Arial"/>
              </a:rPr>
              <a:t>CI / CD de releases</a:t>
            </a:r>
            <a:r>
              <a:rPr lang="en-US" sz="4000" b="1" kern="1200" dirty="0">
                <a:solidFill>
                  <a:srgbClr val="C00000"/>
                </a:solidFill>
              </a:rPr>
              <a:t>  </a:t>
            </a:r>
            <a:r>
              <a:rPr lang="en-GB" sz="2800" kern="1200" dirty="0">
                <a:solidFill>
                  <a:srgbClr val="C00000"/>
                </a:solidFill>
              </a:rPr>
              <a:t>Despliegue &amp; Empaquetado de Releases</a:t>
            </a:r>
          </a:p>
          <a:p>
            <a:pPr algn="l"/>
            <a:r>
              <a:rPr lang="es-ES" altLang="en-US" sz="2800" kern="1200" dirty="0">
                <a:solidFill>
                  <a:schemeClr val="tx1"/>
                </a:solidFill>
              </a:rPr>
              <a:t>Vista de Procesos</a:t>
            </a:r>
            <a:endParaRPr lang="en-US" altLang="en-US" sz="2800" kern="1200" dirty="0">
              <a:solidFill>
                <a:schemeClr val="tx1"/>
              </a:solidFill>
            </a:endParaRPr>
          </a:p>
          <a:p>
            <a:pPr algn="l"/>
            <a:endParaRPr lang="en-US" altLang="en-US" sz="2800" kern="1200" dirty="0">
              <a:solidFill>
                <a:srgbClr val="C00000"/>
              </a:solidFill>
              <a:latin typeface="IBM Plex Sans"/>
            </a:endParaRPr>
          </a:p>
        </p:txBody>
      </p:sp>
      <p:sp>
        <p:nvSpPr>
          <p:cNvPr id="40" name="Rectangle 2">
            <a:extLst>
              <a:ext uri="{FF2B5EF4-FFF2-40B4-BE49-F238E27FC236}">
                <a16:creationId xmlns:a16="http://schemas.microsoft.com/office/drawing/2014/main" id="{C34A1897-EBDC-45A7-A06D-D4CFC124117D}"/>
              </a:ext>
            </a:extLst>
          </p:cNvPr>
          <p:cNvSpPr>
            <a:spLocks noChangeArrowheads="1"/>
          </p:cNvSpPr>
          <p:nvPr/>
        </p:nvSpPr>
        <p:spPr bwMode="auto">
          <a:xfrm>
            <a:off x="8457369" y="11795435"/>
            <a:ext cx="2874998"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altLang="es-ES" sz="1600" b="0" i="0" u="sng" strike="noStrike" cap="none" normalizeH="0" baseline="0" dirty="0">
                <a:ln>
                  <a:noFill/>
                </a:ln>
                <a:solidFill>
                  <a:schemeClr val="tx1"/>
                </a:solidFill>
                <a:effectLst/>
                <a:latin typeface="Arial" panose="020B0604020202020204" pitchFamily="34" charset="0"/>
              </a:rPr>
              <a:t>Delegados:</a:t>
            </a:r>
            <a:endParaRPr kumimoji="0" lang="es-ES" altLang="es-ES" sz="16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s-ES" altLang="es-ES" sz="1600" dirty="0">
              <a:solidFill>
                <a:schemeClr val="tx1"/>
              </a:solidFill>
              <a:latin typeface="Arial" panose="020B0604020202020204" pitchFamily="34" charset="0"/>
            </a:endParaRPr>
          </a:p>
          <a:p>
            <a:pPr lvl="3" algn="l" defTabSz="914400" eaLnBrk="0" fontAlgn="base">
              <a:spcBef>
                <a:spcPct val="0"/>
              </a:spcBef>
              <a:spcAft>
                <a:spcPct val="0"/>
              </a:spcAft>
            </a:pPr>
            <a:r>
              <a:rPr kumimoji="0" lang="es-ES" altLang="es-ES" sz="1600" b="0" i="0" u="none" strike="noStrike" cap="none" normalizeH="0" baseline="0" dirty="0">
                <a:ln>
                  <a:noFill/>
                </a:ln>
                <a:solidFill>
                  <a:schemeClr val="tx1"/>
                </a:solidFill>
                <a:effectLst/>
                <a:latin typeface="Arial" panose="020B0604020202020204" pitchFamily="34" charset="0"/>
              </a:rPr>
              <a:t>          Rendimiento (SGT)</a:t>
            </a:r>
            <a:endParaRPr kumimoji="0" lang="es-ES" altLang="es-ES" sz="1800" b="0" i="0" u="none" strike="noStrike" cap="none" normalizeH="0" baseline="0" dirty="0">
              <a:ln>
                <a:noFill/>
              </a:ln>
              <a:solidFill>
                <a:schemeClr val="tx1"/>
              </a:solidFill>
              <a:effectLst/>
              <a:latin typeface="Arial" panose="020B0604020202020204" pitchFamily="34" charset="0"/>
            </a:endParaRPr>
          </a:p>
        </p:txBody>
      </p:sp>
      <p:pic>
        <p:nvPicPr>
          <p:cNvPr id="44" name="Picture 25">
            <a:extLst>
              <a:ext uri="{FF2B5EF4-FFF2-40B4-BE49-F238E27FC236}">
                <a16:creationId xmlns:a16="http://schemas.microsoft.com/office/drawing/2014/main" id="{C5D04F09-D5B9-4658-92B8-5F37A583BAC1}"/>
              </a:ext>
            </a:extLst>
          </p:cNvPr>
          <p:cNvPicPr>
            <a:picLocks noChangeAspect="1"/>
          </p:cNvPicPr>
          <p:nvPr/>
        </p:nvPicPr>
        <p:blipFill>
          <a:blip r:embed="rId9">
            <a:extLst>
              <a:ext uri="{BEBA8EAE-BF5A-486C-A8C5-ECC9F3942E4B}">
                <a14:imgProps xmlns:a14="http://schemas.microsoft.com/office/drawing/2010/main">
                  <a14:imgLayer r:embed="rId10">
                    <a14:imgEffect>
                      <a14:colorTemperature colorTemp="2300"/>
                    </a14:imgEffect>
                  </a14:imgLayer>
                </a14:imgProps>
              </a:ext>
              <a:ext uri="{28A0092B-C50C-407E-A947-70E740481C1C}">
                <a14:useLocalDpi xmlns:a14="http://schemas.microsoft.com/office/drawing/2010/main" val="0"/>
              </a:ext>
            </a:extLst>
          </a:blip>
          <a:stretch>
            <a:fillRect/>
          </a:stretch>
        </p:blipFill>
        <p:spPr>
          <a:xfrm>
            <a:off x="1117247" y="11634775"/>
            <a:ext cx="947290" cy="947290"/>
          </a:xfrm>
          <a:prstGeom prst="rect">
            <a:avLst/>
          </a:prstGeom>
        </p:spPr>
      </p:pic>
      <p:sp>
        <p:nvSpPr>
          <p:cNvPr id="37" name="Rectangle 2">
            <a:extLst>
              <a:ext uri="{FF2B5EF4-FFF2-40B4-BE49-F238E27FC236}">
                <a16:creationId xmlns:a16="http://schemas.microsoft.com/office/drawing/2014/main" id="{745EFABA-F0D5-416F-B818-C0FB09D835C3}"/>
              </a:ext>
            </a:extLst>
          </p:cNvPr>
          <p:cNvSpPr>
            <a:spLocks noChangeArrowheads="1"/>
          </p:cNvSpPr>
          <p:nvPr/>
        </p:nvSpPr>
        <p:spPr bwMode="auto">
          <a:xfrm>
            <a:off x="3467925" y="11746744"/>
            <a:ext cx="2874998"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altLang="es-ES" sz="1600" b="0" i="0" u="sng" strike="noStrike" cap="none" normalizeH="0" baseline="0" dirty="0">
                <a:ln>
                  <a:noFill/>
                </a:ln>
                <a:solidFill>
                  <a:schemeClr val="tx1"/>
                </a:solidFill>
                <a:effectLst/>
                <a:latin typeface="Arial" panose="020B0604020202020204" pitchFamily="34" charset="0"/>
              </a:rPr>
              <a:t>Delegados:</a:t>
            </a:r>
            <a:endParaRPr kumimoji="0" lang="es-ES" altLang="es-ES" sz="16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s-ES" altLang="es-ES" sz="1600" dirty="0">
              <a:solidFill>
                <a:schemeClr val="tx1"/>
              </a:solidFill>
              <a:latin typeface="Arial" panose="020B0604020202020204" pitchFamily="34" charset="0"/>
            </a:endParaRPr>
          </a:p>
          <a:p>
            <a:pPr lvl="3" algn="l" defTabSz="914400" eaLnBrk="0" fontAlgn="base">
              <a:spcBef>
                <a:spcPct val="0"/>
              </a:spcBef>
              <a:spcAft>
                <a:spcPct val="0"/>
              </a:spcAft>
            </a:pPr>
            <a:r>
              <a:rPr kumimoji="0" lang="es-ES" altLang="es-ES" sz="1600" b="0" i="0" u="none" strike="noStrike" cap="none" normalizeH="0" baseline="0" dirty="0">
                <a:ln>
                  <a:noFill/>
                </a:ln>
                <a:solidFill>
                  <a:schemeClr val="tx1"/>
                </a:solidFill>
                <a:effectLst/>
                <a:latin typeface="Arial" panose="020B0604020202020204" pitchFamily="34" charset="0"/>
              </a:rPr>
              <a:t>          Operaciones (SanTec)</a:t>
            </a:r>
            <a:endParaRPr kumimoji="0" lang="es-ES" altLang="es-ES" sz="1800" b="0" i="0" u="none" strike="noStrike" cap="none" normalizeH="0" baseline="0" dirty="0">
              <a:ln>
                <a:noFill/>
              </a:ln>
              <a:solidFill>
                <a:schemeClr val="tx1"/>
              </a:solidFill>
              <a:effectLst/>
              <a:latin typeface="Arial" panose="020B0604020202020204" pitchFamily="34" charset="0"/>
            </a:endParaRPr>
          </a:p>
        </p:txBody>
      </p:sp>
      <p:sp>
        <p:nvSpPr>
          <p:cNvPr id="45" name="CuadroTexto 44">
            <a:extLst>
              <a:ext uri="{FF2B5EF4-FFF2-40B4-BE49-F238E27FC236}">
                <a16:creationId xmlns:a16="http://schemas.microsoft.com/office/drawing/2014/main" id="{0C0BD3D0-4E90-47CF-BD53-0AC112ECF58F}"/>
              </a:ext>
            </a:extLst>
          </p:cNvPr>
          <p:cNvSpPr txBox="1"/>
          <p:nvPr/>
        </p:nvSpPr>
        <p:spPr>
          <a:xfrm>
            <a:off x="13502538" y="7352283"/>
            <a:ext cx="5654842" cy="4154984"/>
          </a:xfrm>
          <a:prstGeom prst="rect">
            <a:avLst/>
          </a:prstGeom>
          <a:noFill/>
        </p:spPr>
        <p:txBody>
          <a:bodyPr wrap="square" rtlCol="0">
            <a:spAutoFit/>
          </a:bodyPr>
          <a:lstStyle/>
          <a:p>
            <a:pPr algn="l"/>
            <a:r>
              <a:rPr lang="en-US" altLang="en-US" sz="2400" dirty="0"/>
              <a:t>Nivel de servicio (SanTec)</a:t>
            </a:r>
          </a:p>
          <a:p>
            <a:pPr algn="l"/>
            <a:r>
              <a:rPr lang="en-US" altLang="en-US" sz="2400" dirty="0"/>
              <a:t>Ingeniería (SanTec)</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r>
              <a:rPr lang="es-ES" sz="2400" dirty="0"/>
              <a:t>Testing (SanTec)</a:t>
            </a:r>
            <a:r>
              <a:rPr lang="en-US" altLang="en-US" sz="2400" dirty="0"/>
              <a:t> </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endParaRPr lang="en-US" altLang="en-US" sz="2400" dirty="0"/>
          </a:p>
          <a:p>
            <a:pPr algn="l"/>
            <a:r>
              <a:rPr lang="en-US" altLang="en-US" sz="2400" dirty="0"/>
              <a:t>Dominio de Negocio</a:t>
            </a:r>
          </a:p>
          <a:p>
            <a:pPr algn="l"/>
            <a:endParaRPr lang="en-US" altLang="en-US" sz="2400" dirty="0"/>
          </a:p>
          <a:p>
            <a:pPr algn="l"/>
            <a:r>
              <a:rPr lang="es-ES" sz="2400" dirty="0"/>
              <a:t> </a:t>
            </a:r>
            <a:r>
              <a:rPr lang="en-US" altLang="en-US" sz="2400" dirty="0"/>
              <a:t> </a:t>
            </a:r>
            <a:endParaRPr lang="es-ES" sz="2400" dirty="0"/>
          </a:p>
        </p:txBody>
      </p:sp>
      <p:sp>
        <p:nvSpPr>
          <p:cNvPr id="46" name="Rectangle 2">
            <a:extLst>
              <a:ext uri="{FF2B5EF4-FFF2-40B4-BE49-F238E27FC236}">
                <a16:creationId xmlns:a16="http://schemas.microsoft.com/office/drawing/2014/main" id="{3CBDE223-5D07-4A97-8612-AD0A759C17A1}"/>
              </a:ext>
            </a:extLst>
          </p:cNvPr>
          <p:cNvSpPr>
            <a:spLocks noChangeArrowheads="1"/>
          </p:cNvSpPr>
          <p:nvPr/>
        </p:nvSpPr>
        <p:spPr bwMode="auto">
          <a:xfrm>
            <a:off x="13496308" y="11746744"/>
            <a:ext cx="2874998"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altLang="es-ES" sz="1600" b="0" i="0" u="sng" strike="noStrike" cap="none" normalizeH="0" baseline="0" dirty="0">
                <a:ln>
                  <a:noFill/>
                </a:ln>
                <a:solidFill>
                  <a:schemeClr val="tx1"/>
                </a:solidFill>
                <a:effectLst/>
                <a:latin typeface="Arial" panose="020B0604020202020204" pitchFamily="34" charset="0"/>
              </a:rPr>
              <a:t>Delegados:</a:t>
            </a:r>
            <a:endParaRPr kumimoji="0" lang="es-ES" altLang="es-ES" sz="16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s-ES" altLang="es-ES" sz="1600" dirty="0">
              <a:solidFill>
                <a:schemeClr val="tx1"/>
              </a:solidFill>
              <a:latin typeface="Arial" panose="020B0604020202020204" pitchFamily="34" charset="0"/>
            </a:endParaRPr>
          </a:p>
          <a:p>
            <a:pPr lvl="3" algn="l" defTabSz="914400" eaLnBrk="0" fontAlgn="base">
              <a:spcBef>
                <a:spcPct val="0"/>
              </a:spcBef>
              <a:spcAft>
                <a:spcPct val="0"/>
              </a:spcAft>
            </a:pPr>
            <a:r>
              <a:rPr kumimoji="0" lang="es-ES" altLang="es-ES" sz="1600" b="0" i="0" u="none" strike="noStrike" cap="none" normalizeH="0" baseline="0" dirty="0">
                <a:ln>
                  <a:noFill/>
                </a:ln>
                <a:solidFill>
                  <a:schemeClr val="tx1"/>
                </a:solidFill>
                <a:effectLst/>
                <a:latin typeface="Arial" panose="020B0604020202020204" pitchFamily="34" charset="0"/>
              </a:rPr>
              <a:t>          Operaciones (SanTec)</a:t>
            </a:r>
            <a:endParaRPr kumimoji="0" lang="es-ES" altLang="es-ES" sz="1800" b="0" i="0" u="none" strike="noStrike" cap="none" normalizeH="0" baseline="0" dirty="0">
              <a:ln>
                <a:noFill/>
              </a:ln>
              <a:solidFill>
                <a:schemeClr val="tx1"/>
              </a:solidFill>
              <a:effectLst/>
              <a:latin typeface="Arial" panose="020B0604020202020204" pitchFamily="34" charset="0"/>
            </a:endParaRPr>
          </a:p>
        </p:txBody>
      </p:sp>
      <p:pic>
        <p:nvPicPr>
          <p:cNvPr id="29" name="New picture">
            <a:extLst>
              <a:ext uri="{FF2B5EF4-FFF2-40B4-BE49-F238E27FC236}">
                <a16:creationId xmlns:a16="http://schemas.microsoft.com/office/drawing/2014/main" id="{2657A8CC-7CBB-4956-AA02-33F0C29BFD37}"/>
              </a:ext>
            </a:extLst>
          </p:cNvPr>
          <p:cNvPicPr/>
          <p:nvPr/>
        </p:nvPicPr>
        <p:blipFill rotWithShape="1">
          <a:blip r:embed="rId11"/>
          <a:srcRect t="27020" b="66174"/>
          <a:stretch/>
        </p:blipFill>
        <p:spPr>
          <a:xfrm>
            <a:off x="650240" y="2493437"/>
            <a:ext cx="23210614" cy="1019907"/>
          </a:xfrm>
          <a:prstGeom prst="rect">
            <a:avLst/>
          </a:prstGeom>
        </p:spPr>
      </p:pic>
    </p:spTree>
    <p:extLst>
      <p:ext uri="{BB962C8B-B14F-4D97-AF65-F5344CB8AC3E}">
        <p14:creationId xmlns:p14="http://schemas.microsoft.com/office/powerpoint/2010/main" val="5144948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27">
            <a:extLst>
              <a:ext uri="{FF2B5EF4-FFF2-40B4-BE49-F238E27FC236}">
                <a16:creationId xmlns:a16="http://schemas.microsoft.com/office/drawing/2014/main" id="{1BFA4DE6-C377-4932-A41F-33465DCCECA0}"/>
              </a:ext>
            </a:extLst>
          </p:cNvPr>
          <p:cNvSpPr txBox="1">
            <a:spLocks noChangeArrowheads="1"/>
          </p:cNvSpPr>
          <p:nvPr/>
        </p:nvSpPr>
        <p:spPr bwMode="auto">
          <a:xfrm>
            <a:off x="1934085" y="5266146"/>
            <a:ext cx="9303410" cy="646331"/>
          </a:xfrm>
          <a:prstGeom prst="rect">
            <a:avLst/>
          </a:prstGeom>
          <a:noFill/>
          <a:ln>
            <a:noFill/>
          </a:ln>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eaLnBrk="1" hangingPunct="1"/>
            <a:r>
              <a:rPr lang="en-US" altLang="en-US" sz="3600" dirty="0">
                <a:solidFill>
                  <a:srgbClr val="C00000"/>
                </a:solidFill>
                <a:cs typeface="Arial" panose="020B0604020202020204" pitchFamily="34" charset="0"/>
              </a:rPr>
              <a:t>Responsible   </a:t>
            </a:r>
            <a:r>
              <a:rPr lang="en-US" altLang="en-US" sz="3200" b="0" dirty="0">
                <a:cs typeface="Arial" panose="020B0604020202020204" pitchFamily="34" charset="0"/>
              </a:rPr>
              <a:t>Nivel de servicio (SanTec)</a:t>
            </a:r>
          </a:p>
        </p:txBody>
      </p:sp>
      <p:sp>
        <p:nvSpPr>
          <p:cNvPr id="5" name="TextBox 27">
            <a:extLst>
              <a:ext uri="{FF2B5EF4-FFF2-40B4-BE49-F238E27FC236}">
                <a16:creationId xmlns:a16="http://schemas.microsoft.com/office/drawing/2014/main" id="{05BBF2A4-2064-457D-A5EE-A157BD414E4D}"/>
              </a:ext>
            </a:extLst>
          </p:cNvPr>
          <p:cNvSpPr txBox="1">
            <a:spLocks noChangeArrowheads="1"/>
          </p:cNvSpPr>
          <p:nvPr/>
        </p:nvSpPr>
        <p:spPr bwMode="auto">
          <a:xfrm>
            <a:off x="1140883" y="7935102"/>
            <a:ext cx="1851470" cy="34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a:r>
              <a:rPr lang="en-US" sz="2000" dirty="0">
                <a:solidFill>
                  <a:srgbClr val="C00000"/>
                </a:solidFill>
                <a:cs typeface="Arial" panose="020B0604020202020204" pitchFamily="34" charset="0"/>
              </a:rPr>
              <a:t>Informed</a:t>
            </a: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r>
              <a:rPr lang="en-US" sz="2000" dirty="0">
                <a:solidFill>
                  <a:srgbClr val="C00000"/>
                </a:solidFill>
                <a:cs typeface="Arial" panose="020B0604020202020204" pitchFamily="34" charset="0"/>
              </a:rPr>
              <a:t>Accountable</a:t>
            </a: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r>
              <a:rPr lang="en-US" altLang="en-US" sz="2000" dirty="0">
                <a:solidFill>
                  <a:srgbClr val="C00000"/>
                </a:solidFill>
                <a:cs typeface="Arial" panose="020B0604020202020204" pitchFamily="34" charset="0"/>
              </a:rPr>
              <a:t>Consulted</a:t>
            </a:r>
          </a:p>
        </p:txBody>
      </p:sp>
      <p:pic>
        <p:nvPicPr>
          <p:cNvPr id="6" name="Picture 25">
            <a:extLst>
              <a:ext uri="{FF2B5EF4-FFF2-40B4-BE49-F238E27FC236}">
                <a16:creationId xmlns:a16="http://schemas.microsoft.com/office/drawing/2014/main" id="{FF3D788C-511A-4754-A0E3-04B02CB2BAE8}"/>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2300"/>
                    </a14:imgEffect>
                  </a14:imgLayer>
                </a14:imgProps>
              </a:ext>
              <a:ext uri="{28A0092B-C50C-407E-A947-70E740481C1C}">
                <a14:useLocalDpi xmlns:a14="http://schemas.microsoft.com/office/drawing/2010/main" val="0"/>
              </a:ext>
            </a:extLst>
          </a:blip>
          <a:stretch>
            <a:fillRect/>
          </a:stretch>
        </p:blipFill>
        <p:spPr>
          <a:xfrm>
            <a:off x="255221" y="4554484"/>
            <a:ext cx="1817801" cy="1817801"/>
          </a:xfrm>
          <a:prstGeom prst="rect">
            <a:avLst/>
          </a:prstGeom>
        </p:spPr>
      </p:pic>
      <p:pic>
        <p:nvPicPr>
          <p:cNvPr id="7" name="Graphic 6" descr="Handshake">
            <a:extLst>
              <a:ext uri="{FF2B5EF4-FFF2-40B4-BE49-F238E27FC236}">
                <a16:creationId xmlns:a16="http://schemas.microsoft.com/office/drawing/2014/main" id="{BCB3B76B-42EB-4DFC-ACF8-48818DD3B30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7146" y="10546135"/>
            <a:ext cx="788947" cy="788947"/>
          </a:xfrm>
          <a:prstGeom prst="rect">
            <a:avLst/>
          </a:prstGeom>
        </p:spPr>
      </p:pic>
      <p:pic>
        <p:nvPicPr>
          <p:cNvPr id="9" name="Graphic 26" descr="Research">
            <a:extLst>
              <a:ext uri="{FF2B5EF4-FFF2-40B4-BE49-F238E27FC236}">
                <a16:creationId xmlns:a16="http://schemas.microsoft.com/office/drawing/2014/main" id="{72110FCE-EF7E-40F7-9479-2BBB051CD49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0876" y="8982625"/>
            <a:ext cx="741219" cy="741219"/>
          </a:xfrm>
          <a:prstGeom prst="rect">
            <a:avLst/>
          </a:prstGeom>
        </p:spPr>
      </p:pic>
      <p:pic>
        <p:nvPicPr>
          <p:cNvPr id="10" name="Graphic 34" descr="Information">
            <a:extLst>
              <a:ext uri="{FF2B5EF4-FFF2-40B4-BE49-F238E27FC236}">
                <a16:creationId xmlns:a16="http://schemas.microsoft.com/office/drawing/2014/main" id="{104CC24D-3CCB-4522-8C25-296A94550D3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94255" y="7445529"/>
            <a:ext cx="747097" cy="747097"/>
          </a:xfrm>
          <a:prstGeom prst="rect">
            <a:avLst/>
          </a:prstGeom>
        </p:spPr>
      </p:pic>
      <p:sp>
        <p:nvSpPr>
          <p:cNvPr id="11" name="Rectángulo 10">
            <a:extLst>
              <a:ext uri="{FF2B5EF4-FFF2-40B4-BE49-F238E27FC236}">
                <a16:creationId xmlns:a16="http://schemas.microsoft.com/office/drawing/2014/main" id="{855F0D00-423E-4A3E-B986-06F06898C002}"/>
              </a:ext>
            </a:extLst>
          </p:cNvPr>
          <p:cNvSpPr/>
          <p:nvPr/>
        </p:nvSpPr>
        <p:spPr>
          <a:xfrm>
            <a:off x="3386474" y="6876299"/>
            <a:ext cx="4831253" cy="2408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2" name="CuadroTexto 11">
            <a:extLst>
              <a:ext uri="{FF2B5EF4-FFF2-40B4-BE49-F238E27FC236}">
                <a16:creationId xmlns:a16="http://schemas.microsoft.com/office/drawing/2014/main" id="{1E310FBE-792F-4E3A-BC3E-93EA4D592C82}"/>
              </a:ext>
            </a:extLst>
          </p:cNvPr>
          <p:cNvSpPr txBox="1"/>
          <p:nvPr/>
        </p:nvSpPr>
        <p:spPr>
          <a:xfrm>
            <a:off x="3386474" y="6260281"/>
            <a:ext cx="5029200" cy="400110"/>
          </a:xfrm>
          <a:prstGeom prst="rect">
            <a:avLst/>
          </a:prstGeom>
          <a:noFill/>
        </p:spPr>
        <p:txBody>
          <a:bodyPr wrap="square" rtlCol="0">
            <a:spAutoFit/>
          </a:bodyPr>
          <a:lstStyle/>
          <a:p>
            <a:pPr algn="l"/>
            <a:r>
              <a:rPr lang="es-ES" sz="2000" b="1" dirty="0">
                <a:solidFill>
                  <a:srgbClr val="C00000"/>
                </a:solidFill>
              </a:rPr>
              <a:t>Presentar aplicativo a comité (CAB)</a:t>
            </a:r>
            <a:endParaRPr lang="es-ES" sz="2800" b="1" dirty="0">
              <a:solidFill>
                <a:srgbClr val="C00000"/>
              </a:solidFill>
            </a:endParaRPr>
          </a:p>
        </p:txBody>
      </p:sp>
      <p:cxnSp>
        <p:nvCxnSpPr>
          <p:cNvPr id="13" name="Conector recto 12">
            <a:extLst>
              <a:ext uri="{FF2B5EF4-FFF2-40B4-BE49-F238E27FC236}">
                <a16:creationId xmlns:a16="http://schemas.microsoft.com/office/drawing/2014/main" id="{1156C70D-6218-41A8-8393-8D4CCB5B3982}"/>
              </a:ext>
            </a:extLst>
          </p:cNvPr>
          <p:cNvCxnSpPr/>
          <p:nvPr/>
        </p:nvCxnSpPr>
        <p:spPr>
          <a:xfrm>
            <a:off x="483686" y="8425282"/>
            <a:ext cx="19846064"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14" name="Conector recto 13">
            <a:extLst>
              <a:ext uri="{FF2B5EF4-FFF2-40B4-BE49-F238E27FC236}">
                <a16:creationId xmlns:a16="http://schemas.microsoft.com/office/drawing/2014/main" id="{267D306D-A534-4B58-81E5-47D4288FB8C4}"/>
              </a:ext>
            </a:extLst>
          </p:cNvPr>
          <p:cNvCxnSpPr/>
          <p:nvPr/>
        </p:nvCxnSpPr>
        <p:spPr>
          <a:xfrm>
            <a:off x="483686" y="9867955"/>
            <a:ext cx="19846064"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15" name="Conector recto 14">
            <a:extLst>
              <a:ext uri="{FF2B5EF4-FFF2-40B4-BE49-F238E27FC236}">
                <a16:creationId xmlns:a16="http://schemas.microsoft.com/office/drawing/2014/main" id="{1AC9BDD2-C355-4580-8B9B-EF75707F0CE9}"/>
              </a:ext>
            </a:extLst>
          </p:cNvPr>
          <p:cNvCxnSpPr/>
          <p:nvPr/>
        </p:nvCxnSpPr>
        <p:spPr>
          <a:xfrm>
            <a:off x="483686" y="11374029"/>
            <a:ext cx="19846064"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sp>
        <p:nvSpPr>
          <p:cNvPr id="16" name="CuadroTexto 15">
            <a:extLst>
              <a:ext uri="{FF2B5EF4-FFF2-40B4-BE49-F238E27FC236}">
                <a16:creationId xmlns:a16="http://schemas.microsoft.com/office/drawing/2014/main" id="{B06C73B6-D2F4-405B-982E-98F712AE69EF}"/>
              </a:ext>
            </a:extLst>
          </p:cNvPr>
          <p:cNvSpPr txBox="1"/>
          <p:nvPr/>
        </p:nvSpPr>
        <p:spPr>
          <a:xfrm>
            <a:off x="3316252" y="7353970"/>
            <a:ext cx="5654842" cy="3785652"/>
          </a:xfrm>
          <a:prstGeom prst="rect">
            <a:avLst/>
          </a:prstGeom>
          <a:noFill/>
        </p:spPr>
        <p:txBody>
          <a:bodyPr wrap="square" rtlCol="0">
            <a:spAutoFit/>
          </a:bodyPr>
          <a:lstStyle/>
          <a:p>
            <a:pPr algn="l"/>
            <a:r>
              <a:rPr lang="en-US" altLang="en-US" sz="2400" dirty="0"/>
              <a:t>Ingeniería (SanTec)</a:t>
            </a:r>
          </a:p>
          <a:p>
            <a:pPr algn="l"/>
            <a:r>
              <a:rPr lang="en-US" altLang="en-US" sz="2400" dirty="0"/>
              <a:t>Dominio de Negocio</a:t>
            </a:r>
          </a:p>
          <a:p>
            <a:pPr algn="l"/>
            <a:endParaRPr lang="en-US" altLang="en-US" sz="2400" dirty="0"/>
          </a:p>
          <a:p>
            <a:pPr algn="l"/>
            <a:endParaRPr lang="en-US" altLang="en-US" sz="2400" dirty="0"/>
          </a:p>
          <a:p>
            <a:pPr algn="l"/>
            <a:r>
              <a:rPr lang="en-US" altLang="en-US" sz="2400" dirty="0"/>
              <a:t>Nivel de Servicio (SanTec)</a:t>
            </a:r>
          </a:p>
          <a:p>
            <a:pPr algn="l"/>
            <a:r>
              <a:rPr lang="en-US" altLang="en-US" sz="2400" dirty="0"/>
              <a:t> </a:t>
            </a:r>
          </a:p>
          <a:p>
            <a:pPr algn="l"/>
            <a:endParaRPr lang="en-US" altLang="en-US" sz="2400" dirty="0"/>
          </a:p>
          <a:p>
            <a:pPr algn="l"/>
            <a:endParaRPr lang="en-US" altLang="en-US" sz="2400" dirty="0"/>
          </a:p>
          <a:p>
            <a:pPr algn="l"/>
            <a:endParaRPr lang="en-US" altLang="en-US" sz="2400" dirty="0"/>
          </a:p>
          <a:p>
            <a:pPr algn="l"/>
            <a:r>
              <a:rPr lang="en-US" altLang="en-US" sz="2400" dirty="0"/>
              <a:t> </a:t>
            </a:r>
            <a:endParaRPr lang="es-ES" sz="2400" dirty="0"/>
          </a:p>
        </p:txBody>
      </p:sp>
      <p:sp>
        <p:nvSpPr>
          <p:cNvPr id="18" name="TextBox 1">
            <a:extLst>
              <a:ext uri="{FF2B5EF4-FFF2-40B4-BE49-F238E27FC236}">
                <a16:creationId xmlns:a16="http://schemas.microsoft.com/office/drawing/2014/main" id="{076FBBBB-E384-4CF9-97FC-EFD4B3CD7AF1}"/>
              </a:ext>
            </a:extLst>
          </p:cNvPr>
          <p:cNvSpPr txBox="1"/>
          <p:nvPr/>
        </p:nvSpPr>
        <p:spPr>
          <a:xfrm>
            <a:off x="650240" y="541319"/>
            <a:ext cx="22611504" cy="1569660"/>
          </a:xfrm>
          <a:prstGeom prst="rect">
            <a:avLst/>
          </a:prstGeom>
          <a:noFill/>
        </p:spPr>
        <p:txBody>
          <a:bodyPr wrap="square" rtlCol="0" anchor="t">
            <a:spAutoFit/>
          </a:bodyPr>
          <a:lstStyle/>
          <a:p>
            <a:pPr algn="l"/>
            <a:r>
              <a:rPr lang="en-GB" sz="4000" b="1" kern="1200" dirty="0">
                <a:solidFill>
                  <a:srgbClr val="C00000"/>
                </a:solidFill>
                <a:cs typeface="Arial"/>
              </a:rPr>
              <a:t>CI / CD de releases</a:t>
            </a:r>
            <a:r>
              <a:rPr lang="en-US" sz="4000" b="1" kern="1200" dirty="0">
                <a:solidFill>
                  <a:srgbClr val="C00000"/>
                </a:solidFill>
              </a:rPr>
              <a:t>  </a:t>
            </a:r>
            <a:r>
              <a:rPr lang="en-GB" sz="2800" kern="1200" dirty="0">
                <a:solidFill>
                  <a:srgbClr val="C00000"/>
                </a:solidFill>
              </a:rPr>
              <a:t>Despliegue &amp; Empaquetado de Releases</a:t>
            </a:r>
          </a:p>
          <a:p>
            <a:pPr algn="l"/>
            <a:r>
              <a:rPr lang="es-ES" altLang="en-US" sz="2800" kern="1200" dirty="0">
                <a:solidFill>
                  <a:schemeClr val="tx1"/>
                </a:solidFill>
              </a:rPr>
              <a:t>Vista de Procesos</a:t>
            </a:r>
            <a:endParaRPr lang="en-US" altLang="en-US" sz="2800" kern="1200" dirty="0">
              <a:solidFill>
                <a:schemeClr val="tx1"/>
              </a:solidFill>
            </a:endParaRPr>
          </a:p>
          <a:p>
            <a:pPr algn="l"/>
            <a:endParaRPr lang="en-US" altLang="en-US" sz="2800" kern="1200" dirty="0">
              <a:solidFill>
                <a:srgbClr val="C00000"/>
              </a:solidFill>
              <a:latin typeface="IBM Plex Sans"/>
            </a:endParaRPr>
          </a:p>
        </p:txBody>
      </p:sp>
      <p:pic>
        <p:nvPicPr>
          <p:cNvPr id="17" name="New picture">
            <a:extLst>
              <a:ext uri="{FF2B5EF4-FFF2-40B4-BE49-F238E27FC236}">
                <a16:creationId xmlns:a16="http://schemas.microsoft.com/office/drawing/2014/main" id="{8C59C6A4-EC0B-47A3-8509-E5C9C9CE44E6}"/>
              </a:ext>
            </a:extLst>
          </p:cNvPr>
          <p:cNvPicPr/>
          <p:nvPr/>
        </p:nvPicPr>
        <p:blipFill rotWithShape="1">
          <a:blip r:embed="rId11"/>
          <a:srcRect t="33840" b="55686"/>
          <a:stretch/>
        </p:blipFill>
        <p:spPr>
          <a:xfrm>
            <a:off x="650240" y="2766774"/>
            <a:ext cx="23210614" cy="1569660"/>
          </a:xfrm>
          <a:prstGeom prst="rect">
            <a:avLst/>
          </a:prstGeom>
        </p:spPr>
      </p:pic>
    </p:spTree>
    <p:extLst>
      <p:ext uri="{BB962C8B-B14F-4D97-AF65-F5344CB8AC3E}">
        <p14:creationId xmlns:p14="http://schemas.microsoft.com/office/powerpoint/2010/main" val="8726634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grpSp>
        <p:nvGrpSpPr>
          <p:cNvPr id="170" name="Group 1452">
            <a:extLst>
              <a:ext uri="{FF2B5EF4-FFF2-40B4-BE49-F238E27FC236}">
                <a16:creationId xmlns:a16="http://schemas.microsoft.com/office/drawing/2014/main" id="{F5DDB166-B6F1-4DCA-B74F-6E3419615308}"/>
              </a:ext>
            </a:extLst>
          </p:cNvPr>
          <p:cNvGrpSpPr>
            <a:grpSpLocks noChangeAspect="1"/>
          </p:cNvGrpSpPr>
          <p:nvPr/>
        </p:nvGrpSpPr>
        <p:grpSpPr bwMode="auto">
          <a:xfrm>
            <a:off x="799542" y="3178352"/>
            <a:ext cx="672464" cy="432436"/>
            <a:chOff x="4967340" y="2057401"/>
            <a:chExt cx="492125" cy="315912"/>
          </a:xfrm>
          <a:solidFill>
            <a:srgbClr val="FFFFFF"/>
          </a:solidFill>
        </p:grpSpPr>
        <p:sp>
          <p:nvSpPr>
            <p:cNvPr id="171" name="Freeform 93">
              <a:extLst>
                <a:ext uri="{FF2B5EF4-FFF2-40B4-BE49-F238E27FC236}">
                  <a16:creationId xmlns:a16="http://schemas.microsoft.com/office/drawing/2014/main" id="{3E36C31E-E7B8-4961-9F7B-6DA4A5DE3D1C}"/>
                </a:ext>
              </a:extLst>
            </p:cNvPr>
            <p:cNvSpPr>
              <a:spLocks noEditPoints="1"/>
            </p:cNvSpPr>
            <p:nvPr/>
          </p:nvSpPr>
          <p:spPr bwMode="auto">
            <a:xfrm>
              <a:off x="4967340" y="2089151"/>
              <a:ext cx="492125" cy="261938"/>
            </a:xfrm>
            <a:custGeom>
              <a:avLst/>
              <a:gdLst>
                <a:gd name="T0" fmla="*/ 2147483646 w 485"/>
                <a:gd name="T1" fmla="*/ 2147483646 h 259"/>
                <a:gd name="T2" fmla="*/ 2147483646 w 485"/>
                <a:gd name="T3" fmla="*/ 2147483646 h 259"/>
                <a:gd name="T4" fmla="*/ 2147483646 w 485"/>
                <a:gd name="T5" fmla="*/ 0 h 259"/>
                <a:gd name="T6" fmla="*/ 2147483646 w 485"/>
                <a:gd name="T7" fmla="*/ 2147483646 h 259"/>
                <a:gd name="T8" fmla="*/ 2147483646 w 485"/>
                <a:gd name="T9" fmla="*/ 2147483646 h 259"/>
                <a:gd name="T10" fmla="*/ 2147483646 w 485"/>
                <a:gd name="T11" fmla="*/ 2147483646 h 259"/>
                <a:gd name="T12" fmla="*/ 0 w 485"/>
                <a:gd name="T13" fmla="*/ 2147483646 h 259"/>
                <a:gd name="T14" fmla="*/ 2147483646 w 485"/>
                <a:gd name="T15" fmla="*/ 2147483646 h 259"/>
                <a:gd name="T16" fmla="*/ 2147483646 w 485"/>
                <a:gd name="T17" fmla="*/ 2147483646 h 259"/>
                <a:gd name="T18" fmla="*/ 2147483646 w 485"/>
                <a:gd name="T19" fmla="*/ 2147483646 h 259"/>
                <a:gd name="T20" fmla="*/ 2147483646 w 485"/>
                <a:gd name="T21" fmla="*/ 2147483646 h 259"/>
                <a:gd name="T22" fmla="*/ 2147483646 w 485"/>
                <a:gd name="T23" fmla="*/ 2147483646 h 259"/>
                <a:gd name="T24" fmla="*/ 2147483646 w 485"/>
                <a:gd name="T25" fmla="*/ 2147483646 h 259"/>
                <a:gd name="T26" fmla="*/ 2147483646 w 485"/>
                <a:gd name="T27" fmla="*/ 2147483646 h 259"/>
                <a:gd name="T28" fmla="*/ 2147483646 w 485"/>
                <a:gd name="T29" fmla="*/ 2147483646 h 259"/>
                <a:gd name="T30" fmla="*/ 2147483646 w 485"/>
                <a:gd name="T31" fmla="*/ 2147483646 h 259"/>
                <a:gd name="T32" fmla="*/ 2147483646 w 485"/>
                <a:gd name="T33" fmla="*/ 2147483646 h 259"/>
                <a:gd name="T34" fmla="*/ 2147483646 w 485"/>
                <a:gd name="T35" fmla="*/ 0 h 259"/>
                <a:gd name="T36" fmla="*/ 2147483646 w 485"/>
                <a:gd name="T37" fmla="*/ 2147483646 h 259"/>
                <a:gd name="T38" fmla="*/ 2147483646 w 485"/>
                <a:gd name="T39" fmla="*/ 2147483646 h 259"/>
                <a:gd name="T40" fmla="*/ 2147483646 w 485"/>
                <a:gd name="T41" fmla="*/ 2147483646 h 259"/>
                <a:gd name="T42" fmla="*/ 2147483646 w 485"/>
                <a:gd name="T43" fmla="*/ 2147483646 h 259"/>
                <a:gd name="T44" fmla="*/ 2147483646 w 485"/>
                <a:gd name="T45" fmla="*/ 2147483646 h 259"/>
                <a:gd name="T46" fmla="*/ 2147483646 w 485"/>
                <a:gd name="T47" fmla="*/ 2147483646 h 259"/>
                <a:gd name="T48" fmla="*/ 2147483646 w 485"/>
                <a:gd name="T49" fmla="*/ 2147483646 h 259"/>
                <a:gd name="T50" fmla="*/ 2147483646 w 485"/>
                <a:gd name="T51" fmla="*/ 2147483646 h 259"/>
                <a:gd name="T52" fmla="*/ 2147483646 w 485"/>
                <a:gd name="T53" fmla="*/ 2147483646 h 25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85" h="259">
                  <a:moveTo>
                    <a:pt x="152" y="39"/>
                  </a:moveTo>
                  <a:cubicBezTo>
                    <a:pt x="152" y="28"/>
                    <a:pt x="154" y="18"/>
                    <a:pt x="157" y="9"/>
                  </a:cubicBezTo>
                  <a:cubicBezTo>
                    <a:pt x="147" y="3"/>
                    <a:pt x="136" y="0"/>
                    <a:pt x="123" y="0"/>
                  </a:cubicBezTo>
                  <a:cubicBezTo>
                    <a:pt x="88" y="0"/>
                    <a:pt x="60" y="25"/>
                    <a:pt x="60" y="65"/>
                  </a:cubicBezTo>
                  <a:cubicBezTo>
                    <a:pt x="60" y="97"/>
                    <a:pt x="78" y="128"/>
                    <a:pt x="103" y="140"/>
                  </a:cubicBezTo>
                  <a:cubicBezTo>
                    <a:pt x="103" y="165"/>
                    <a:pt x="103" y="165"/>
                    <a:pt x="103" y="165"/>
                  </a:cubicBezTo>
                  <a:cubicBezTo>
                    <a:pt x="22" y="170"/>
                    <a:pt x="6" y="204"/>
                    <a:pt x="0" y="247"/>
                  </a:cubicBezTo>
                  <a:cubicBezTo>
                    <a:pt x="84" y="259"/>
                    <a:pt x="84" y="259"/>
                    <a:pt x="84" y="259"/>
                  </a:cubicBezTo>
                  <a:cubicBezTo>
                    <a:pt x="84" y="245"/>
                    <a:pt x="84" y="245"/>
                    <a:pt x="84" y="245"/>
                  </a:cubicBezTo>
                  <a:cubicBezTo>
                    <a:pt x="88" y="219"/>
                    <a:pt x="94" y="192"/>
                    <a:pt x="114" y="171"/>
                  </a:cubicBezTo>
                  <a:cubicBezTo>
                    <a:pt x="131" y="153"/>
                    <a:pt x="159" y="140"/>
                    <a:pt x="202" y="135"/>
                  </a:cubicBezTo>
                  <a:cubicBezTo>
                    <a:pt x="202" y="135"/>
                    <a:pt x="202" y="135"/>
                    <a:pt x="202" y="135"/>
                  </a:cubicBezTo>
                  <a:cubicBezTo>
                    <a:pt x="173" y="116"/>
                    <a:pt x="152" y="79"/>
                    <a:pt x="152" y="39"/>
                  </a:cubicBezTo>
                  <a:close/>
                  <a:moveTo>
                    <a:pt x="481" y="229"/>
                  </a:moveTo>
                  <a:cubicBezTo>
                    <a:pt x="472" y="194"/>
                    <a:pt x="450" y="169"/>
                    <a:pt x="382" y="165"/>
                  </a:cubicBezTo>
                  <a:cubicBezTo>
                    <a:pt x="382" y="140"/>
                    <a:pt x="382" y="140"/>
                    <a:pt x="382" y="140"/>
                  </a:cubicBezTo>
                  <a:cubicBezTo>
                    <a:pt x="407" y="128"/>
                    <a:pt x="425" y="97"/>
                    <a:pt x="425" y="65"/>
                  </a:cubicBezTo>
                  <a:cubicBezTo>
                    <a:pt x="425" y="25"/>
                    <a:pt x="397" y="0"/>
                    <a:pt x="361" y="0"/>
                  </a:cubicBezTo>
                  <a:cubicBezTo>
                    <a:pt x="349" y="0"/>
                    <a:pt x="338" y="3"/>
                    <a:pt x="328" y="9"/>
                  </a:cubicBezTo>
                  <a:cubicBezTo>
                    <a:pt x="331" y="18"/>
                    <a:pt x="333" y="28"/>
                    <a:pt x="333" y="39"/>
                  </a:cubicBezTo>
                  <a:cubicBezTo>
                    <a:pt x="333" y="79"/>
                    <a:pt x="312" y="116"/>
                    <a:pt x="283" y="135"/>
                  </a:cubicBezTo>
                  <a:cubicBezTo>
                    <a:pt x="283" y="135"/>
                    <a:pt x="283" y="135"/>
                    <a:pt x="283" y="135"/>
                  </a:cubicBezTo>
                  <a:cubicBezTo>
                    <a:pt x="324" y="139"/>
                    <a:pt x="352" y="151"/>
                    <a:pt x="369" y="168"/>
                  </a:cubicBezTo>
                  <a:cubicBezTo>
                    <a:pt x="391" y="189"/>
                    <a:pt x="397" y="218"/>
                    <a:pt x="401" y="245"/>
                  </a:cubicBezTo>
                  <a:cubicBezTo>
                    <a:pt x="401" y="259"/>
                    <a:pt x="401" y="259"/>
                    <a:pt x="401" y="259"/>
                  </a:cubicBezTo>
                  <a:cubicBezTo>
                    <a:pt x="485" y="247"/>
                    <a:pt x="485" y="247"/>
                    <a:pt x="485" y="247"/>
                  </a:cubicBezTo>
                  <a:cubicBezTo>
                    <a:pt x="484" y="241"/>
                    <a:pt x="483" y="235"/>
                    <a:pt x="481" y="2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72" name="Freeform 94">
              <a:extLst>
                <a:ext uri="{FF2B5EF4-FFF2-40B4-BE49-F238E27FC236}">
                  <a16:creationId xmlns:a16="http://schemas.microsoft.com/office/drawing/2014/main" id="{365455E5-B369-46AD-AE1C-84DF6BB22B2D}"/>
                </a:ext>
              </a:extLst>
            </p:cNvPr>
            <p:cNvSpPr>
              <a:spLocks/>
            </p:cNvSpPr>
            <p:nvPr/>
          </p:nvSpPr>
          <p:spPr bwMode="auto">
            <a:xfrm>
              <a:off x="5138790" y="2057401"/>
              <a:ext cx="149225" cy="169863"/>
            </a:xfrm>
            <a:custGeom>
              <a:avLst/>
              <a:gdLst>
                <a:gd name="T0" fmla="*/ 2147483646 w 147"/>
                <a:gd name="T1" fmla="*/ 2147483646 h 166"/>
                <a:gd name="T2" fmla="*/ 2147483646 w 147"/>
                <a:gd name="T3" fmla="*/ 2147483646 h 166"/>
                <a:gd name="T4" fmla="*/ 2147483646 w 147"/>
                <a:gd name="T5" fmla="*/ 2147483646 h 166"/>
                <a:gd name="T6" fmla="*/ 2147483646 w 147"/>
                <a:gd name="T7" fmla="*/ 0 h 166"/>
                <a:gd name="T8" fmla="*/ 0 w 147"/>
                <a:gd name="T9" fmla="*/ 2147483646 h 166"/>
                <a:gd name="T10" fmla="*/ 2147483646 w 147"/>
                <a:gd name="T11" fmla="*/ 2147483646 h 166"/>
                <a:gd name="T12" fmla="*/ 2147483646 w 147"/>
                <a:gd name="T13" fmla="*/ 2147483646 h 16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7" h="166">
                  <a:moveTo>
                    <a:pt x="74" y="166"/>
                  </a:moveTo>
                  <a:cubicBezTo>
                    <a:pt x="86" y="166"/>
                    <a:pt x="97" y="160"/>
                    <a:pt x="97" y="160"/>
                  </a:cubicBezTo>
                  <a:cubicBezTo>
                    <a:pt x="126" y="147"/>
                    <a:pt x="147" y="111"/>
                    <a:pt x="147" y="74"/>
                  </a:cubicBezTo>
                  <a:cubicBezTo>
                    <a:pt x="147" y="29"/>
                    <a:pt x="114" y="0"/>
                    <a:pt x="73" y="0"/>
                  </a:cubicBezTo>
                  <a:cubicBezTo>
                    <a:pt x="33" y="0"/>
                    <a:pt x="0" y="29"/>
                    <a:pt x="0" y="74"/>
                  </a:cubicBezTo>
                  <a:cubicBezTo>
                    <a:pt x="0" y="111"/>
                    <a:pt x="21" y="147"/>
                    <a:pt x="50" y="160"/>
                  </a:cubicBezTo>
                  <a:cubicBezTo>
                    <a:pt x="50" y="160"/>
                    <a:pt x="62" y="166"/>
                    <a:pt x="74" y="1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73" name="Freeform 95">
              <a:extLst>
                <a:ext uri="{FF2B5EF4-FFF2-40B4-BE49-F238E27FC236}">
                  <a16:creationId xmlns:a16="http://schemas.microsoft.com/office/drawing/2014/main" id="{7FB9A977-7E69-49BE-8AFC-E15F75CCAA82}"/>
                </a:ext>
              </a:extLst>
            </p:cNvPr>
            <p:cNvSpPr>
              <a:spLocks/>
            </p:cNvSpPr>
            <p:nvPr/>
          </p:nvSpPr>
          <p:spPr bwMode="auto">
            <a:xfrm>
              <a:off x="5226103" y="2239963"/>
              <a:ext cx="131763" cy="133350"/>
            </a:xfrm>
            <a:custGeom>
              <a:avLst/>
              <a:gdLst>
                <a:gd name="T0" fmla="*/ 2147483646 w 129"/>
                <a:gd name="T1" fmla="*/ 2147483646 h 130"/>
                <a:gd name="T2" fmla="*/ 2147483646 w 129"/>
                <a:gd name="T3" fmla="*/ 0 h 130"/>
                <a:gd name="T4" fmla="*/ 0 w 129"/>
                <a:gd name="T5" fmla="*/ 2147483646 h 130"/>
                <a:gd name="T6" fmla="*/ 2147483646 w 129"/>
                <a:gd name="T7" fmla="*/ 2147483646 h 130"/>
                <a:gd name="T8" fmla="*/ 2147483646 w 129"/>
                <a:gd name="T9" fmla="*/ 2147483646 h 13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0">
                  <a:moveTo>
                    <a:pt x="127" y="80"/>
                  </a:moveTo>
                  <a:cubicBezTo>
                    <a:pt x="118" y="39"/>
                    <a:pt x="104" y="7"/>
                    <a:pt x="30" y="0"/>
                  </a:cubicBezTo>
                  <a:cubicBezTo>
                    <a:pt x="0" y="130"/>
                    <a:pt x="0" y="130"/>
                    <a:pt x="0" y="130"/>
                  </a:cubicBezTo>
                  <a:cubicBezTo>
                    <a:pt x="90" y="129"/>
                    <a:pt x="129" y="118"/>
                    <a:pt x="129" y="118"/>
                  </a:cubicBezTo>
                  <a:cubicBezTo>
                    <a:pt x="128" y="113"/>
                    <a:pt x="128" y="85"/>
                    <a:pt x="127"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74" name="Freeform 96">
              <a:extLst>
                <a:ext uri="{FF2B5EF4-FFF2-40B4-BE49-F238E27FC236}">
                  <a16:creationId xmlns:a16="http://schemas.microsoft.com/office/drawing/2014/main" id="{786E8F80-3B67-4685-8713-73C5C055B48A}"/>
                </a:ext>
              </a:extLst>
            </p:cNvPr>
            <p:cNvSpPr>
              <a:spLocks/>
            </p:cNvSpPr>
            <p:nvPr/>
          </p:nvSpPr>
          <p:spPr bwMode="auto">
            <a:xfrm>
              <a:off x="5070528" y="2239963"/>
              <a:ext cx="130175" cy="133350"/>
            </a:xfrm>
            <a:custGeom>
              <a:avLst/>
              <a:gdLst>
                <a:gd name="T0" fmla="*/ 2147483646 w 129"/>
                <a:gd name="T1" fmla="*/ 2147483646 h 131"/>
                <a:gd name="T2" fmla="*/ 0 w 129"/>
                <a:gd name="T3" fmla="*/ 2147483646 h 131"/>
                <a:gd name="T4" fmla="*/ 2147483646 w 129"/>
                <a:gd name="T5" fmla="*/ 2147483646 h 131"/>
                <a:gd name="T6" fmla="*/ 2147483646 w 129"/>
                <a:gd name="T7" fmla="*/ 0 h 131"/>
                <a:gd name="T8" fmla="*/ 2147483646 w 129"/>
                <a:gd name="T9" fmla="*/ 2147483646 h 1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1">
                  <a:moveTo>
                    <a:pt x="2" y="82"/>
                  </a:moveTo>
                  <a:cubicBezTo>
                    <a:pt x="1" y="86"/>
                    <a:pt x="0" y="114"/>
                    <a:pt x="0" y="118"/>
                  </a:cubicBezTo>
                  <a:cubicBezTo>
                    <a:pt x="0" y="118"/>
                    <a:pt x="33" y="130"/>
                    <a:pt x="129" y="131"/>
                  </a:cubicBezTo>
                  <a:cubicBezTo>
                    <a:pt x="99" y="0"/>
                    <a:pt x="99" y="0"/>
                    <a:pt x="99" y="0"/>
                  </a:cubicBezTo>
                  <a:cubicBezTo>
                    <a:pt x="23" y="7"/>
                    <a:pt x="10" y="40"/>
                    <a:pt x="2"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75" name="Freeform 97">
              <a:extLst>
                <a:ext uri="{FF2B5EF4-FFF2-40B4-BE49-F238E27FC236}">
                  <a16:creationId xmlns:a16="http://schemas.microsoft.com/office/drawing/2014/main" id="{5ABDBDDF-0E39-4FFE-A314-7F75E07A43CB}"/>
                </a:ext>
              </a:extLst>
            </p:cNvPr>
            <p:cNvSpPr>
              <a:spLocks/>
            </p:cNvSpPr>
            <p:nvPr/>
          </p:nvSpPr>
          <p:spPr bwMode="auto">
            <a:xfrm>
              <a:off x="5197528" y="2241551"/>
              <a:ext cx="31750" cy="17463"/>
            </a:xfrm>
            <a:custGeom>
              <a:avLst/>
              <a:gdLst>
                <a:gd name="T0" fmla="*/ 2147483646 w 31"/>
                <a:gd name="T1" fmla="*/ 2147483646 h 17"/>
                <a:gd name="T2" fmla="*/ 0 w 31"/>
                <a:gd name="T3" fmla="*/ 0 h 17"/>
                <a:gd name="T4" fmla="*/ 2147483646 w 31"/>
                <a:gd name="T5" fmla="*/ 2147483646 h 17"/>
                <a:gd name="T6" fmla="*/ 2147483646 w 31"/>
                <a:gd name="T7" fmla="*/ 2147483646 h 17"/>
                <a:gd name="T8" fmla="*/ 2147483646 w 31"/>
                <a:gd name="T9" fmla="*/ 0 h 17"/>
                <a:gd name="T10" fmla="*/ 2147483646 w 31"/>
                <a:gd name="T11" fmla="*/ 2147483646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1" h="17">
                  <a:moveTo>
                    <a:pt x="15" y="1"/>
                  </a:moveTo>
                  <a:cubicBezTo>
                    <a:pt x="7" y="1"/>
                    <a:pt x="0" y="0"/>
                    <a:pt x="0" y="0"/>
                  </a:cubicBezTo>
                  <a:cubicBezTo>
                    <a:pt x="7" y="17"/>
                    <a:pt x="7" y="17"/>
                    <a:pt x="7" y="17"/>
                  </a:cubicBezTo>
                  <a:cubicBezTo>
                    <a:pt x="24" y="17"/>
                    <a:pt x="24" y="17"/>
                    <a:pt x="24" y="17"/>
                  </a:cubicBezTo>
                  <a:cubicBezTo>
                    <a:pt x="31" y="0"/>
                    <a:pt x="31" y="0"/>
                    <a:pt x="31" y="0"/>
                  </a:cubicBezTo>
                  <a:cubicBezTo>
                    <a:pt x="31" y="0"/>
                    <a:pt x="25" y="1"/>
                    <a:pt x="1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76" name="Freeform 98">
              <a:extLst>
                <a:ext uri="{FF2B5EF4-FFF2-40B4-BE49-F238E27FC236}">
                  <a16:creationId xmlns:a16="http://schemas.microsoft.com/office/drawing/2014/main" id="{B41EAE00-0F30-48F0-9F92-5E509E596045}"/>
                </a:ext>
              </a:extLst>
            </p:cNvPr>
            <p:cNvSpPr>
              <a:spLocks/>
            </p:cNvSpPr>
            <p:nvPr/>
          </p:nvSpPr>
          <p:spPr bwMode="auto">
            <a:xfrm>
              <a:off x="5197528" y="2270126"/>
              <a:ext cx="31750" cy="100013"/>
            </a:xfrm>
            <a:custGeom>
              <a:avLst/>
              <a:gdLst>
                <a:gd name="T0" fmla="*/ 2147483646 w 20"/>
                <a:gd name="T1" fmla="*/ 2147483646 h 63"/>
                <a:gd name="T2" fmla="*/ 2147483646 w 20"/>
                <a:gd name="T3" fmla="*/ 0 h 63"/>
                <a:gd name="T4" fmla="*/ 2147483646 w 20"/>
                <a:gd name="T5" fmla="*/ 0 h 63"/>
                <a:gd name="T6" fmla="*/ 0 w 20"/>
                <a:gd name="T7" fmla="*/ 2147483646 h 63"/>
                <a:gd name="T8" fmla="*/ 2147483646 w 20"/>
                <a:gd name="T9" fmla="*/ 2147483646 h 63"/>
                <a:gd name="T10" fmla="*/ 2147483646 w 20"/>
                <a:gd name="T11" fmla="*/ 2147483646 h 6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63">
                  <a:moveTo>
                    <a:pt x="20" y="19"/>
                  </a:moveTo>
                  <a:lnTo>
                    <a:pt x="16" y="0"/>
                  </a:lnTo>
                  <a:lnTo>
                    <a:pt x="6" y="0"/>
                  </a:lnTo>
                  <a:lnTo>
                    <a:pt x="0" y="19"/>
                  </a:lnTo>
                  <a:lnTo>
                    <a:pt x="10" y="63"/>
                  </a:lnTo>
                  <a:lnTo>
                    <a:pt x="2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77" name="Freeform 99">
              <a:extLst>
                <a:ext uri="{FF2B5EF4-FFF2-40B4-BE49-F238E27FC236}">
                  <a16:creationId xmlns:a16="http://schemas.microsoft.com/office/drawing/2014/main" id="{7410FAFA-4C42-4AA6-BB12-65B473DA1E94}"/>
                </a:ext>
              </a:extLst>
            </p:cNvPr>
            <p:cNvSpPr>
              <a:spLocks/>
            </p:cNvSpPr>
            <p:nvPr/>
          </p:nvSpPr>
          <p:spPr bwMode="auto">
            <a:xfrm>
              <a:off x="5261028" y="2312988"/>
              <a:ext cx="50800" cy="12700"/>
            </a:xfrm>
            <a:custGeom>
              <a:avLst/>
              <a:gdLst>
                <a:gd name="T0" fmla="*/ 2147483646 w 32"/>
                <a:gd name="T1" fmla="*/ 2147483646 h 8"/>
                <a:gd name="T2" fmla="*/ 0 w 32"/>
                <a:gd name="T3" fmla="*/ 2147483646 h 8"/>
                <a:gd name="T4" fmla="*/ 0 w 32"/>
                <a:gd name="T5" fmla="*/ 0 h 8"/>
                <a:gd name="T6" fmla="*/ 2147483646 w 32"/>
                <a:gd name="T7" fmla="*/ 0 h 8"/>
                <a:gd name="T8" fmla="*/ 2147483646 w 32"/>
                <a:gd name="T9" fmla="*/ 0 h 8"/>
                <a:gd name="T10" fmla="*/ 2147483646 w 32"/>
                <a:gd name="T11" fmla="*/ 2147483646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 h="8">
                  <a:moveTo>
                    <a:pt x="32" y="8"/>
                  </a:moveTo>
                  <a:lnTo>
                    <a:pt x="0" y="8"/>
                  </a:lnTo>
                  <a:lnTo>
                    <a:pt x="0" y="0"/>
                  </a:lnTo>
                  <a:lnTo>
                    <a:pt x="19" y="0"/>
                  </a:lnTo>
                  <a:lnTo>
                    <a:pt x="32" y="0"/>
                  </a:lnTo>
                  <a:lnTo>
                    <a:pt x="3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grpSp>
      <p:grpSp>
        <p:nvGrpSpPr>
          <p:cNvPr id="178" name="Group 1452">
            <a:extLst>
              <a:ext uri="{FF2B5EF4-FFF2-40B4-BE49-F238E27FC236}">
                <a16:creationId xmlns:a16="http://schemas.microsoft.com/office/drawing/2014/main" id="{22078CD5-7AFF-4542-BF3A-010BAEC5D221}"/>
              </a:ext>
            </a:extLst>
          </p:cNvPr>
          <p:cNvGrpSpPr>
            <a:grpSpLocks noChangeAspect="1"/>
          </p:cNvGrpSpPr>
          <p:nvPr/>
        </p:nvGrpSpPr>
        <p:grpSpPr bwMode="auto">
          <a:xfrm>
            <a:off x="834571" y="5860793"/>
            <a:ext cx="672464" cy="432436"/>
            <a:chOff x="4967340" y="2057401"/>
            <a:chExt cx="492125" cy="315912"/>
          </a:xfrm>
          <a:solidFill>
            <a:srgbClr val="FFFFFF"/>
          </a:solidFill>
        </p:grpSpPr>
        <p:sp>
          <p:nvSpPr>
            <p:cNvPr id="179" name="Freeform 93">
              <a:extLst>
                <a:ext uri="{FF2B5EF4-FFF2-40B4-BE49-F238E27FC236}">
                  <a16:creationId xmlns:a16="http://schemas.microsoft.com/office/drawing/2014/main" id="{896621CF-ED4E-4E6D-A737-1F5A737CE1FF}"/>
                </a:ext>
              </a:extLst>
            </p:cNvPr>
            <p:cNvSpPr>
              <a:spLocks noEditPoints="1"/>
            </p:cNvSpPr>
            <p:nvPr/>
          </p:nvSpPr>
          <p:spPr bwMode="auto">
            <a:xfrm>
              <a:off x="4967340" y="2089151"/>
              <a:ext cx="492125" cy="261938"/>
            </a:xfrm>
            <a:custGeom>
              <a:avLst/>
              <a:gdLst>
                <a:gd name="T0" fmla="*/ 2147483646 w 485"/>
                <a:gd name="T1" fmla="*/ 2147483646 h 259"/>
                <a:gd name="T2" fmla="*/ 2147483646 w 485"/>
                <a:gd name="T3" fmla="*/ 2147483646 h 259"/>
                <a:gd name="T4" fmla="*/ 2147483646 w 485"/>
                <a:gd name="T5" fmla="*/ 0 h 259"/>
                <a:gd name="T6" fmla="*/ 2147483646 w 485"/>
                <a:gd name="T7" fmla="*/ 2147483646 h 259"/>
                <a:gd name="T8" fmla="*/ 2147483646 w 485"/>
                <a:gd name="T9" fmla="*/ 2147483646 h 259"/>
                <a:gd name="T10" fmla="*/ 2147483646 w 485"/>
                <a:gd name="T11" fmla="*/ 2147483646 h 259"/>
                <a:gd name="T12" fmla="*/ 0 w 485"/>
                <a:gd name="T13" fmla="*/ 2147483646 h 259"/>
                <a:gd name="T14" fmla="*/ 2147483646 w 485"/>
                <a:gd name="T15" fmla="*/ 2147483646 h 259"/>
                <a:gd name="T16" fmla="*/ 2147483646 w 485"/>
                <a:gd name="T17" fmla="*/ 2147483646 h 259"/>
                <a:gd name="T18" fmla="*/ 2147483646 w 485"/>
                <a:gd name="T19" fmla="*/ 2147483646 h 259"/>
                <a:gd name="T20" fmla="*/ 2147483646 w 485"/>
                <a:gd name="T21" fmla="*/ 2147483646 h 259"/>
                <a:gd name="T22" fmla="*/ 2147483646 w 485"/>
                <a:gd name="T23" fmla="*/ 2147483646 h 259"/>
                <a:gd name="T24" fmla="*/ 2147483646 w 485"/>
                <a:gd name="T25" fmla="*/ 2147483646 h 259"/>
                <a:gd name="T26" fmla="*/ 2147483646 w 485"/>
                <a:gd name="T27" fmla="*/ 2147483646 h 259"/>
                <a:gd name="T28" fmla="*/ 2147483646 w 485"/>
                <a:gd name="T29" fmla="*/ 2147483646 h 259"/>
                <a:gd name="T30" fmla="*/ 2147483646 w 485"/>
                <a:gd name="T31" fmla="*/ 2147483646 h 259"/>
                <a:gd name="T32" fmla="*/ 2147483646 w 485"/>
                <a:gd name="T33" fmla="*/ 2147483646 h 259"/>
                <a:gd name="T34" fmla="*/ 2147483646 w 485"/>
                <a:gd name="T35" fmla="*/ 0 h 259"/>
                <a:gd name="T36" fmla="*/ 2147483646 w 485"/>
                <a:gd name="T37" fmla="*/ 2147483646 h 259"/>
                <a:gd name="T38" fmla="*/ 2147483646 w 485"/>
                <a:gd name="T39" fmla="*/ 2147483646 h 259"/>
                <a:gd name="T40" fmla="*/ 2147483646 w 485"/>
                <a:gd name="T41" fmla="*/ 2147483646 h 259"/>
                <a:gd name="T42" fmla="*/ 2147483646 w 485"/>
                <a:gd name="T43" fmla="*/ 2147483646 h 259"/>
                <a:gd name="T44" fmla="*/ 2147483646 w 485"/>
                <a:gd name="T45" fmla="*/ 2147483646 h 259"/>
                <a:gd name="T46" fmla="*/ 2147483646 w 485"/>
                <a:gd name="T47" fmla="*/ 2147483646 h 259"/>
                <a:gd name="T48" fmla="*/ 2147483646 w 485"/>
                <a:gd name="T49" fmla="*/ 2147483646 h 259"/>
                <a:gd name="T50" fmla="*/ 2147483646 w 485"/>
                <a:gd name="T51" fmla="*/ 2147483646 h 259"/>
                <a:gd name="T52" fmla="*/ 2147483646 w 485"/>
                <a:gd name="T53" fmla="*/ 2147483646 h 25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85" h="259">
                  <a:moveTo>
                    <a:pt x="152" y="39"/>
                  </a:moveTo>
                  <a:cubicBezTo>
                    <a:pt x="152" y="28"/>
                    <a:pt x="154" y="18"/>
                    <a:pt x="157" y="9"/>
                  </a:cubicBezTo>
                  <a:cubicBezTo>
                    <a:pt x="147" y="3"/>
                    <a:pt x="136" y="0"/>
                    <a:pt x="123" y="0"/>
                  </a:cubicBezTo>
                  <a:cubicBezTo>
                    <a:pt x="88" y="0"/>
                    <a:pt x="60" y="25"/>
                    <a:pt x="60" y="65"/>
                  </a:cubicBezTo>
                  <a:cubicBezTo>
                    <a:pt x="60" y="97"/>
                    <a:pt x="78" y="128"/>
                    <a:pt x="103" y="140"/>
                  </a:cubicBezTo>
                  <a:cubicBezTo>
                    <a:pt x="103" y="165"/>
                    <a:pt x="103" y="165"/>
                    <a:pt x="103" y="165"/>
                  </a:cubicBezTo>
                  <a:cubicBezTo>
                    <a:pt x="22" y="170"/>
                    <a:pt x="6" y="204"/>
                    <a:pt x="0" y="247"/>
                  </a:cubicBezTo>
                  <a:cubicBezTo>
                    <a:pt x="84" y="259"/>
                    <a:pt x="84" y="259"/>
                    <a:pt x="84" y="259"/>
                  </a:cubicBezTo>
                  <a:cubicBezTo>
                    <a:pt x="84" y="245"/>
                    <a:pt x="84" y="245"/>
                    <a:pt x="84" y="245"/>
                  </a:cubicBezTo>
                  <a:cubicBezTo>
                    <a:pt x="88" y="219"/>
                    <a:pt x="94" y="192"/>
                    <a:pt x="114" y="171"/>
                  </a:cubicBezTo>
                  <a:cubicBezTo>
                    <a:pt x="131" y="153"/>
                    <a:pt x="159" y="140"/>
                    <a:pt x="202" y="135"/>
                  </a:cubicBezTo>
                  <a:cubicBezTo>
                    <a:pt x="202" y="135"/>
                    <a:pt x="202" y="135"/>
                    <a:pt x="202" y="135"/>
                  </a:cubicBezTo>
                  <a:cubicBezTo>
                    <a:pt x="173" y="116"/>
                    <a:pt x="152" y="79"/>
                    <a:pt x="152" y="39"/>
                  </a:cubicBezTo>
                  <a:close/>
                  <a:moveTo>
                    <a:pt x="481" y="229"/>
                  </a:moveTo>
                  <a:cubicBezTo>
                    <a:pt x="472" y="194"/>
                    <a:pt x="450" y="169"/>
                    <a:pt x="382" y="165"/>
                  </a:cubicBezTo>
                  <a:cubicBezTo>
                    <a:pt x="382" y="140"/>
                    <a:pt x="382" y="140"/>
                    <a:pt x="382" y="140"/>
                  </a:cubicBezTo>
                  <a:cubicBezTo>
                    <a:pt x="407" y="128"/>
                    <a:pt x="425" y="97"/>
                    <a:pt x="425" y="65"/>
                  </a:cubicBezTo>
                  <a:cubicBezTo>
                    <a:pt x="425" y="25"/>
                    <a:pt x="397" y="0"/>
                    <a:pt x="361" y="0"/>
                  </a:cubicBezTo>
                  <a:cubicBezTo>
                    <a:pt x="349" y="0"/>
                    <a:pt x="338" y="3"/>
                    <a:pt x="328" y="9"/>
                  </a:cubicBezTo>
                  <a:cubicBezTo>
                    <a:pt x="331" y="18"/>
                    <a:pt x="333" y="28"/>
                    <a:pt x="333" y="39"/>
                  </a:cubicBezTo>
                  <a:cubicBezTo>
                    <a:pt x="333" y="79"/>
                    <a:pt x="312" y="116"/>
                    <a:pt x="283" y="135"/>
                  </a:cubicBezTo>
                  <a:cubicBezTo>
                    <a:pt x="283" y="135"/>
                    <a:pt x="283" y="135"/>
                    <a:pt x="283" y="135"/>
                  </a:cubicBezTo>
                  <a:cubicBezTo>
                    <a:pt x="324" y="139"/>
                    <a:pt x="352" y="151"/>
                    <a:pt x="369" y="168"/>
                  </a:cubicBezTo>
                  <a:cubicBezTo>
                    <a:pt x="391" y="189"/>
                    <a:pt x="397" y="218"/>
                    <a:pt x="401" y="245"/>
                  </a:cubicBezTo>
                  <a:cubicBezTo>
                    <a:pt x="401" y="259"/>
                    <a:pt x="401" y="259"/>
                    <a:pt x="401" y="259"/>
                  </a:cubicBezTo>
                  <a:cubicBezTo>
                    <a:pt x="485" y="247"/>
                    <a:pt x="485" y="247"/>
                    <a:pt x="485" y="247"/>
                  </a:cubicBezTo>
                  <a:cubicBezTo>
                    <a:pt x="484" y="241"/>
                    <a:pt x="483" y="235"/>
                    <a:pt x="481" y="2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80" name="Freeform 94">
              <a:extLst>
                <a:ext uri="{FF2B5EF4-FFF2-40B4-BE49-F238E27FC236}">
                  <a16:creationId xmlns:a16="http://schemas.microsoft.com/office/drawing/2014/main" id="{240E6FA8-226D-4225-B5E6-13C7E80F6950}"/>
                </a:ext>
              </a:extLst>
            </p:cNvPr>
            <p:cNvSpPr>
              <a:spLocks/>
            </p:cNvSpPr>
            <p:nvPr/>
          </p:nvSpPr>
          <p:spPr bwMode="auto">
            <a:xfrm>
              <a:off x="5138790" y="2057401"/>
              <a:ext cx="149225" cy="169863"/>
            </a:xfrm>
            <a:custGeom>
              <a:avLst/>
              <a:gdLst>
                <a:gd name="T0" fmla="*/ 2147483646 w 147"/>
                <a:gd name="T1" fmla="*/ 2147483646 h 166"/>
                <a:gd name="T2" fmla="*/ 2147483646 w 147"/>
                <a:gd name="T3" fmla="*/ 2147483646 h 166"/>
                <a:gd name="T4" fmla="*/ 2147483646 w 147"/>
                <a:gd name="T5" fmla="*/ 2147483646 h 166"/>
                <a:gd name="T6" fmla="*/ 2147483646 w 147"/>
                <a:gd name="T7" fmla="*/ 0 h 166"/>
                <a:gd name="T8" fmla="*/ 0 w 147"/>
                <a:gd name="T9" fmla="*/ 2147483646 h 166"/>
                <a:gd name="T10" fmla="*/ 2147483646 w 147"/>
                <a:gd name="T11" fmla="*/ 2147483646 h 166"/>
                <a:gd name="T12" fmla="*/ 2147483646 w 147"/>
                <a:gd name="T13" fmla="*/ 2147483646 h 16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7" h="166">
                  <a:moveTo>
                    <a:pt x="74" y="166"/>
                  </a:moveTo>
                  <a:cubicBezTo>
                    <a:pt x="86" y="166"/>
                    <a:pt x="97" y="160"/>
                    <a:pt x="97" y="160"/>
                  </a:cubicBezTo>
                  <a:cubicBezTo>
                    <a:pt x="126" y="147"/>
                    <a:pt x="147" y="111"/>
                    <a:pt x="147" y="74"/>
                  </a:cubicBezTo>
                  <a:cubicBezTo>
                    <a:pt x="147" y="29"/>
                    <a:pt x="114" y="0"/>
                    <a:pt x="73" y="0"/>
                  </a:cubicBezTo>
                  <a:cubicBezTo>
                    <a:pt x="33" y="0"/>
                    <a:pt x="0" y="29"/>
                    <a:pt x="0" y="74"/>
                  </a:cubicBezTo>
                  <a:cubicBezTo>
                    <a:pt x="0" y="111"/>
                    <a:pt x="21" y="147"/>
                    <a:pt x="50" y="160"/>
                  </a:cubicBezTo>
                  <a:cubicBezTo>
                    <a:pt x="50" y="160"/>
                    <a:pt x="62" y="166"/>
                    <a:pt x="74" y="1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81" name="Freeform 95">
              <a:extLst>
                <a:ext uri="{FF2B5EF4-FFF2-40B4-BE49-F238E27FC236}">
                  <a16:creationId xmlns:a16="http://schemas.microsoft.com/office/drawing/2014/main" id="{B99ECE5B-9989-4C91-9F28-A208F824D051}"/>
                </a:ext>
              </a:extLst>
            </p:cNvPr>
            <p:cNvSpPr>
              <a:spLocks/>
            </p:cNvSpPr>
            <p:nvPr/>
          </p:nvSpPr>
          <p:spPr bwMode="auto">
            <a:xfrm>
              <a:off x="5226103" y="2239963"/>
              <a:ext cx="131763" cy="133350"/>
            </a:xfrm>
            <a:custGeom>
              <a:avLst/>
              <a:gdLst>
                <a:gd name="T0" fmla="*/ 2147483646 w 129"/>
                <a:gd name="T1" fmla="*/ 2147483646 h 130"/>
                <a:gd name="T2" fmla="*/ 2147483646 w 129"/>
                <a:gd name="T3" fmla="*/ 0 h 130"/>
                <a:gd name="T4" fmla="*/ 0 w 129"/>
                <a:gd name="T5" fmla="*/ 2147483646 h 130"/>
                <a:gd name="T6" fmla="*/ 2147483646 w 129"/>
                <a:gd name="T7" fmla="*/ 2147483646 h 130"/>
                <a:gd name="T8" fmla="*/ 2147483646 w 129"/>
                <a:gd name="T9" fmla="*/ 2147483646 h 13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0">
                  <a:moveTo>
                    <a:pt x="127" y="80"/>
                  </a:moveTo>
                  <a:cubicBezTo>
                    <a:pt x="118" y="39"/>
                    <a:pt x="104" y="7"/>
                    <a:pt x="30" y="0"/>
                  </a:cubicBezTo>
                  <a:cubicBezTo>
                    <a:pt x="0" y="130"/>
                    <a:pt x="0" y="130"/>
                    <a:pt x="0" y="130"/>
                  </a:cubicBezTo>
                  <a:cubicBezTo>
                    <a:pt x="90" y="129"/>
                    <a:pt x="129" y="118"/>
                    <a:pt x="129" y="118"/>
                  </a:cubicBezTo>
                  <a:cubicBezTo>
                    <a:pt x="128" y="113"/>
                    <a:pt x="128" y="85"/>
                    <a:pt x="127"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82" name="Freeform 96">
              <a:extLst>
                <a:ext uri="{FF2B5EF4-FFF2-40B4-BE49-F238E27FC236}">
                  <a16:creationId xmlns:a16="http://schemas.microsoft.com/office/drawing/2014/main" id="{4619CC47-5A8B-4474-95EC-654368F55828}"/>
                </a:ext>
              </a:extLst>
            </p:cNvPr>
            <p:cNvSpPr>
              <a:spLocks/>
            </p:cNvSpPr>
            <p:nvPr/>
          </p:nvSpPr>
          <p:spPr bwMode="auto">
            <a:xfrm>
              <a:off x="5070528" y="2239963"/>
              <a:ext cx="130175" cy="133350"/>
            </a:xfrm>
            <a:custGeom>
              <a:avLst/>
              <a:gdLst>
                <a:gd name="T0" fmla="*/ 2147483646 w 129"/>
                <a:gd name="T1" fmla="*/ 2147483646 h 131"/>
                <a:gd name="T2" fmla="*/ 0 w 129"/>
                <a:gd name="T3" fmla="*/ 2147483646 h 131"/>
                <a:gd name="T4" fmla="*/ 2147483646 w 129"/>
                <a:gd name="T5" fmla="*/ 2147483646 h 131"/>
                <a:gd name="T6" fmla="*/ 2147483646 w 129"/>
                <a:gd name="T7" fmla="*/ 0 h 131"/>
                <a:gd name="T8" fmla="*/ 2147483646 w 129"/>
                <a:gd name="T9" fmla="*/ 2147483646 h 1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1">
                  <a:moveTo>
                    <a:pt x="2" y="82"/>
                  </a:moveTo>
                  <a:cubicBezTo>
                    <a:pt x="1" y="86"/>
                    <a:pt x="0" y="114"/>
                    <a:pt x="0" y="118"/>
                  </a:cubicBezTo>
                  <a:cubicBezTo>
                    <a:pt x="0" y="118"/>
                    <a:pt x="33" y="130"/>
                    <a:pt x="129" y="131"/>
                  </a:cubicBezTo>
                  <a:cubicBezTo>
                    <a:pt x="99" y="0"/>
                    <a:pt x="99" y="0"/>
                    <a:pt x="99" y="0"/>
                  </a:cubicBezTo>
                  <a:cubicBezTo>
                    <a:pt x="23" y="7"/>
                    <a:pt x="10" y="40"/>
                    <a:pt x="2"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83" name="Freeform 97">
              <a:extLst>
                <a:ext uri="{FF2B5EF4-FFF2-40B4-BE49-F238E27FC236}">
                  <a16:creationId xmlns:a16="http://schemas.microsoft.com/office/drawing/2014/main" id="{F86FF88B-E278-456B-B695-855F85F39783}"/>
                </a:ext>
              </a:extLst>
            </p:cNvPr>
            <p:cNvSpPr>
              <a:spLocks/>
            </p:cNvSpPr>
            <p:nvPr/>
          </p:nvSpPr>
          <p:spPr bwMode="auto">
            <a:xfrm>
              <a:off x="5197528" y="2241551"/>
              <a:ext cx="31750" cy="17463"/>
            </a:xfrm>
            <a:custGeom>
              <a:avLst/>
              <a:gdLst>
                <a:gd name="T0" fmla="*/ 2147483646 w 31"/>
                <a:gd name="T1" fmla="*/ 2147483646 h 17"/>
                <a:gd name="T2" fmla="*/ 0 w 31"/>
                <a:gd name="T3" fmla="*/ 0 h 17"/>
                <a:gd name="T4" fmla="*/ 2147483646 w 31"/>
                <a:gd name="T5" fmla="*/ 2147483646 h 17"/>
                <a:gd name="T6" fmla="*/ 2147483646 w 31"/>
                <a:gd name="T7" fmla="*/ 2147483646 h 17"/>
                <a:gd name="T8" fmla="*/ 2147483646 w 31"/>
                <a:gd name="T9" fmla="*/ 0 h 17"/>
                <a:gd name="T10" fmla="*/ 2147483646 w 31"/>
                <a:gd name="T11" fmla="*/ 2147483646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1" h="17">
                  <a:moveTo>
                    <a:pt x="15" y="1"/>
                  </a:moveTo>
                  <a:cubicBezTo>
                    <a:pt x="7" y="1"/>
                    <a:pt x="0" y="0"/>
                    <a:pt x="0" y="0"/>
                  </a:cubicBezTo>
                  <a:cubicBezTo>
                    <a:pt x="7" y="17"/>
                    <a:pt x="7" y="17"/>
                    <a:pt x="7" y="17"/>
                  </a:cubicBezTo>
                  <a:cubicBezTo>
                    <a:pt x="24" y="17"/>
                    <a:pt x="24" y="17"/>
                    <a:pt x="24" y="17"/>
                  </a:cubicBezTo>
                  <a:cubicBezTo>
                    <a:pt x="31" y="0"/>
                    <a:pt x="31" y="0"/>
                    <a:pt x="31" y="0"/>
                  </a:cubicBezTo>
                  <a:cubicBezTo>
                    <a:pt x="31" y="0"/>
                    <a:pt x="25" y="1"/>
                    <a:pt x="1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84" name="Freeform 98">
              <a:extLst>
                <a:ext uri="{FF2B5EF4-FFF2-40B4-BE49-F238E27FC236}">
                  <a16:creationId xmlns:a16="http://schemas.microsoft.com/office/drawing/2014/main" id="{0ECF6E45-DE59-4B42-A345-FBBF4FA786C4}"/>
                </a:ext>
              </a:extLst>
            </p:cNvPr>
            <p:cNvSpPr>
              <a:spLocks/>
            </p:cNvSpPr>
            <p:nvPr/>
          </p:nvSpPr>
          <p:spPr bwMode="auto">
            <a:xfrm>
              <a:off x="5197528" y="2270126"/>
              <a:ext cx="31750" cy="100013"/>
            </a:xfrm>
            <a:custGeom>
              <a:avLst/>
              <a:gdLst>
                <a:gd name="T0" fmla="*/ 2147483646 w 20"/>
                <a:gd name="T1" fmla="*/ 2147483646 h 63"/>
                <a:gd name="T2" fmla="*/ 2147483646 w 20"/>
                <a:gd name="T3" fmla="*/ 0 h 63"/>
                <a:gd name="T4" fmla="*/ 2147483646 w 20"/>
                <a:gd name="T5" fmla="*/ 0 h 63"/>
                <a:gd name="T6" fmla="*/ 0 w 20"/>
                <a:gd name="T7" fmla="*/ 2147483646 h 63"/>
                <a:gd name="T8" fmla="*/ 2147483646 w 20"/>
                <a:gd name="T9" fmla="*/ 2147483646 h 63"/>
                <a:gd name="T10" fmla="*/ 2147483646 w 20"/>
                <a:gd name="T11" fmla="*/ 2147483646 h 6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63">
                  <a:moveTo>
                    <a:pt x="20" y="19"/>
                  </a:moveTo>
                  <a:lnTo>
                    <a:pt x="16" y="0"/>
                  </a:lnTo>
                  <a:lnTo>
                    <a:pt x="6" y="0"/>
                  </a:lnTo>
                  <a:lnTo>
                    <a:pt x="0" y="19"/>
                  </a:lnTo>
                  <a:lnTo>
                    <a:pt x="10" y="63"/>
                  </a:lnTo>
                  <a:lnTo>
                    <a:pt x="2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85" name="Freeform 99">
              <a:extLst>
                <a:ext uri="{FF2B5EF4-FFF2-40B4-BE49-F238E27FC236}">
                  <a16:creationId xmlns:a16="http://schemas.microsoft.com/office/drawing/2014/main" id="{FB28D520-8B3D-4969-AC5D-7F09FC3A3B92}"/>
                </a:ext>
              </a:extLst>
            </p:cNvPr>
            <p:cNvSpPr>
              <a:spLocks/>
            </p:cNvSpPr>
            <p:nvPr/>
          </p:nvSpPr>
          <p:spPr bwMode="auto">
            <a:xfrm>
              <a:off x="5261028" y="2312988"/>
              <a:ext cx="50800" cy="12700"/>
            </a:xfrm>
            <a:custGeom>
              <a:avLst/>
              <a:gdLst>
                <a:gd name="T0" fmla="*/ 2147483646 w 32"/>
                <a:gd name="T1" fmla="*/ 2147483646 h 8"/>
                <a:gd name="T2" fmla="*/ 0 w 32"/>
                <a:gd name="T3" fmla="*/ 2147483646 h 8"/>
                <a:gd name="T4" fmla="*/ 0 w 32"/>
                <a:gd name="T5" fmla="*/ 0 h 8"/>
                <a:gd name="T6" fmla="*/ 2147483646 w 32"/>
                <a:gd name="T7" fmla="*/ 0 h 8"/>
                <a:gd name="T8" fmla="*/ 2147483646 w 32"/>
                <a:gd name="T9" fmla="*/ 0 h 8"/>
                <a:gd name="T10" fmla="*/ 2147483646 w 32"/>
                <a:gd name="T11" fmla="*/ 2147483646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 h="8">
                  <a:moveTo>
                    <a:pt x="32" y="8"/>
                  </a:moveTo>
                  <a:lnTo>
                    <a:pt x="0" y="8"/>
                  </a:lnTo>
                  <a:lnTo>
                    <a:pt x="0" y="0"/>
                  </a:lnTo>
                  <a:lnTo>
                    <a:pt x="19" y="0"/>
                  </a:lnTo>
                  <a:lnTo>
                    <a:pt x="32" y="0"/>
                  </a:lnTo>
                  <a:lnTo>
                    <a:pt x="3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grpSp>
      <p:sp>
        <p:nvSpPr>
          <p:cNvPr id="248" name="Freeform 93">
            <a:extLst>
              <a:ext uri="{FF2B5EF4-FFF2-40B4-BE49-F238E27FC236}">
                <a16:creationId xmlns:a16="http://schemas.microsoft.com/office/drawing/2014/main" id="{DFA08D17-6113-4313-A801-61891899DE14}"/>
              </a:ext>
            </a:extLst>
          </p:cNvPr>
          <p:cNvSpPr>
            <a:spLocks noEditPoints="1"/>
          </p:cNvSpPr>
          <p:nvPr/>
        </p:nvSpPr>
        <p:spPr bwMode="auto">
          <a:xfrm>
            <a:off x="19539220" y="10196515"/>
            <a:ext cx="1082437" cy="577150"/>
          </a:xfrm>
          <a:custGeom>
            <a:avLst/>
            <a:gdLst>
              <a:gd name="T0" fmla="*/ 2147483646 w 485"/>
              <a:gd name="T1" fmla="*/ 2147483646 h 259"/>
              <a:gd name="T2" fmla="*/ 2147483646 w 485"/>
              <a:gd name="T3" fmla="*/ 2147483646 h 259"/>
              <a:gd name="T4" fmla="*/ 2147483646 w 485"/>
              <a:gd name="T5" fmla="*/ 0 h 259"/>
              <a:gd name="T6" fmla="*/ 2147483646 w 485"/>
              <a:gd name="T7" fmla="*/ 2147483646 h 259"/>
              <a:gd name="T8" fmla="*/ 2147483646 w 485"/>
              <a:gd name="T9" fmla="*/ 2147483646 h 259"/>
              <a:gd name="T10" fmla="*/ 2147483646 w 485"/>
              <a:gd name="T11" fmla="*/ 2147483646 h 259"/>
              <a:gd name="T12" fmla="*/ 0 w 485"/>
              <a:gd name="T13" fmla="*/ 2147483646 h 259"/>
              <a:gd name="T14" fmla="*/ 2147483646 w 485"/>
              <a:gd name="T15" fmla="*/ 2147483646 h 259"/>
              <a:gd name="T16" fmla="*/ 2147483646 w 485"/>
              <a:gd name="T17" fmla="*/ 2147483646 h 259"/>
              <a:gd name="T18" fmla="*/ 2147483646 w 485"/>
              <a:gd name="T19" fmla="*/ 2147483646 h 259"/>
              <a:gd name="T20" fmla="*/ 2147483646 w 485"/>
              <a:gd name="T21" fmla="*/ 2147483646 h 259"/>
              <a:gd name="T22" fmla="*/ 2147483646 w 485"/>
              <a:gd name="T23" fmla="*/ 2147483646 h 259"/>
              <a:gd name="T24" fmla="*/ 2147483646 w 485"/>
              <a:gd name="T25" fmla="*/ 2147483646 h 259"/>
              <a:gd name="T26" fmla="*/ 2147483646 w 485"/>
              <a:gd name="T27" fmla="*/ 2147483646 h 259"/>
              <a:gd name="T28" fmla="*/ 2147483646 w 485"/>
              <a:gd name="T29" fmla="*/ 2147483646 h 259"/>
              <a:gd name="T30" fmla="*/ 2147483646 w 485"/>
              <a:gd name="T31" fmla="*/ 2147483646 h 259"/>
              <a:gd name="T32" fmla="*/ 2147483646 w 485"/>
              <a:gd name="T33" fmla="*/ 2147483646 h 259"/>
              <a:gd name="T34" fmla="*/ 2147483646 w 485"/>
              <a:gd name="T35" fmla="*/ 0 h 259"/>
              <a:gd name="T36" fmla="*/ 2147483646 w 485"/>
              <a:gd name="T37" fmla="*/ 2147483646 h 259"/>
              <a:gd name="T38" fmla="*/ 2147483646 w 485"/>
              <a:gd name="T39" fmla="*/ 2147483646 h 259"/>
              <a:gd name="T40" fmla="*/ 2147483646 w 485"/>
              <a:gd name="T41" fmla="*/ 2147483646 h 259"/>
              <a:gd name="T42" fmla="*/ 2147483646 w 485"/>
              <a:gd name="T43" fmla="*/ 2147483646 h 259"/>
              <a:gd name="T44" fmla="*/ 2147483646 w 485"/>
              <a:gd name="T45" fmla="*/ 2147483646 h 259"/>
              <a:gd name="T46" fmla="*/ 2147483646 w 485"/>
              <a:gd name="T47" fmla="*/ 2147483646 h 259"/>
              <a:gd name="T48" fmla="*/ 2147483646 w 485"/>
              <a:gd name="T49" fmla="*/ 2147483646 h 259"/>
              <a:gd name="T50" fmla="*/ 2147483646 w 485"/>
              <a:gd name="T51" fmla="*/ 2147483646 h 259"/>
              <a:gd name="T52" fmla="*/ 2147483646 w 485"/>
              <a:gd name="T53" fmla="*/ 2147483646 h 25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85" h="259">
                <a:moveTo>
                  <a:pt x="152" y="39"/>
                </a:moveTo>
                <a:cubicBezTo>
                  <a:pt x="152" y="28"/>
                  <a:pt x="154" y="18"/>
                  <a:pt x="157" y="9"/>
                </a:cubicBezTo>
                <a:cubicBezTo>
                  <a:pt x="147" y="3"/>
                  <a:pt x="136" y="0"/>
                  <a:pt x="123" y="0"/>
                </a:cubicBezTo>
                <a:cubicBezTo>
                  <a:pt x="88" y="0"/>
                  <a:pt x="60" y="25"/>
                  <a:pt x="60" y="65"/>
                </a:cubicBezTo>
                <a:cubicBezTo>
                  <a:pt x="60" y="97"/>
                  <a:pt x="78" y="128"/>
                  <a:pt x="103" y="140"/>
                </a:cubicBezTo>
                <a:cubicBezTo>
                  <a:pt x="103" y="165"/>
                  <a:pt x="103" y="165"/>
                  <a:pt x="103" y="165"/>
                </a:cubicBezTo>
                <a:cubicBezTo>
                  <a:pt x="22" y="170"/>
                  <a:pt x="6" y="204"/>
                  <a:pt x="0" y="247"/>
                </a:cubicBezTo>
                <a:cubicBezTo>
                  <a:pt x="84" y="259"/>
                  <a:pt x="84" y="259"/>
                  <a:pt x="84" y="259"/>
                </a:cubicBezTo>
                <a:cubicBezTo>
                  <a:pt x="84" y="245"/>
                  <a:pt x="84" y="245"/>
                  <a:pt x="84" y="245"/>
                </a:cubicBezTo>
                <a:cubicBezTo>
                  <a:pt x="88" y="219"/>
                  <a:pt x="94" y="192"/>
                  <a:pt x="114" y="171"/>
                </a:cubicBezTo>
                <a:cubicBezTo>
                  <a:pt x="131" y="153"/>
                  <a:pt x="159" y="140"/>
                  <a:pt x="202" y="135"/>
                </a:cubicBezTo>
                <a:cubicBezTo>
                  <a:pt x="202" y="135"/>
                  <a:pt x="202" y="135"/>
                  <a:pt x="202" y="135"/>
                </a:cubicBezTo>
                <a:cubicBezTo>
                  <a:pt x="173" y="116"/>
                  <a:pt x="152" y="79"/>
                  <a:pt x="152" y="39"/>
                </a:cubicBezTo>
                <a:close/>
                <a:moveTo>
                  <a:pt x="481" y="229"/>
                </a:moveTo>
                <a:cubicBezTo>
                  <a:pt x="472" y="194"/>
                  <a:pt x="450" y="169"/>
                  <a:pt x="382" y="165"/>
                </a:cubicBezTo>
                <a:cubicBezTo>
                  <a:pt x="382" y="140"/>
                  <a:pt x="382" y="140"/>
                  <a:pt x="382" y="140"/>
                </a:cubicBezTo>
                <a:cubicBezTo>
                  <a:pt x="407" y="128"/>
                  <a:pt x="425" y="97"/>
                  <a:pt x="425" y="65"/>
                </a:cubicBezTo>
                <a:cubicBezTo>
                  <a:pt x="425" y="25"/>
                  <a:pt x="397" y="0"/>
                  <a:pt x="361" y="0"/>
                </a:cubicBezTo>
                <a:cubicBezTo>
                  <a:pt x="349" y="0"/>
                  <a:pt x="338" y="3"/>
                  <a:pt x="328" y="9"/>
                </a:cubicBezTo>
                <a:cubicBezTo>
                  <a:pt x="331" y="18"/>
                  <a:pt x="333" y="28"/>
                  <a:pt x="333" y="39"/>
                </a:cubicBezTo>
                <a:cubicBezTo>
                  <a:pt x="333" y="79"/>
                  <a:pt x="312" y="116"/>
                  <a:pt x="283" y="135"/>
                </a:cubicBezTo>
                <a:cubicBezTo>
                  <a:pt x="283" y="135"/>
                  <a:pt x="283" y="135"/>
                  <a:pt x="283" y="135"/>
                </a:cubicBezTo>
                <a:cubicBezTo>
                  <a:pt x="324" y="139"/>
                  <a:pt x="352" y="151"/>
                  <a:pt x="369" y="168"/>
                </a:cubicBezTo>
                <a:cubicBezTo>
                  <a:pt x="391" y="189"/>
                  <a:pt x="397" y="218"/>
                  <a:pt x="401" y="245"/>
                </a:cubicBezTo>
                <a:cubicBezTo>
                  <a:pt x="401" y="259"/>
                  <a:pt x="401" y="259"/>
                  <a:pt x="401" y="259"/>
                </a:cubicBezTo>
                <a:cubicBezTo>
                  <a:pt x="485" y="247"/>
                  <a:pt x="485" y="247"/>
                  <a:pt x="485" y="247"/>
                </a:cubicBezTo>
                <a:cubicBezTo>
                  <a:pt x="484" y="241"/>
                  <a:pt x="483" y="235"/>
                  <a:pt x="481" y="2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49" name="Freeform 94">
            <a:extLst>
              <a:ext uri="{FF2B5EF4-FFF2-40B4-BE49-F238E27FC236}">
                <a16:creationId xmlns:a16="http://schemas.microsoft.com/office/drawing/2014/main" id="{7E380BFC-7D03-4C67-A7E7-E0C5DA2807E5}"/>
              </a:ext>
            </a:extLst>
          </p:cNvPr>
          <p:cNvSpPr>
            <a:spLocks/>
          </p:cNvSpPr>
          <p:nvPr/>
        </p:nvSpPr>
        <p:spPr bwMode="auto">
          <a:xfrm>
            <a:off x="19916327" y="10126558"/>
            <a:ext cx="328223" cy="374273"/>
          </a:xfrm>
          <a:custGeom>
            <a:avLst/>
            <a:gdLst>
              <a:gd name="T0" fmla="*/ 2147483646 w 147"/>
              <a:gd name="T1" fmla="*/ 2147483646 h 166"/>
              <a:gd name="T2" fmla="*/ 2147483646 w 147"/>
              <a:gd name="T3" fmla="*/ 2147483646 h 166"/>
              <a:gd name="T4" fmla="*/ 2147483646 w 147"/>
              <a:gd name="T5" fmla="*/ 2147483646 h 166"/>
              <a:gd name="T6" fmla="*/ 2147483646 w 147"/>
              <a:gd name="T7" fmla="*/ 0 h 166"/>
              <a:gd name="T8" fmla="*/ 0 w 147"/>
              <a:gd name="T9" fmla="*/ 2147483646 h 166"/>
              <a:gd name="T10" fmla="*/ 2147483646 w 147"/>
              <a:gd name="T11" fmla="*/ 2147483646 h 166"/>
              <a:gd name="T12" fmla="*/ 2147483646 w 147"/>
              <a:gd name="T13" fmla="*/ 2147483646 h 16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7" h="166">
                <a:moveTo>
                  <a:pt x="74" y="166"/>
                </a:moveTo>
                <a:cubicBezTo>
                  <a:pt x="86" y="166"/>
                  <a:pt x="97" y="160"/>
                  <a:pt x="97" y="160"/>
                </a:cubicBezTo>
                <a:cubicBezTo>
                  <a:pt x="126" y="147"/>
                  <a:pt x="147" y="111"/>
                  <a:pt x="147" y="74"/>
                </a:cubicBezTo>
                <a:cubicBezTo>
                  <a:pt x="147" y="29"/>
                  <a:pt x="114" y="0"/>
                  <a:pt x="73" y="0"/>
                </a:cubicBezTo>
                <a:cubicBezTo>
                  <a:pt x="33" y="0"/>
                  <a:pt x="0" y="29"/>
                  <a:pt x="0" y="74"/>
                </a:cubicBezTo>
                <a:cubicBezTo>
                  <a:pt x="0" y="111"/>
                  <a:pt x="21" y="147"/>
                  <a:pt x="50" y="160"/>
                </a:cubicBezTo>
                <a:cubicBezTo>
                  <a:pt x="50" y="160"/>
                  <a:pt x="62" y="166"/>
                  <a:pt x="74" y="16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0" name="Freeform 95">
            <a:extLst>
              <a:ext uri="{FF2B5EF4-FFF2-40B4-BE49-F238E27FC236}">
                <a16:creationId xmlns:a16="http://schemas.microsoft.com/office/drawing/2014/main" id="{CFE0C78D-9CDB-4DDD-B535-59A7535F154D}"/>
              </a:ext>
            </a:extLst>
          </p:cNvPr>
          <p:cNvSpPr>
            <a:spLocks/>
          </p:cNvSpPr>
          <p:nvPr/>
        </p:nvSpPr>
        <p:spPr bwMode="auto">
          <a:xfrm>
            <a:off x="20108373" y="10528812"/>
            <a:ext cx="289815" cy="293821"/>
          </a:xfrm>
          <a:custGeom>
            <a:avLst/>
            <a:gdLst>
              <a:gd name="T0" fmla="*/ 2147483646 w 129"/>
              <a:gd name="T1" fmla="*/ 2147483646 h 130"/>
              <a:gd name="T2" fmla="*/ 2147483646 w 129"/>
              <a:gd name="T3" fmla="*/ 0 h 130"/>
              <a:gd name="T4" fmla="*/ 0 w 129"/>
              <a:gd name="T5" fmla="*/ 2147483646 h 130"/>
              <a:gd name="T6" fmla="*/ 2147483646 w 129"/>
              <a:gd name="T7" fmla="*/ 2147483646 h 130"/>
              <a:gd name="T8" fmla="*/ 2147483646 w 129"/>
              <a:gd name="T9" fmla="*/ 2147483646 h 13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0">
                <a:moveTo>
                  <a:pt x="127" y="80"/>
                </a:moveTo>
                <a:cubicBezTo>
                  <a:pt x="118" y="39"/>
                  <a:pt x="104" y="7"/>
                  <a:pt x="30" y="0"/>
                </a:cubicBezTo>
                <a:cubicBezTo>
                  <a:pt x="0" y="130"/>
                  <a:pt x="0" y="130"/>
                  <a:pt x="0" y="130"/>
                </a:cubicBezTo>
                <a:cubicBezTo>
                  <a:pt x="90" y="129"/>
                  <a:pt x="129" y="118"/>
                  <a:pt x="129" y="118"/>
                </a:cubicBezTo>
                <a:cubicBezTo>
                  <a:pt x="128" y="113"/>
                  <a:pt x="128" y="85"/>
                  <a:pt x="127" y="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1" name="Freeform 96">
            <a:extLst>
              <a:ext uri="{FF2B5EF4-FFF2-40B4-BE49-F238E27FC236}">
                <a16:creationId xmlns:a16="http://schemas.microsoft.com/office/drawing/2014/main" id="{65534B48-27DF-4CC8-BFED-596256A0D4E4}"/>
              </a:ext>
            </a:extLst>
          </p:cNvPr>
          <p:cNvSpPr>
            <a:spLocks/>
          </p:cNvSpPr>
          <p:nvPr/>
        </p:nvSpPr>
        <p:spPr bwMode="auto">
          <a:xfrm>
            <a:off x="19766184" y="10528812"/>
            <a:ext cx="286322" cy="293821"/>
          </a:xfrm>
          <a:custGeom>
            <a:avLst/>
            <a:gdLst>
              <a:gd name="T0" fmla="*/ 2147483646 w 129"/>
              <a:gd name="T1" fmla="*/ 2147483646 h 131"/>
              <a:gd name="T2" fmla="*/ 0 w 129"/>
              <a:gd name="T3" fmla="*/ 2147483646 h 131"/>
              <a:gd name="T4" fmla="*/ 2147483646 w 129"/>
              <a:gd name="T5" fmla="*/ 2147483646 h 131"/>
              <a:gd name="T6" fmla="*/ 2147483646 w 129"/>
              <a:gd name="T7" fmla="*/ 0 h 131"/>
              <a:gd name="T8" fmla="*/ 2147483646 w 129"/>
              <a:gd name="T9" fmla="*/ 2147483646 h 1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1">
                <a:moveTo>
                  <a:pt x="2" y="82"/>
                </a:moveTo>
                <a:cubicBezTo>
                  <a:pt x="1" y="86"/>
                  <a:pt x="0" y="114"/>
                  <a:pt x="0" y="118"/>
                </a:cubicBezTo>
                <a:cubicBezTo>
                  <a:pt x="0" y="118"/>
                  <a:pt x="33" y="130"/>
                  <a:pt x="129" y="131"/>
                </a:cubicBezTo>
                <a:cubicBezTo>
                  <a:pt x="99" y="0"/>
                  <a:pt x="99" y="0"/>
                  <a:pt x="99" y="0"/>
                </a:cubicBezTo>
                <a:cubicBezTo>
                  <a:pt x="23" y="7"/>
                  <a:pt x="10" y="40"/>
                  <a:pt x="2" y="8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2" name="Freeform 97">
            <a:extLst>
              <a:ext uri="{FF2B5EF4-FFF2-40B4-BE49-F238E27FC236}">
                <a16:creationId xmlns:a16="http://schemas.microsoft.com/office/drawing/2014/main" id="{A4D6FEB1-9066-4C24-B822-75FA13D9DE25}"/>
              </a:ext>
            </a:extLst>
          </p:cNvPr>
          <p:cNvSpPr>
            <a:spLocks/>
          </p:cNvSpPr>
          <p:nvPr/>
        </p:nvSpPr>
        <p:spPr bwMode="auto">
          <a:xfrm>
            <a:off x="20045522" y="10532311"/>
            <a:ext cx="69835" cy="38478"/>
          </a:xfrm>
          <a:custGeom>
            <a:avLst/>
            <a:gdLst>
              <a:gd name="T0" fmla="*/ 2147483646 w 31"/>
              <a:gd name="T1" fmla="*/ 2147483646 h 17"/>
              <a:gd name="T2" fmla="*/ 0 w 31"/>
              <a:gd name="T3" fmla="*/ 0 h 17"/>
              <a:gd name="T4" fmla="*/ 2147483646 w 31"/>
              <a:gd name="T5" fmla="*/ 2147483646 h 17"/>
              <a:gd name="T6" fmla="*/ 2147483646 w 31"/>
              <a:gd name="T7" fmla="*/ 2147483646 h 17"/>
              <a:gd name="T8" fmla="*/ 2147483646 w 31"/>
              <a:gd name="T9" fmla="*/ 0 h 17"/>
              <a:gd name="T10" fmla="*/ 2147483646 w 31"/>
              <a:gd name="T11" fmla="*/ 2147483646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1" h="17">
                <a:moveTo>
                  <a:pt x="15" y="1"/>
                </a:moveTo>
                <a:cubicBezTo>
                  <a:pt x="7" y="1"/>
                  <a:pt x="0" y="0"/>
                  <a:pt x="0" y="0"/>
                </a:cubicBezTo>
                <a:cubicBezTo>
                  <a:pt x="7" y="17"/>
                  <a:pt x="7" y="17"/>
                  <a:pt x="7" y="17"/>
                </a:cubicBezTo>
                <a:cubicBezTo>
                  <a:pt x="24" y="17"/>
                  <a:pt x="24" y="17"/>
                  <a:pt x="24" y="17"/>
                </a:cubicBezTo>
                <a:cubicBezTo>
                  <a:pt x="31" y="0"/>
                  <a:pt x="31" y="0"/>
                  <a:pt x="31" y="0"/>
                </a:cubicBezTo>
                <a:cubicBezTo>
                  <a:pt x="31" y="0"/>
                  <a:pt x="25" y="1"/>
                  <a:pt x="15"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3" name="Freeform 98">
            <a:extLst>
              <a:ext uri="{FF2B5EF4-FFF2-40B4-BE49-F238E27FC236}">
                <a16:creationId xmlns:a16="http://schemas.microsoft.com/office/drawing/2014/main" id="{35BB263D-DEBC-4B72-8B40-B729ACB65B19}"/>
              </a:ext>
            </a:extLst>
          </p:cNvPr>
          <p:cNvSpPr>
            <a:spLocks/>
          </p:cNvSpPr>
          <p:nvPr/>
        </p:nvSpPr>
        <p:spPr bwMode="auto">
          <a:xfrm>
            <a:off x="20045522" y="10595273"/>
            <a:ext cx="69835" cy="220367"/>
          </a:xfrm>
          <a:custGeom>
            <a:avLst/>
            <a:gdLst>
              <a:gd name="T0" fmla="*/ 2147483646 w 20"/>
              <a:gd name="T1" fmla="*/ 2147483646 h 63"/>
              <a:gd name="T2" fmla="*/ 2147483646 w 20"/>
              <a:gd name="T3" fmla="*/ 0 h 63"/>
              <a:gd name="T4" fmla="*/ 2147483646 w 20"/>
              <a:gd name="T5" fmla="*/ 0 h 63"/>
              <a:gd name="T6" fmla="*/ 0 w 20"/>
              <a:gd name="T7" fmla="*/ 2147483646 h 63"/>
              <a:gd name="T8" fmla="*/ 2147483646 w 20"/>
              <a:gd name="T9" fmla="*/ 2147483646 h 63"/>
              <a:gd name="T10" fmla="*/ 2147483646 w 20"/>
              <a:gd name="T11" fmla="*/ 2147483646 h 6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63">
                <a:moveTo>
                  <a:pt x="20" y="19"/>
                </a:moveTo>
                <a:lnTo>
                  <a:pt x="16" y="0"/>
                </a:lnTo>
                <a:lnTo>
                  <a:pt x="6" y="0"/>
                </a:lnTo>
                <a:lnTo>
                  <a:pt x="0" y="19"/>
                </a:lnTo>
                <a:lnTo>
                  <a:pt x="10" y="63"/>
                </a:lnTo>
                <a:lnTo>
                  <a:pt x="2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4" name="Freeform 99">
            <a:extLst>
              <a:ext uri="{FF2B5EF4-FFF2-40B4-BE49-F238E27FC236}">
                <a16:creationId xmlns:a16="http://schemas.microsoft.com/office/drawing/2014/main" id="{C2D7F909-8A25-4F83-BE9C-6BA425FFFE3D}"/>
              </a:ext>
            </a:extLst>
          </p:cNvPr>
          <p:cNvSpPr>
            <a:spLocks/>
          </p:cNvSpPr>
          <p:nvPr/>
        </p:nvSpPr>
        <p:spPr bwMode="auto">
          <a:xfrm>
            <a:off x="20185192" y="10689714"/>
            <a:ext cx="111735" cy="27983"/>
          </a:xfrm>
          <a:custGeom>
            <a:avLst/>
            <a:gdLst>
              <a:gd name="T0" fmla="*/ 2147483646 w 32"/>
              <a:gd name="T1" fmla="*/ 2147483646 h 8"/>
              <a:gd name="T2" fmla="*/ 0 w 32"/>
              <a:gd name="T3" fmla="*/ 2147483646 h 8"/>
              <a:gd name="T4" fmla="*/ 0 w 32"/>
              <a:gd name="T5" fmla="*/ 0 h 8"/>
              <a:gd name="T6" fmla="*/ 2147483646 w 32"/>
              <a:gd name="T7" fmla="*/ 0 h 8"/>
              <a:gd name="T8" fmla="*/ 2147483646 w 32"/>
              <a:gd name="T9" fmla="*/ 0 h 8"/>
              <a:gd name="T10" fmla="*/ 2147483646 w 32"/>
              <a:gd name="T11" fmla="*/ 2147483646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 h="8">
                <a:moveTo>
                  <a:pt x="32" y="8"/>
                </a:moveTo>
                <a:lnTo>
                  <a:pt x="0" y="8"/>
                </a:lnTo>
                <a:lnTo>
                  <a:pt x="0" y="0"/>
                </a:lnTo>
                <a:lnTo>
                  <a:pt x="19" y="0"/>
                </a:lnTo>
                <a:lnTo>
                  <a:pt x="32" y="0"/>
                </a:lnTo>
                <a:lnTo>
                  <a:pt x="32"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81" name="Rectangle 80">
            <a:extLst>
              <a:ext uri="{FF2B5EF4-FFF2-40B4-BE49-F238E27FC236}">
                <a16:creationId xmlns:a16="http://schemas.microsoft.com/office/drawing/2014/main" id="{8B5D7DE5-39DD-4D3A-92DC-44A3ECFC2C3A}"/>
              </a:ext>
            </a:extLst>
          </p:cNvPr>
          <p:cNvSpPr/>
          <p:nvPr/>
        </p:nvSpPr>
        <p:spPr>
          <a:xfrm>
            <a:off x="2743953" y="4544479"/>
            <a:ext cx="14815747" cy="7138499"/>
          </a:xfrm>
          <a:prstGeom prst="rect">
            <a:avLst/>
          </a:prstGeom>
          <a:solidFill>
            <a:schemeClr val="bg1">
              <a:lumMod val="95000"/>
              <a:alpha val="40000"/>
            </a:schemeClr>
          </a:solidFill>
          <a:ln w="25400" cap="flat" cmpd="sng" algn="ctr">
            <a:noFill/>
            <a:prstDash val="solid"/>
          </a:ln>
          <a:effectLst>
            <a:outerShdw blurRad="50800" dist="76200" dir="2700000" algn="tl" rotWithShape="0">
              <a:prstClr val="black">
                <a:alpha val="40000"/>
              </a:prstClr>
            </a:outerShdw>
          </a:effectLst>
        </p:spPr>
        <p:txBody>
          <a:bodyPr lIns="0" rIns="0" anchor="ctr"/>
          <a:lstStyle/>
          <a:p>
            <a:pPr algn="ctr" defTabSz="937937">
              <a:defRPr/>
            </a:pPr>
            <a:endParaRPr lang="en-US" sz="1400" b="1" kern="0" dirty="0">
              <a:solidFill>
                <a:srgbClr val="FFFFFF"/>
              </a:solidFill>
              <a:latin typeface="Arial" panose="020B0604020202020204"/>
            </a:endParaRPr>
          </a:p>
        </p:txBody>
      </p:sp>
      <p:sp>
        <p:nvSpPr>
          <p:cNvPr id="82" name="Rectangle 478">
            <a:extLst>
              <a:ext uri="{FF2B5EF4-FFF2-40B4-BE49-F238E27FC236}">
                <a16:creationId xmlns:a16="http://schemas.microsoft.com/office/drawing/2014/main" id="{F4A70F92-897E-4309-A1A5-E5CF71EB5E66}"/>
              </a:ext>
            </a:extLst>
          </p:cNvPr>
          <p:cNvSpPr>
            <a:spLocks noChangeArrowheads="1"/>
          </p:cNvSpPr>
          <p:nvPr/>
        </p:nvSpPr>
        <p:spPr bwMode="auto">
          <a:xfrm>
            <a:off x="14641033" y="9361317"/>
            <a:ext cx="2572877" cy="973523"/>
          </a:xfrm>
          <a:prstGeom prst="rect">
            <a:avLst/>
          </a:prstGeom>
          <a:solidFill>
            <a:schemeClr val="bg2">
              <a:lumMod val="85000"/>
              <a:alpha val="40000"/>
            </a:schemeClr>
          </a:solidFill>
          <a:ln w="11113" cap="rnd">
            <a:noFill/>
            <a:miter lim="800000"/>
            <a:headEnd/>
            <a:tailEnd/>
          </a:ln>
          <a:effectLst/>
        </p:spPr>
        <p:txBody>
          <a:bodyPr anchor="ctr"/>
          <a:lstStyle/>
          <a:p>
            <a:pPr defTabSz="1097280" fontAlgn="base">
              <a:spcBef>
                <a:spcPct val="0"/>
              </a:spcBef>
              <a:spcAft>
                <a:spcPct val="0"/>
              </a:spcAft>
            </a:pPr>
            <a:r>
              <a:rPr lang="en-GB" altLang="en-US" sz="1400" b="1" dirty="0">
                <a:solidFill>
                  <a:srgbClr val="000000">
                    <a:alpha val="40000"/>
                  </a:srgbClr>
                </a:solidFill>
                <a:ea typeface="MS PGothic"/>
                <a:cs typeface="Arial"/>
              </a:rPr>
              <a:t>Control de seguridad &amp; Información </a:t>
            </a:r>
          </a:p>
        </p:txBody>
      </p:sp>
      <p:sp>
        <p:nvSpPr>
          <p:cNvPr id="83" name="Rectangle 483">
            <a:extLst>
              <a:ext uri="{FF2B5EF4-FFF2-40B4-BE49-F238E27FC236}">
                <a16:creationId xmlns:a16="http://schemas.microsoft.com/office/drawing/2014/main" id="{A6AE44EB-BE01-4B02-B6E9-9B8A36C96312}"/>
              </a:ext>
            </a:extLst>
          </p:cNvPr>
          <p:cNvSpPr>
            <a:spLocks noChangeArrowheads="1"/>
          </p:cNvSpPr>
          <p:nvPr/>
        </p:nvSpPr>
        <p:spPr bwMode="auto">
          <a:xfrm>
            <a:off x="5949031" y="7135450"/>
            <a:ext cx="2572877" cy="973523"/>
          </a:xfrm>
          <a:prstGeom prst="rect">
            <a:avLst/>
          </a:prstGeom>
          <a:solidFill>
            <a:schemeClr val="accent1">
              <a:lumMod val="20000"/>
              <a:lumOff val="80000"/>
              <a:alpha val="40000"/>
            </a:schemeClr>
          </a:solidFill>
          <a:ln w="101600">
            <a:no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a:solidFill>
                  <a:schemeClr val="tx1"/>
                </a:solidFill>
                <a:latin typeface="Arial" panose="020B0604020202020204"/>
                <a:ea typeface="MS PGothic"/>
              </a:rPr>
              <a:t>Desarrollo de releases</a:t>
            </a:r>
            <a:endParaRPr lang="en-GB" altLang="en-US" sz="1400" b="1">
              <a:solidFill>
                <a:schemeClr val="tx1"/>
              </a:solidFill>
              <a:latin typeface="Arial" panose="020B0604020202020204"/>
              <a:ea typeface="MS PGothic" charset="-128"/>
              <a:cs typeface="+mn-cs"/>
            </a:endParaRPr>
          </a:p>
        </p:txBody>
      </p:sp>
      <p:sp>
        <p:nvSpPr>
          <p:cNvPr id="85" name="Rectangle 495">
            <a:extLst>
              <a:ext uri="{FF2B5EF4-FFF2-40B4-BE49-F238E27FC236}">
                <a16:creationId xmlns:a16="http://schemas.microsoft.com/office/drawing/2014/main" id="{F019555A-FC07-4846-BF2B-38A6E6443C22}"/>
              </a:ext>
            </a:extLst>
          </p:cNvPr>
          <p:cNvSpPr>
            <a:spLocks noChangeArrowheads="1"/>
          </p:cNvSpPr>
          <p:nvPr/>
        </p:nvSpPr>
        <p:spPr bwMode="auto">
          <a:xfrm>
            <a:off x="5949031" y="4903089"/>
            <a:ext cx="2572877" cy="973523"/>
          </a:xfrm>
          <a:prstGeom prst="rect">
            <a:avLst/>
          </a:prstGeom>
          <a:solidFill>
            <a:schemeClr val="accent1">
              <a:lumMod val="20000"/>
              <a:lumOff val="80000"/>
              <a:alpha val="40000"/>
            </a:schemeClr>
          </a:solidFill>
          <a:ln>
            <a:no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a:solidFill>
                  <a:schemeClr val="tx1"/>
                </a:solidFill>
                <a:latin typeface="Arial" panose="020B0604020202020204"/>
                <a:ea typeface="MS PGothic"/>
                <a:cs typeface="+mn-cs"/>
              </a:rPr>
              <a:t>Diseño &amp; Arquitectura de servicios</a:t>
            </a:r>
            <a:endParaRPr lang="en-US" sz="1400" b="1">
              <a:solidFill>
                <a:schemeClr val="tx1"/>
              </a:solidFill>
              <a:latin typeface="Arial" panose="020B0604020202020204"/>
              <a:ea typeface="MS PGothic"/>
              <a:cs typeface="+mn-cs"/>
            </a:endParaRPr>
          </a:p>
        </p:txBody>
      </p:sp>
      <p:sp>
        <p:nvSpPr>
          <p:cNvPr id="86" name="Rectangle 499">
            <a:extLst>
              <a:ext uri="{FF2B5EF4-FFF2-40B4-BE49-F238E27FC236}">
                <a16:creationId xmlns:a16="http://schemas.microsoft.com/office/drawing/2014/main" id="{600BFC6D-A501-438C-8AB9-F810367059A8}"/>
              </a:ext>
            </a:extLst>
          </p:cNvPr>
          <p:cNvSpPr>
            <a:spLocks noChangeArrowheads="1"/>
          </p:cNvSpPr>
          <p:nvPr/>
        </p:nvSpPr>
        <p:spPr bwMode="auto">
          <a:xfrm>
            <a:off x="3060054" y="4903089"/>
            <a:ext cx="2572877" cy="973523"/>
          </a:xfrm>
          <a:prstGeom prst="rect">
            <a:avLst/>
          </a:prstGeom>
          <a:solidFill>
            <a:schemeClr val="bg2">
              <a:lumMod val="85000"/>
              <a:alpha val="40000"/>
            </a:schemeClr>
          </a:solidFill>
          <a:ln w="11113" cap="rnd">
            <a:no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defTabSz="912813" eaLnBrk="0" fontAlgn="base" hangingPunct="0">
              <a:spcBef>
                <a:spcPct val="0"/>
              </a:spcBef>
              <a:spcAft>
                <a:spcPct val="0"/>
              </a:spcAft>
              <a:defRPr>
                <a:solidFill>
                  <a:schemeClr val="tx1"/>
                </a:solidFill>
                <a:latin typeface="Arial" charset="0"/>
                <a:ea typeface="MS PGothic" charset="-128"/>
              </a:defRPr>
            </a:lvl6pPr>
            <a:lvl7pPr marL="2971800" indent="-228600" defTabSz="912813" eaLnBrk="0" fontAlgn="base" hangingPunct="0">
              <a:spcBef>
                <a:spcPct val="0"/>
              </a:spcBef>
              <a:spcAft>
                <a:spcPct val="0"/>
              </a:spcAft>
              <a:defRPr>
                <a:solidFill>
                  <a:schemeClr val="tx1"/>
                </a:solidFill>
                <a:latin typeface="Arial" charset="0"/>
                <a:ea typeface="MS PGothic" charset="-128"/>
              </a:defRPr>
            </a:lvl7pPr>
            <a:lvl8pPr marL="3429000" indent="-228600" defTabSz="912813" eaLnBrk="0" fontAlgn="base" hangingPunct="0">
              <a:spcBef>
                <a:spcPct val="0"/>
              </a:spcBef>
              <a:spcAft>
                <a:spcPct val="0"/>
              </a:spcAft>
              <a:defRPr>
                <a:solidFill>
                  <a:schemeClr val="tx1"/>
                </a:solidFill>
                <a:latin typeface="Arial" charset="0"/>
                <a:ea typeface="MS PGothic" charset="-128"/>
              </a:defRPr>
            </a:lvl8pPr>
            <a:lvl9pPr marL="3886200" indent="-228600" defTabSz="912813" eaLnBrk="0" fontAlgn="base" hangingPunct="0">
              <a:spcBef>
                <a:spcPct val="0"/>
              </a:spcBef>
              <a:spcAft>
                <a:spcPct val="0"/>
              </a:spcAft>
              <a:defRPr>
                <a:solidFill>
                  <a:schemeClr val="tx1"/>
                </a:solidFill>
                <a:latin typeface="Arial" charset="0"/>
                <a:ea typeface="MS PGothic" charset="-128"/>
              </a:defRPr>
            </a:lvl9pPr>
          </a:lstStyle>
          <a:p>
            <a:pPr defTabSz="1097280" fontAlgn="base">
              <a:spcBef>
                <a:spcPct val="0"/>
              </a:spcBef>
              <a:spcAft>
                <a:spcPct val="0"/>
              </a:spcAft>
            </a:pPr>
            <a:r>
              <a:rPr lang="en-US" altLang="en-US" sz="1400" b="1">
                <a:solidFill>
                  <a:srgbClr val="000000">
                    <a:alpha val="40000"/>
                  </a:srgbClr>
                </a:solidFill>
                <a:latin typeface="Arial"/>
                <a:ea typeface="MS PGothic"/>
                <a:cs typeface="Arial"/>
              </a:rPr>
              <a:t>Tecnología Digital &amp; Estrategia de Servicios</a:t>
            </a:r>
            <a:endParaRPr lang="en-US" sz="1400" b="1">
              <a:solidFill>
                <a:srgbClr val="000000">
                  <a:alpha val="40000"/>
                </a:srgbClr>
              </a:solidFill>
              <a:latin typeface="Arial"/>
              <a:ea typeface="MS PGothic"/>
              <a:cs typeface="Arial"/>
            </a:endParaRPr>
          </a:p>
        </p:txBody>
      </p:sp>
      <p:sp>
        <p:nvSpPr>
          <p:cNvPr id="87" name="Rectangle 503">
            <a:extLst>
              <a:ext uri="{FF2B5EF4-FFF2-40B4-BE49-F238E27FC236}">
                <a16:creationId xmlns:a16="http://schemas.microsoft.com/office/drawing/2014/main" id="{E262DCD9-CDF7-43DD-88C7-557F7A0C667A}"/>
              </a:ext>
            </a:extLst>
          </p:cNvPr>
          <p:cNvSpPr>
            <a:spLocks noChangeArrowheads="1"/>
          </p:cNvSpPr>
          <p:nvPr/>
        </p:nvSpPr>
        <p:spPr bwMode="auto">
          <a:xfrm>
            <a:off x="14641033" y="10471153"/>
            <a:ext cx="2572877" cy="973523"/>
          </a:xfrm>
          <a:prstGeom prst="rect">
            <a:avLst/>
          </a:prstGeom>
          <a:solidFill>
            <a:schemeClr val="accent1">
              <a:lumMod val="20000"/>
              <a:lumOff val="80000"/>
              <a:alpha val="40000"/>
            </a:schemeClr>
          </a:solidFill>
          <a:ln>
            <a:no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a:solidFill>
                  <a:schemeClr val="tx1">
                    <a:alpha val="40000"/>
                  </a:schemeClr>
                </a:solidFill>
                <a:latin typeface="Arial" panose="020B0604020202020204"/>
                <a:ea typeface="MS PGothic"/>
                <a:cs typeface="+mn-cs"/>
              </a:rPr>
              <a:t>Riesgo, auditoria &amp; Cumplimiento normativo</a:t>
            </a:r>
          </a:p>
        </p:txBody>
      </p:sp>
      <p:sp>
        <p:nvSpPr>
          <p:cNvPr id="88" name="Rectangle 510">
            <a:extLst>
              <a:ext uri="{FF2B5EF4-FFF2-40B4-BE49-F238E27FC236}">
                <a16:creationId xmlns:a16="http://schemas.microsoft.com/office/drawing/2014/main" id="{632026C4-D61D-4479-9CEB-0D6B3A18A940}"/>
              </a:ext>
            </a:extLst>
          </p:cNvPr>
          <p:cNvSpPr>
            <a:spLocks noChangeArrowheads="1"/>
          </p:cNvSpPr>
          <p:nvPr/>
        </p:nvSpPr>
        <p:spPr bwMode="auto">
          <a:xfrm>
            <a:off x="3060054" y="6020461"/>
            <a:ext cx="2572877" cy="973523"/>
          </a:xfrm>
          <a:prstGeom prst="rect">
            <a:avLst/>
          </a:prstGeom>
          <a:solidFill>
            <a:schemeClr val="bg2">
              <a:lumMod val="85000"/>
              <a:alpha val="40000"/>
            </a:schemeClr>
          </a:solidFill>
          <a:ln w="11113" cap="rnd">
            <a:noFill/>
            <a:miter lim="800000"/>
            <a:headEnd/>
            <a:tailEnd/>
          </a:ln>
          <a:effectLst/>
        </p:spPr>
        <p:txBody>
          <a:bodyPr anchor="ctr"/>
          <a:lstStyle/>
          <a:p>
            <a:pPr defTabSz="1097280" fontAlgn="base">
              <a:spcBef>
                <a:spcPct val="0"/>
              </a:spcBef>
              <a:spcAft>
                <a:spcPct val="0"/>
              </a:spcAft>
            </a:pPr>
            <a:r>
              <a:rPr lang="en-GB" altLang="en-US" sz="1400" b="1" dirty="0">
                <a:solidFill>
                  <a:srgbClr val="000000">
                    <a:alpha val="40000"/>
                  </a:srgbClr>
                </a:solidFill>
                <a:latin typeface="Arial"/>
                <a:ea typeface="MS PGothic"/>
                <a:cs typeface="Arial"/>
              </a:rPr>
              <a:t>Gestión de la demanda</a:t>
            </a:r>
          </a:p>
        </p:txBody>
      </p:sp>
      <p:sp>
        <p:nvSpPr>
          <p:cNvPr id="91" name="Rectangle 62">
            <a:extLst>
              <a:ext uri="{FF2B5EF4-FFF2-40B4-BE49-F238E27FC236}">
                <a16:creationId xmlns:a16="http://schemas.microsoft.com/office/drawing/2014/main" id="{576EDDE1-9AC6-4514-9B88-3B0C80451AB1}"/>
              </a:ext>
            </a:extLst>
          </p:cNvPr>
          <p:cNvSpPr>
            <a:spLocks noChangeArrowheads="1"/>
          </p:cNvSpPr>
          <p:nvPr/>
        </p:nvSpPr>
        <p:spPr bwMode="auto">
          <a:xfrm>
            <a:off x="11722367" y="9347019"/>
            <a:ext cx="2572877" cy="973523"/>
          </a:xfrm>
          <a:prstGeom prst="rect">
            <a:avLst/>
          </a:prstGeom>
          <a:solidFill>
            <a:schemeClr val="accent1">
              <a:lumMod val="20000"/>
              <a:lumOff val="80000"/>
              <a:alpha val="40000"/>
            </a:schemeClr>
          </a:solidFill>
          <a:ln>
            <a:no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a:solidFill>
                  <a:schemeClr val="tx1">
                    <a:alpha val="40000"/>
                  </a:schemeClr>
                </a:solidFill>
                <a:latin typeface="Arial" panose="020B0604020202020204"/>
                <a:ea typeface="MS PGothic"/>
                <a:cs typeface="+mn-cs"/>
              </a:rPr>
              <a:t>Seguridad &amp; Continuidad del negocio</a:t>
            </a:r>
          </a:p>
        </p:txBody>
      </p:sp>
      <p:sp>
        <p:nvSpPr>
          <p:cNvPr id="92" name="Rectangle 70">
            <a:extLst>
              <a:ext uri="{FF2B5EF4-FFF2-40B4-BE49-F238E27FC236}">
                <a16:creationId xmlns:a16="http://schemas.microsoft.com/office/drawing/2014/main" id="{7080BAB4-5966-4772-AF9D-647AEE341EB8}"/>
              </a:ext>
            </a:extLst>
          </p:cNvPr>
          <p:cNvSpPr>
            <a:spLocks noChangeArrowheads="1"/>
          </p:cNvSpPr>
          <p:nvPr/>
        </p:nvSpPr>
        <p:spPr bwMode="auto">
          <a:xfrm>
            <a:off x="11722367" y="8241175"/>
            <a:ext cx="2572877" cy="973523"/>
          </a:xfrm>
          <a:prstGeom prst="rect">
            <a:avLst/>
          </a:prstGeom>
          <a:solidFill>
            <a:schemeClr val="accent1">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alpha val="40000"/>
                  </a:schemeClr>
                </a:solidFill>
                <a:latin typeface="Arial" panose="020B0604020202020204"/>
                <a:ea typeface="MS PGothic"/>
                <a:cs typeface="+mn-cs"/>
              </a:rPr>
              <a:t>Gestión de Incidencias &amp; Problemas</a:t>
            </a:r>
          </a:p>
        </p:txBody>
      </p:sp>
      <p:sp>
        <p:nvSpPr>
          <p:cNvPr id="93" name="Rectangle 82">
            <a:extLst>
              <a:ext uri="{FF2B5EF4-FFF2-40B4-BE49-F238E27FC236}">
                <a16:creationId xmlns:a16="http://schemas.microsoft.com/office/drawing/2014/main" id="{616D692E-2C63-4A5F-89AA-272ECB15137D}"/>
              </a:ext>
            </a:extLst>
          </p:cNvPr>
          <p:cNvSpPr>
            <a:spLocks noChangeArrowheads="1"/>
          </p:cNvSpPr>
          <p:nvPr/>
        </p:nvSpPr>
        <p:spPr bwMode="auto">
          <a:xfrm>
            <a:off x="14641033" y="8248713"/>
            <a:ext cx="2572877" cy="973523"/>
          </a:xfrm>
          <a:prstGeom prst="rect">
            <a:avLst/>
          </a:prstGeom>
          <a:solidFill>
            <a:schemeClr val="bg2">
              <a:lumMod val="85000"/>
              <a:alpha val="40000"/>
            </a:schemeClr>
          </a:solidFill>
          <a:ln w="11113" cap="rnd">
            <a:noFill/>
            <a:miter lim="800000"/>
            <a:headEnd/>
            <a:tailEnd/>
          </a:ln>
          <a:effectLst/>
        </p:spPr>
        <p:txBody>
          <a:bodyPr anchor="ctr"/>
          <a:lstStyle/>
          <a:p>
            <a:pPr defTabSz="1097280" fontAlgn="base">
              <a:spcBef>
                <a:spcPct val="0"/>
              </a:spcBef>
              <a:spcAft>
                <a:spcPct val="0"/>
              </a:spcAft>
            </a:pPr>
            <a:r>
              <a:rPr lang="en-GB" altLang="en-US" sz="1400" b="1" dirty="0">
                <a:solidFill>
                  <a:srgbClr val="000000">
                    <a:alpha val="40000"/>
                  </a:srgbClr>
                </a:solidFill>
                <a:latin typeface="Arial"/>
                <a:ea typeface="MS PGothic"/>
                <a:cs typeface="Arial"/>
              </a:rPr>
              <a:t>Oficina de gestión del Portfolio Cloud</a:t>
            </a:r>
            <a:endParaRPr lang="en-US" dirty="0">
              <a:solidFill>
                <a:srgbClr val="000000">
                  <a:alpha val="40000"/>
                </a:srgbClr>
              </a:solidFill>
            </a:endParaRPr>
          </a:p>
        </p:txBody>
      </p:sp>
      <p:sp>
        <p:nvSpPr>
          <p:cNvPr id="94" name="Rectangle 86">
            <a:extLst>
              <a:ext uri="{FF2B5EF4-FFF2-40B4-BE49-F238E27FC236}">
                <a16:creationId xmlns:a16="http://schemas.microsoft.com/office/drawing/2014/main" id="{EA4ABF29-EDB8-4024-BCF4-24D31A64E397}"/>
              </a:ext>
            </a:extLst>
          </p:cNvPr>
          <p:cNvSpPr>
            <a:spLocks noChangeArrowheads="1"/>
          </p:cNvSpPr>
          <p:nvPr/>
        </p:nvSpPr>
        <p:spPr bwMode="auto">
          <a:xfrm>
            <a:off x="11726984" y="4903089"/>
            <a:ext cx="2572877" cy="973523"/>
          </a:xfrm>
          <a:prstGeom prst="rect">
            <a:avLst/>
          </a:prstGeom>
          <a:solidFill>
            <a:schemeClr val="accent1">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alpha val="40000"/>
                  </a:schemeClr>
                </a:solidFill>
                <a:latin typeface="Arial" panose="020B0604020202020204"/>
                <a:ea typeface="MS PGothic"/>
                <a:cs typeface="+mn-cs"/>
              </a:rPr>
              <a:t>Gestión del nivel de servicio al cliente</a:t>
            </a:r>
          </a:p>
        </p:txBody>
      </p:sp>
      <p:sp>
        <p:nvSpPr>
          <p:cNvPr id="95" name="Rectangle 90">
            <a:extLst>
              <a:ext uri="{FF2B5EF4-FFF2-40B4-BE49-F238E27FC236}">
                <a16:creationId xmlns:a16="http://schemas.microsoft.com/office/drawing/2014/main" id="{64B86CCF-5F82-48DA-8379-966BAFBC03C5}"/>
              </a:ext>
            </a:extLst>
          </p:cNvPr>
          <p:cNvSpPr>
            <a:spLocks noChangeArrowheads="1"/>
          </p:cNvSpPr>
          <p:nvPr/>
        </p:nvSpPr>
        <p:spPr bwMode="auto">
          <a:xfrm>
            <a:off x="11732518" y="10466118"/>
            <a:ext cx="2572877" cy="973523"/>
          </a:xfrm>
          <a:prstGeom prst="rect">
            <a:avLst/>
          </a:prstGeom>
          <a:solidFill>
            <a:schemeClr val="bg2">
              <a:lumMod val="85000"/>
              <a:alpha val="40000"/>
            </a:schemeClr>
          </a:solidFill>
          <a:ln w="11113" cap="rnd">
            <a:no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a:solidFill>
                  <a:srgbClr val="000000">
                    <a:alpha val="40000"/>
                  </a:srgbClr>
                </a:solidFill>
                <a:latin typeface="Arial"/>
                <a:ea typeface="MS PGothic"/>
                <a:cs typeface="Arial"/>
              </a:rPr>
              <a:t>Gestión de Activos &amp; Información</a:t>
            </a:r>
          </a:p>
        </p:txBody>
      </p:sp>
      <p:sp>
        <p:nvSpPr>
          <p:cNvPr id="96" name="Rectangle 102">
            <a:extLst>
              <a:ext uri="{FF2B5EF4-FFF2-40B4-BE49-F238E27FC236}">
                <a16:creationId xmlns:a16="http://schemas.microsoft.com/office/drawing/2014/main" id="{15D7CEA9-F6AB-4420-8B6A-6DBE4058C1EE}"/>
              </a:ext>
            </a:extLst>
          </p:cNvPr>
          <p:cNvSpPr>
            <a:spLocks noChangeArrowheads="1"/>
          </p:cNvSpPr>
          <p:nvPr/>
        </p:nvSpPr>
        <p:spPr bwMode="auto">
          <a:xfrm>
            <a:off x="14650264" y="6020461"/>
            <a:ext cx="2572877" cy="973523"/>
          </a:xfrm>
          <a:prstGeom prst="rect">
            <a:avLst/>
          </a:prstGeom>
          <a:solidFill>
            <a:schemeClr val="bg2">
              <a:lumMod val="85000"/>
              <a:alpha val="40000"/>
            </a:schemeClr>
          </a:solidFill>
          <a:ln w="11113" cap="rnd">
            <a:noFill/>
            <a:miter lim="800000"/>
            <a:headEnd/>
            <a:tailEnd/>
          </a:ln>
          <a:effectLst/>
        </p:spPr>
        <p:txBody>
          <a:bodyPr anchor="ctr"/>
          <a:lstStyle/>
          <a:p>
            <a:pPr defTabSz="1097280" fontAlgn="base">
              <a:spcBef>
                <a:spcPct val="0"/>
              </a:spcBef>
              <a:spcAft>
                <a:spcPct val="0"/>
              </a:spcAft>
            </a:pPr>
            <a:r>
              <a:rPr lang="en-GB" altLang="en-US" sz="1400" b="1" dirty="0">
                <a:solidFill>
                  <a:srgbClr val="000000">
                    <a:alpha val="40000"/>
                  </a:srgbClr>
                </a:solidFill>
                <a:latin typeface="Arial"/>
                <a:ea typeface="MS PGothic"/>
                <a:cs typeface="Arial"/>
              </a:rPr>
              <a:t>Plan financiero &amp; economía de la nube</a:t>
            </a:r>
          </a:p>
        </p:txBody>
      </p:sp>
      <p:sp>
        <p:nvSpPr>
          <p:cNvPr id="97" name="Rectangle 191">
            <a:extLst>
              <a:ext uri="{FF2B5EF4-FFF2-40B4-BE49-F238E27FC236}">
                <a16:creationId xmlns:a16="http://schemas.microsoft.com/office/drawing/2014/main" id="{46024779-2565-474F-BF05-306F79BD644B}"/>
              </a:ext>
            </a:extLst>
          </p:cNvPr>
          <p:cNvSpPr>
            <a:spLocks noChangeArrowheads="1"/>
          </p:cNvSpPr>
          <p:nvPr/>
        </p:nvSpPr>
        <p:spPr bwMode="auto">
          <a:xfrm>
            <a:off x="3060051" y="9360274"/>
            <a:ext cx="2572877" cy="973523"/>
          </a:xfrm>
          <a:prstGeom prst="rect">
            <a:avLst/>
          </a:prstGeom>
          <a:solidFill>
            <a:schemeClr val="accent1">
              <a:lumMod val="20000"/>
              <a:lumOff val="80000"/>
              <a:alpha val="40000"/>
            </a:schemeClr>
          </a:solidFill>
          <a:ln>
            <a:no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a:solidFill>
                  <a:schemeClr val="tx1">
                    <a:alpha val="40000"/>
                  </a:schemeClr>
                </a:solidFill>
                <a:latin typeface="Arial" panose="020B0604020202020204"/>
                <a:ea typeface="MS PGothic"/>
                <a:cs typeface="+mn-cs"/>
              </a:rPr>
              <a:t>Asistencia del servicio al cliente</a:t>
            </a:r>
          </a:p>
        </p:txBody>
      </p:sp>
      <p:sp>
        <p:nvSpPr>
          <p:cNvPr id="98" name="Rectangle 191">
            <a:extLst>
              <a:ext uri="{FF2B5EF4-FFF2-40B4-BE49-F238E27FC236}">
                <a16:creationId xmlns:a16="http://schemas.microsoft.com/office/drawing/2014/main" id="{771ABA24-D578-4630-A08D-E9C9822F2A93}"/>
              </a:ext>
            </a:extLst>
          </p:cNvPr>
          <p:cNvSpPr>
            <a:spLocks noChangeArrowheads="1"/>
          </p:cNvSpPr>
          <p:nvPr/>
        </p:nvSpPr>
        <p:spPr bwMode="auto">
          <a:xfrm>
            <a:off x="14641033" y="4903089"/>
            <a:ext cx="2572877" cy="973523"/>
          </a:xfrm>
          <a:prstGeom prst="rect">
            <a:avLst/>
          </a:prstGeom>
          <a:solidFill>
            <a:schemeClr val="bg2">
              <a:lumMod val="85000"/>
              <a:alpha val="40000"/>
            </a:schemeClr>
          </a:solidFill>
          <a:ln w="11113" cap="rnd">
            <a:no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a:solidFill>
                  <a:srgbClr val="000000">
                    <a:alpha val="40000"/>
                  </a:srgbClr>
                </a:solidFill>
                <a:latin typeface="Arial"/>
                <a:ea typeface="MS PGothic"/>
                <a:cs typeface="Arial"/>
              </a:rPr>
              <a:t>Estándares &amp; Polticas Cloud</a:t>
            </a:r>
          </a:p>
        </p:txBody>
      </p:sp>
      <p:sp>
        <p:nvSpPr>
          <p:cNvPr id="99" name="Rectangle 255">
            <a:extLst>
              <a:ext uri="{FF2B5EF4-FFF2-40B4-BE49-F238E27FC236}">
                <a16:creationId xmlns:a16="http://schemas.microsoft.com/office/drawing/2014/main" id="{06399D85-BC97-4BB4-B266-B8EA841BA52A}"/>
              </a:ext>
            </a:extLst>
          </p:cNvPr>
          <p:cNvSpPr>
            <a:spLocks noChangeArrowheads="1"/>
          </p:cNvSpPr>
          <p:nvPr/>
        </p:nvSpPr>
        <p:spPr bwMode="auto">
          <a:xfrm>
            <a:off x="11722367" y="7131339"/>
            <a:ext cx="2572877" cy="973523"/>
          </a:xfrm>
          <a:prstGeom prst="rect">
            <a:avLst/>
          </a:prstGeom>
          <a:solidFill>
            <a:schemeClr val="accent1">
              <a:lumMod val="20000"/>
              <a:lumOff val="80000"/>
              <a:alpha val="40000"/>
            </a:schemeClr>
          </a:solidFill>
          <a:ln>
            <a:no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US" altLang="en-US" sz="1400" b="1">
                <a:solidFill>
                  <a:schemeClr val="tx1">
                    <a:alpha val="40000"/>
                  </a:schemeClr>
                </a:solidFill>
                <a:latin typeface="Arial" panose="020B0604020202020204"/>
                <a:ea typeface="MS PGothic"/>
                <a:cs typeface="+mn-cs"/>
              </a:rPr>
              <a:t>Monitorización de servicios &amp; eventos API</a:t>
            </a:r>
          </a:p>
        </p:txBody>
      </p:sp>
      <p:sp>
        <p:nvSpPr>
          <p:cNvPr id="100" name="Rectangle 99">
            <a:extLst>
              <a:ext uri="{FF2B5EF4-FFF2-40B4-BE49-F238E27FC236}">
                <a16:creationId xmlns:a16="http://schemas.microsoft.com/office/drawing/2014/main" id="{5A855889-EC44-4E3F-8A36-ED0801397606}"/>
              </a:ext>
            </a:extLst>
          </p:cNvPr>
          <p:cNvSpPr/>
          <p:nvPr/>
        </p:nvSpPr>
        <p:spPr>
          <a:xfrm>
            <a:off x="14615958" y="3413988"/>
            <a:ext cx="2572877" cy="1321210"/>
          </a:xfrm>
          <a:prstGeom prst="rect">
            <a:avLst/>
          </a:prstGeom>
          <a:solidFill>
            <a:srgbClr val="C00000">
              <a:alpha val="40000"/>
            </a:srgb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alpha val="40000"/>
                  </a:schemeClr>
                </a:solidFill>
                <a:latin typeface="Arial" panose="020B0604020202020204"/>
                <a:ea typeface="MS PGothic" charset="-128"/>
              </a:rPr>
              <a:t>Governance</a:t>
            </a:r>
            <a:br>
              <a:rPr lang="en-GB" sz="1600" b="1" dirty="0">
                <a:solidFill>
                  <a:schemeClr val="bg1">
                    <a:alpha val="40000"/>
                  </a:schemeClr>
                </a:solidFill>
                <a:latin typeface="Arial" panose="020B0604020202020204"/>
                <a:ea typeface="MS PGothic" charset="-128"/>
              </a:rPr>
            </a:br>
            <a:r>
              <a:rPr lang="en-GB" sz="1600" b="1" dirty="0">
                <a:solidFill>
                  <a:schemeClr val="bg1">
                    <a:alpha val="40000"/>
                  </a:schemeClr>
                </a:solidFill>
                <a:latin typeface="Arial" panose="020B0604020202020204"/>
                <a:ea typeface="MS PGothic" charset="-128"/>
              </a:rPr>
              <a:t>&amp; Control</a:t>
            </a:r>
            <a:endParaRPr lang="en-US" sz="1600" b="1" dirty="0">
              <a:solidFill>
                <a:schemeClr val="bg1">
                  <a:alpha val="40000"/>
                </a:schemeClr>
              </a:solidFill>
              <a:latin typeface="Arial" panose="020B0604020202020204"/>
              <a:ea typeface="MS PGothic" charset="-128"/>
            </a:endParaRPr>
          </a:p>
        </p:txBody>
      </p:sp>
      <p:sp>
        <p:nvSpPr>
          <p:cNvPr id="101" name="Rectangle 100">
            <a:extLst>
              <a:ext uri="{FF2B5EF4-FFF2-40B4-BE49-F238E27FC236}">
                <a16:creationId xmlns:a16="http://schemas.microsoft.com/office/drawing/2014/main" id="{19D5D9C9-F740-41E4-B438-F01F0FB113A4}"/>
              </a:ext>
            </a:extLst>
          </p:cNvPr>
          <p:cNvSpPr/>
          <p:nvPr/>
        </p:nvSpPr>
        <p:spPr>
          <a:xfrm>
            <a:off x="11726984" y="3413988"/>
            <a:ext cx="2572877" cy="1321210"/>
          </a:xfrm>
          <a:prstGeom prst="rect">
            <a:avLst/>
          </a:prstGeom>
          <a:solidFill>
            <a:srgbClr val="C00000">
              <a:alpha val="40000"/>
            </a:srgb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a:spcBef>
                <a:spcPct val="0"/>
              </a:spcBef>
              <a:spcAft>
                <a:spcPct val="0"/>
              </a:spcAft>
            </a:pPr>
            <a:r>
              <a:rPr lang="en-GB" sz="1600" b="1" dirty="0">
                <a:solidFill>
                  <a:schemeClr val="bg1">
                    <a:alpha val="40000"/>
                  </a:schemeClr>
                </a:solidFill>
                <a:latin typeface="Arial" panose="020B0604020202020204"/>
                <a:ea typeface="MS PGothic"/>
              </a:rPr>
              <a:t>Operaciones de servicio continuas</a:t>
            </a:r>
            <a:endParaRPr lang="en-US" dirty="0">
              <a:solidFill>
                <a:schemeClr val="bg1">
                  <a:alpha val="40000"/>
                </a:schemeClr>
              </a:solidFill>
            </a:endParaRPr>
          </a:p>
        </p:txBody>
      </p:sp>
      <p:sp>
        <p:nvSpPr>
          <p:cNvPr id="102" name="Rectangle 101">
            <a:extLst>
              <a:ext uri="{FF2B5EF4-FFF2-40B4-BE49-F238E27FC236}">
                <a16:creationId xmlns:a16="http://schemas.microsoft.com/office/drawing/2014/main" id="{F768933A-8FD7-4A7B-902C-3708D03DB359}"/>
              </a:ext>
            </a:extLst>
          </p:cNvPr>
          <p:cNvSpPr/>
          <p:nvPr/>
        </p:nvSpPr>
        <p:spPr>
          <a:xfrm>
            <a:off x="5949031" y="3366978"/>
            <a:ext cx="2572877" cy="1321210"/>
          </a:xfrm>
          <a:prstGeom prst="rect">
            <a:avLst/>
          </a:prstGeom>
          <a:solidFill>
            <a:srgbClr val="C00000">
              <a:alpha val="40000"/>
            </a:srgb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solidFill>
                <a:latin typeface="Arial" panose="020B0604020202020204"/>
                <a:ea typeface="MS PGothic"/>
              </a:rPr>
              <a:t>CI / CD de releases</a:t>
            </a:r>
            <a:endParaRPr lang="en-GB" sz="1600" b="1" dirty="0">
              <a:solidFill>
                <a:schemeClr val="bg1"/>
              </a:solidFill>
              <a:latin typeface="Arial" panose="020B0604020202020204"/>
              <a:ea typeface="MS PGothic"/>
              <a:cs typeface="Arial"/>
            </a:endParaRPr>
          </a:p>
        </p:txBody>
      </p:sp>
      <p:sp>
        <p:nvSpPr>
          <p:cNvPr id="103" name="Rectangle 102">
            <a:extLst>
              <a:ext uri="{FF2B5EF4-FFF2-40B4-BE49-F238E27FC236}">
                <a16:creationId xmlns:a16="http://schemas.microsoft.com/office/drawing/2014/main" id="{C3136EE3-A32F-4680-8083-5ED869923028}"/>
              </a:ext>
            </a:extLst>
          </p:cNvPr>
          <p:cNvSpPr/>
          <p:nvPr/>
        </p:nvSpPr>
        <p:spPr>
          <a:xfrm>
            <a:off x="3060053" y="3366978"/>
            <a:ext cx="2572877" cy="1321210"/>
          </a:xfrm>
          <a:prstGeom prst="rect">
            <a:avLst/>
          </a:prstGeom>
          <a:solidFill>
            <a:srgbClr val="C00000">
              <a:alpha val="40000"/>
            </a:srgb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alpha val="40000"/>
                  </a:schemeClr>
                </a:solidFill>
                <a:latin typeface="Arial" panose="020B0604020202020204"/>
                <a:ea typeface="MS PGothic"/>
                <a:cs typeface="Arial"/>
              </a:rPr>
              <a:t>Servicios de demanda ágiles</a:t>
            </a:r>
            <a:endParaRPr lang="en-GB" sz="1600" b="1" dirty="0">
              <a:solidFill>
                <a:schemeClr val="bg1">
                  <a:alpha val="40000"/>
                </a:schemeClr>
              </a:solidFill>
              <a:latin typeface="Arial" panose="020B0604020202020204"/>
              <a:ea typeface="MS PGothic" charset="-128"/>
              <a:cs typeface="Arial"/>
            </a:endParaRPr>
          </a:p>
        </p:txBody>
      </p:sp>
      <p:sp>
        <p:nvSpPr>
          <p:cNvPr id="105" name="Rectangle 491">
            <a:extLst>
              <a:ext uri="{FF2B5EF4-FFF2-40B4-BE49-F238E27FC236}">
                <a16:creationId xmlns:a16="http://schemas.microsoft.com/office/drawing/2014/main" id="{68DB9195-B3C3-46DA-A851-8DB33887CC72}"/>
              </a:ext>
            </a:extLst>
          </p:cNvPr>
          <p:cNvSpPr>
            <a:spLocks noChangeArrowheads="1"/>
          </p:cNvSpPr>
          <p:nvPr/>
        </p:nvSpPr>
        <p:spPr bwMode="auto">
          <a:xfrm>
            <a:off x="5949031" y="10466118"/>
            <a:ext cx="2572877" cy="973523"/>
          </a:xfrm>
          <a:prstGeom prst="rect">
            <a:avLst/>
          </a:prstGeom>
          <a:solidFill>
            <a:schemeClr val="accent1">
              <a:lumMod val="20000"/>
              <a:lumOff val="80000"/>
              <a:alpha val="40000"/>
            </a:schemeClr>
          </a:solidFill>
          <a:ln w="1016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solidFill>
                <a:latin typeface="Arial" panose="020B0604020202020204"/>
                <a:ea typeface="MS PGothic"/>
                <a:cs typeface="Arial"/>
              </a:rPr>
              <a:t>Despliegue &amp; Empaquetado de releases</a:t>
            </a:r>
            <a:endParaRPr lang="en-GB" altLang="en-US" sz="1400" b="1" dirty="0">
              <a:solidFill>
                <a:schemeClr val="tx1"/>
              </a:solidFill>
              <a:latin typeface="Arial" panose="020B0604020202020204"/>
              <a:ea typeface="MS PGothic" charset="-128"/>
              <a:cs typeface="+mn-cs"/>
            </a:endParaRPr>
          </a:p>
        </p:txBody>
      </p:sp>
      <p:sp>
        <p:nvSpPr>
          <p:cNvPr id="106" name="Rectangle 491">
            <a:extLst>
              <a:ext uri="{FF2B5EF4-FFF2-40B4-BE49-F238E27FC236}">
                <a16:creationId xmlns:a16="http://schemas.microsoft.com/office/drawing/2014/main" id="{CFBDE762-6285-48E7-B808-AAFFEF8D3838}"/>
              </a:ext>
            </a:extLst>
          </p:cNvPr>
          <p:cNvSpPr>
            <a:spLocks noChangeArrowheads="1"/>
          </p:cNvSpPr>
          <p:nvPr/>
        </p:nvSpPr>
        <p:spPr bwMode="auto">
          <a:xfrm>
            <a:off x="5949031" y="8250439"/>
            <a:ext cx="2572877" cy="973523"/>
          </a:xfrm>
          <a:prstGeom prst="rect">
            <a:avLst/>
          </a:prstGeom>
          <a:solidFill>
            <a:schemeClr val="bg2">
              <a:lumMod val="85000"/>
              <a:alpha val="40000"/>
            </a:schemeClr>
          </a:solidFill>
          <a:ln w="11113" cap="rnd">
            <a:no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a:solidFill>
                  <a:srgbClr val="000000"/>
                </a:solidFill>
                <a:latin typeface="Arial"/>
                <a:ea typeface="MS PGothic"/>
                <a:cs typeface="Arial"/>
              </a:rPr>
              <a:t>Gestión &amp; Integración de APIs</a:t>
            </a:r>
          </a:p>
        </p:txBody>
      </p:sp>
      <p:sp>
        <p:nvSpPr>
          <p:cNvPr id="107" name="Rectangle 491">
            <a:extLst>
              <a:ext uri="{FF2B5EF4-FFF2-40B4-BE49-F238E27FC236}">
                <a16:creationId xmlns:a16="http://schemas.microsoft.com/office/drawing/2014/main" id="{464ADECC-8EA1-4FF3-99B8-87B6CCD37445}"/>
              </a:ext>
            </a:extLst>
          </p:cNvPr>
          <p:cNvSpPr>
            <a:spLocks noChangeArrowheads="1"/>
          </p:cNvSpPr>
          <p:nvPr/>
        </p:nvSpPr>
        <p:spPr bwMode="auto">
          <a:xfrm>
            <a:off x="3060051" y="10466118"/>
            <a:ext cx="2572877" cy="973523"/>
          </a:xfrm>
          <a:prstGeom prst="rect">
            <a:avLst/>
          </a:prstGeom>
          <a:solidFill>
            <a:schemeClr val="accent1">
              <a:lumMod val="20000"/>
              <a:lumOff val="80000"/>
              <a:alpha val="40000"/>
            </a:schemeClr>
          </a:solidFill>
          <a:ln>
            <a:no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a:solidFill>
                  <a:schemeClr val="tx1">
                    <a:alpha val="40000"/>
                  </a:schemeClr>
                </a:solidFill>
                <a:latin typeface="Arial" panose="020B0604020202020204"/>
                <a:ea typeface="MS PGothic"/>
                <a:cs typeface="+mn-cs"/>
              </a:rPr>
              <a:t>Estrategia</a:t>
            </a:r>
          </a:p>
          <a:p>
            <a:pPr defTabSz="1097280" fontAlgn="base">
              <a:spcBef>
                <a:spcPct val="0"/>
              </a:spcBef>
              <a:spcAft>
                <a:spcPct val="0"/>
              </a:spcAft>
            </a:pPr>
            <a:r>
              <a:rPr lang="en-GB" altLang="en-US" sz="1400" b="1">
                <a:solidFill>
                  <a:schemeClr val="tx1">
                    <a:alpha val="40000"/>
                  </a:schemeClr>
                </a:solidFill>
                <a:latin typeface="Arial" panose="020B0604020202020204"/>
                <a:ea typeface="MS PGothic"/>
                <a:cs typeface="+mn-cs"/>
              </a:rPr>
              <a:t>Talent &amp; Knowledge</a:t>
            </a:r>
          </a:p>
        </p:txBody>
      </p:sp>
      <p:sp>
        <p:nvSpPr>
          <p:cNvPr id="110" name="Rectangle 491">
            <a:extLst>
              <a:ext uri="{FF2B5EF4-FFF2-40B4-BE49-F238E27FC236}">
                <a16:creationId xmlns:a16="http://schemas.microsoft.com/office/drawing/2014/main" id="{9AE9D117-CC55-4256-B3C6-E934259E1BC8}"/>
              </a:ext>
            </a:extLst>
          </p:cNvPr>
          <p:cNvSpPr>
            <a:spLocks noChangeArrowheads="1"/>
          </p:cNvSpPr>
          <p:nvPr/>
        </p:nvSpPr>
        <p:spPr bwMode="auto">
          <a:xfrm>
            <a:off x="3060053" y="8250439"/>
            <a:ext cx="2572877" cy="973523"/>
          </a:xfrm>
          <a:prstGeom prst="rect">
            <a:avLst/>
          </a:prstGeom>
          <a:solidFill>
            <a:schemeClr val="bg2">
              <a:lumMod val="85000"/>
              <a:alpha val="40000"/>
            </a:schemeClr>
          </a:solidFill>
          <a:ln w="11113" cap="rnd">
            <a:no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algn="ctr" defTabSz="1097280" fontAlgn="base">
              <a:spcBef>
                <a:spcPct val="0"/>
              </a:spcBef>
              <a:spcAft>
                <a:spcPct val="0"/>
              </a:spcAft>
            </a:pPr>
            <a:r>
              <a:rPr lang="en-GB" altLang="en-US" sz="1400" b="1" kern="0">
                <a:solidFill>
                  <a:srgbClr val="000000">
                    <a:alpha val="40000"/>
                  </a:srgbClr>
                </a:solidFill>
                <a:latin typeface="Arial"/>
                <a:ea typeface="MS PGothic"/>
                <a:cs typeface="Arial"/>
              </a:rPr>
              <a:t>Data Science </a:t>
            </a:r>
            <a:r>
              <a:rPr lang="en-GB" altLang="en-US" sz="1400" b="1">
                <a:solidFill>
                  <a:srgbClr val="000000">
                    <a:alpha val="40000"/>
                  </a:srgbClr>
                </a:solidFill>
                <a:latin typeface="Arial"/>
                <a:ea typeface="MS PGothic"/>
                <a:cs typeface="Arial"/>
              </a:rPr>
              <a:t>y</a:t>
            </a:r>
            <a:r>
              <a:rPr lang="en-GB" altLang="en-US" sz="1400" b="1" kern="0">
                <a:solidFill>
                  <a:srgbClr val="000000">
                    <a:alpha val="40000"/>
                  </a:srgbClr>
                </a:solidFill>
                <a:latin typeface="Arial"/>
                <a:ea typeface="MS PGothic"/>
                <a:cs typeface="Arial"/>
              </a:rPr>
              <a:t> Analytics</a:t>
            </a:r>
          </a:p>
        </p:txBody>
      </p:sp>
      <p:sp>
        <p:nvSpPr>
          <p:cNvPr id="111" name="Rectangle 254">
            <a:extLst>
              <a:ext uri="{FF2B5EF4-FFF2-40B4-BE49-F238E27FC236}">
                <a16:creationId xmlns:a16="http://schemas.microsoft.com/office/drawing/2014/main" id="{775D60D5-A625-442D-8FEE-7C2239461E2B}"/>
              </a:ext>
            </a:extLst>
          </p:cNvPr>
          <p:cNvSpPr>
            <a:spLocks noChangeArrowheads="1"/>
          </p:cNvSpPr>
          <p:nvPr/>
        </p:nvSpPr>
        <p:spPr bwMode="auto">
          <a:xfrm>
            <a:off x="11722367" y="6016351"/>
            <a:ext cx="2572877" cy="973523"/>
          </a:xfrm>
          <a:prstGeom prst="rect">
            <a:avLst/>
          </a:prstGeom>
          <a:solidFill>
            <a:schemeClr val="accent1">
              <a:lumMod val="20000"/>
              <a:lumOff val="80000"/>
              <a:alpha val="40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a:solidFill>
                  <a:schemeClr val="tx1">
                    <a:alpha val="40000"/>
                  </a:schemeClr>
                </a:solidFill>
                <a:latin typeface="Arial" panose="020B0604020202020204"/>
                <a:ea typeface="MS PGothic"/>
                <a:cs typeface="+mn-cs"/>
              </a:rPr>
              <a:t>Gestión del rendimiento de la plataforma</a:t>
            </a:r>
          </a:p>
        </p:txBody>
      </p:sp>
      <p:sp>
        <p:nvSpPr>
          <p:cNvPr id="112" name="Rectangle 491">
            <a:extLst>
              <a:ext uri="{FF2B5EF4-FFF2-40B4-BE49-F238E27FC236}">
                <a16:creationId xmlns:a16="http://schemas.microsoft.com/office/drawing/2014/main" id="{D0DDA1A9-6DAC-443E-AAAF-1CA5919B284D}"/>
              </a:ext>
            </a:extLst>
          </p:cNvPr>
          <p:cNvSpPr>
            <a:spLocks noChangeArrowheads="1"/>
          </p:cNvSpPr>
          <p:nvPr/>
        </p:nvSpPr>
        <p:spPr bwMode="auto">
          <a:xfrm>
            <a:off x="3060053" y="7135450"/>
            <a:ext cx="2572877" cy="973523"/>
          </a:xfrm>
          <a:prstGeom prst="rect">
            <a:avLst/>
          </a:prstGeom>
          <a:solidFill>
            <a:schemeClr val="accent1">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alpha val="40000"/>
                  </a:schemeClr>
                </a:solidFill>
                <a:latin typeface="Arial" panose="020B0604020202020204"/>
                <a:ea typeface="MS PGothic"/>
                <a:cs typeface="+mn-cs"/>
              </a:rPr>
              <a:t>Introducción &amp; Cambio de los servicios de producto</a:t>
            </a:r>
          </a:p>
        </p:txBody>
      </p:sp>
      <p:sp>
        <p:nvSpPr>
          <p:cNvPr id="113" name="Rectangle 487">
            <a:extLst>
              <a:ext uri="{FF2B5EF4-FFF2-40B4-BE49-F238E27FC236}">
                <a16:creationId xmlns:a16="http://schemas.microsoft.com/office/drawing/2014/main" id="{79F9B8AD-182E-4E4F-97B1-B9362ED7F66A}"/>
              </a:ext>
            </a:extLst>
          </p:cNvPr>
          <p:cNvSpPr>
            <a:spLocks noChangeArrowheads="1"/>
          </p:cNvSpPr>
          <p:nvPr/>
        </p:nvSpPr>
        <p:spPr bwMode="auto">
          <a:xfrm>
            <a:off x="5949031" y="9360274"/>
            <a:ext cx="2572877" cy="973523"/>
          </a:xfrm>
          <a:prstGeom prst="rect">
            <a:avLst/>
          </a:prstGeom>
          <a:solidFill>
            <a:schemeClr val="accent1">
              <a:lumMod val="20000"/>
              <a:lumOff val="80000"/>
              <a:alpha val="40000"/>
            </a:schemeClr>
          </a:solidFill>
          <a:ln w="101600">
            <a:no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a:solidFill>
                  <a:schemeClr val="tx1"/>
                </a:solidFill>
                <a:latin typeface="Arial" panose="020B0604020202020204"/>
                <a:ea typeface="MS PGothic"/>
                <a:cs typeface="Arial"/>
              </a:rPr>
              <a:t>Integración QA &amp; testing de releases</a:t>
            </a:r>
            <a:endParaRPr lang="en-GB" altLang="en-US" sz="1400" b="1">
              <a:solidFill>
                <a:schemeClr val="tx1"/>
              </a:solidFill>
              <a:latin typeface="Arial" panose="020B0604020202020204"/>
              <a:ea typeface="MS PGothic" charset="-128"/>
              <a:cs typeface="Arial"/>
            </a:endParaRPr>
          </a:p>
        </p:txBody>
      </p:sp>
      <p:sp>
        <p:nvSpPr>
          <p:cNvPr id="115" name="Rectangle 491">
            <a:extLst>
              <a:ext uri="{FF2B5EF4-FFF2-40B4-BE49-F238E27FC236}">
                <a16:creationId xmlns:a16="http://schemas.microsoft.com/office/drawing/2014/main" id="{9AAD18AC-6B2E-428D-95BD-65ECFA7A261B}"/>
              </a:ext>
            </a:extLst>
          </p:cNvPr>
          <p:cNvSpPr>
            <a:spLocks noChangeArrowheads="1"/>
          </p:cNvSpPr>
          <p:nvPr/>
        </p:nvSpPr>
        <p:spPr bwMode="auto">
          <a:xfrm>
            <a:off x="5931918" y="6020461"/>
            <a:ext cx="2572877" cy="973523"/>
          </a:xfrm>
          <a:prstGeom prst="rect">
            <a:avLst/>
          </a:prstGeom>
          <a:solidFill>
            <a:schemeClr val="accent1">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solidFill>
                <a:latin typeface="Arial" panose="020B0604020202020204"/>
                <a:ea typeface="MS PGothic"/>
                <a:cs typeface="+mn-cs"/>
              </a:rPr>
              <a:t>Gestión &amp; Configuración de versiones</a:t>
            </a:r>
          </a:p>
        </p:txBody>
      </p:sp>
      <p:sp>
        <p:nvSpPr>
          <p:cNvPr id="116" name="Rectangle 255">
            <a:extLst>
              <a:ext uri="{FF2B5EF4-FFF2-40B4-BE49-F238E27FC236}">
                <a16:creationId xmlns:a16="http://schemas.microsoft.com/office/drawing/2014/main" id="{A708ACBD-CA2D-4122-A21C-176DCC5D7A1E}"/>
              </a:ext>
            </a:extLst>
          </p:cNvPr>
          <p:cNvSpPr>
            <a:spLocks noChangeArrowheads="1"/>
          </p:cNvSpPr>
          <p:nvPr/>
        </p:nvSpPr>
        <p:spPr bwMode="auto">
          <a:xfrm>
            <a:off x="14658613" y="7131338"/>
            <a:ext cx="2572877" cy="973523"/>
          </a:xfrm>
          <a:prstGeom prst="rect">
            <a:avLst/>
          </a:prstGeom>
          <a:solidFill>
            <a:schemeClr val="bg2">
              <a:lumMod val="85000"/>
              <a:alpha val="40000"/>
            </a:schemeClr>
          </a:solidFill>
          <a:ln w="11113" cap="rnd">
            <a:no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a:solidFill>
                  <a:srgbClr val="000000">
                    <a:alpha val="40000"/>
                  </a:srgbClr>
                </a:solidFill>
                <a:latin typeface="Arial"/>
                <a:ea typeface="MS PGothic"/>
                <a:cs typeface="Arial"/>
              </a:rPr>
              <a:t>Abastecimiento y gestión de Partners</a:t>
            </a:r>
          </a:p>
        </p:txBody>
      </p:sp>
      <p:sp>
        <p:nvSpPr>
          <p:cNvPr id="3" name="TextBox 2">
            <a:extLst>
              <a:ext uri="{FF2B5EF4-FFF2-40B4-BE49-F238E27FC236}">
                <a16:creationId xmlns:a16="http://schemas.microsoft.com/office/drawing/2014/main" id="{7C9A69CC-954F-4269-8A2C-CF90808D4286}"/>
              </a:ext>
            </a:extLst>
          </p:cNvPr>
          <p:cNvSpPr txBox="1"/>
          <p:nvPr/>
        </p:nvSpPr>
        <p:spPr>
          <a:xfrm>
            <a:off x="701192" y="2068872"/>
            <a:ext cx="21394880" cy="5539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GB" dirty="0">
                <a:cs typeface="Arial"/>
              </a:rPr>
              <a:t> A continuación se detallan los principales procesos operacionales del servicio Go Cloud.</a:t>
            </a:r>
          </a:p>
        </p:txBody>
      </p:sp>
      <p:sp>
        <p:nvSpPr>
          <p:cNvPr id="69" name="TextBox 74">
            <a:extLst>
              <a:ext uri="{FF2B5EF4-FFF2-40B4-BE49-F238E27FC236}">
                <a16:creationId xmlns:a16="http://schemas.microsoft.com/office/drawing/2014/main" id="{1453F6C6-C5BE-426B-AFB8-4B8D80126E92}"/>
              </a:ext>
            </a:extLst>
          </p:cNvPr>
          <p:cNvSpPr txBox="1"/>
          <p:nvPr/>
        </p:nvSpPr>
        <p:spPr>
          <a:xfrm>
            <a:off x="650240" y="541319"/>
            <a:ext cx="22611504" cy="1138773"/>
          </a:xfrm>
          <a:prstGeom prst="rect">
            <a:avLst/>
          </a:prstGeom>
          <a:noFill/>
        </p:spPr>
        <p:txBody>
          <a:bodyPr wrap="square" rtlCol="0" anchor="t">
            <a:spAutoFit/>
          </a:bodyPr>
          <a:lstStyle/>
          <a:p>
            <a:pPr algn="l"/>
            <a:r>
              <a:rPr lang="en-GB" sz="4000" b="1" kern="1200" dirty="0">
                <a:solidFill>
                  <a:srgbClr val="C00000"/>
                </a:solidFill>
              </a:rPr>
              <a:t>Principales procesos operativos</a:t>
            </a:r>
          </a:p>
          <a:p>
            <a:pPr algn="l"/>
            <a:r>
              <a:rPr lang="en-GB" altLang="en-US" sz="2800" kern="1200" dirty="0">
                <a:solidFill>
                  <a:schemeClr val="tx1"/>
                </a:solidFill>
              </a:rPr>
              <a:t>Aprovisionamiento &amp; Ejecución Automática</a:t>
            </a:r>
            <a:endParaRPr lang="en-US" altLang="en-US" sz="2800" kern="1200" dirty="0">
              <a:solidFill>
                <a:schemeClr val="tx1"/>
              </a:solidFill>
            </a:endParaRPr>
          </a:p>
        </p:txBody>
      </p:sp>
      <p:sp>
        <p:nvSpPr>
          <p:cNvPr id="67" name="Rectangle 491">
            <a:extLst>
              <a:ext uri="{FF2B5EF4-FFF2-40B4-BE49-F238E27FC236}">
                <a16:creationId xmlns:a16="http://schemas.microsoft.com/office/drawing/2014/main" id="{75352D01-6B3C-4D79-96FF-A762F030F619}"/>
              </a:ext>
            </a:extLst>
          </p:cNvPr>
          <p:cNvSpPr>
            <a:spLocks noChangeArrowheads="1"/>
          </p:cNvSpPr>
          <p:nvPr/>
        </p:nvSpPr>
        <p:spPr bwMode="auto">
          <a:xfrm>
            <a:off x="9772651" y="3961914"/>
            <a:ext cx="1598400" cy="604800"/>
          </a:xfrm>
          <a:prstGeom prst="rect">
            <a:avLst/>
          </a:prstGeom>
          <a:solidFill>
            <a:schemeClr val="bg2">
              <a:lumMod val="85000"/>
            </a:schemeClr>
          </a:solidFill>
          <a:ln w="11113" cap="rnd">
            <a:solidFill>
              <a:srgbClr val="0070C0"/>
            </a:solidFill>
            <a:miter lim="800000"/>
            <a:headEnd/>
            <a:tailEnd/>
          </a:ln>
          <a:effectLst/>
        </p:spPr>
        <p:txBody>
          <a:bodyPr anchor="ctr"/>
          <a:lstStyle/>
          <a:p>
            <a:pPr algn="ctr" defTabSz="1097280" fontAlgn="base">
              <a:spcBef>
                <a:spcPct val="0"/>
              </a:spcBef>
              <a:spcAft>
                <a:spcPct val="0"/>
              </a:spcAft>
            </a:pPr>
            <a:r>
              <a:rPr lang="en-GB" altLang="en-US" sz="1026" b="1" kern="0" dirty="0">
                <a:solidFill>
                  <a:srgbClr val="000000"/>
                </a:solidFill>
                <a:latin typeface="Arial" charset="0"/>
                <a:ea typeface="MS PGothic" charset="-128"/>
              </a:rPr>
              <a:t>Sourcing and Partner Management</a:t>
            </a:r>
          </a:p>
        </p:txBody>
      </p:sp>
      <p:sp>
        <p:nvSpPr>
          <p:cNvPr id="68" name="Rectangle 491">
            <a:extLst>
              <a:ext uri="{FF2B5EF4-FFF2-40B4-BE49-F238E27FC236}">
                <a16:creationId xmlns:a16="http://schemas.microsoft.com/office/drawing/2014/main" id="{1B63C75E-8C0C-4F19-ACF9-43628E430930}"/>
              </a:ext>
            </a:extLst>
          </p:cNvPr>
          <p:cNvSpPr>
            <a:spLocks noChangeArrowheads="1"/>
          </p:cNvSpPr>
          <p:nvPr/>
        </p:nvSpPr>
        <p:spPr bwMode="auto">
          <a:xfrm>
            <a:off x="8838007" y="10466118"/>
            <a:ext cx="2572877" cy="973523"/>
          </a:xfrm>
          <a:prstGeom prst="rect">
            <a:avLst/>
          </a:prstGeom>
          <a:solidFill>
            <a:schemeClr val="accent1">
              <a:lumMod val="20000"/>
              <a:lumOff val="8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a:solidFill>
                  <a:schemeClr val="tx1"/>
                </a:solidFill>
                <a:latin typeface="Arial" panose="020B0604020202020204"/>
                <a:ea typeface="MS PGothic"/>
                <a:cs typeface="+mn-cs"/>
              </a:rPr>
              <a:t>Formación &amp; Gestión del talento</a:t>
            </a:r>
          </a:p>
        </p:txBody>
      </p:sp>
      <p:sp>
        <p:nvSpPr>
          <p:cNvPr id="70" name="Rectangle 510">
            <a:extLst>
              <a:ext uri="{FF2B5EF4-FFF2-40B4-BE49-F238E27FC236}">
                <a16:creationId xmlns:a16="http://schemas.microsoft.com/office/drawing/2014/main" id="{DAD14B4C-EBA6-4FC3-A21A-781AE4311CAC}"/>
              </a:ext>
            </a:extLst>
          </p:cNvPr>
          <p:cNvSpPr>
            <a:spLocks noChangeArrowheads="1"/>
          </p:cNvSpPr>
          <p:nvPr/>
        </p:nvSpPr>
        <p:spPr bwMode="auto">
          <a:xfrm>
            <a:off x="8838007" y="6020461"/>
            <a:ext cx="2572877" cy="973523"/>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solidFill>
                <a:latin typeface="Arial" panose="020B0604020202020204"/>
                <a:ea typeface="MS PGothic"/>
              </a:rPr>
              <a:t>Aprovisionamiento de entornos de plataforma</a:t>
            </a:r>
          </a:p>
        </p:txBody>
      </p:sp>
      <p:sp>
        <p:nvSpPr>
          <p:cNvPr id="71" name="Rectangle 507">
            <a:extLst>
              <a:ext uri="{FF2B5EF4-FFF2-40B4-BE49-F238E27FC236}">
                <a16:creationId xmlns:a16="http://schemas.microsoft.com/office/drawing/2014/main" id="{24CA99C9-5B23-4F24-B7D5-9DEA4C474D60}"/>
              </a:ext>
            </a:extLst>
          </p:cNvPr>
          <p:cNvSpPr>
            <a:spLocks noChangeArrowheads="1"/>
          </p:cNvSpPr>
          <p:nvPr/>
        </p:nvSpPr>
        <p:spPr bwMode="auto">
          <a:xfrm>
            <a:off x="8838007" y="7135450"/>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solidFill>
                  <a:srgbClr val="000000"/>
                </a:solidFill>
                <a:latin typeface="Arial"/>
                <a:ea typeface="MS PGothic"/>
                <a:cs typeface="Arial"/>
              </a:rPr>
              <a:t>Aprovisionamiento de aplicación &amp; Datos</a:t>
            </a:r>
          </a:p>
        </p:txBody>
      </p:sp>
      <p:sp>
        <p:nvSpPr>
          <p:cNvPr id="73" name="Rectangle 103">
            <a:extLst>
              <a:ext uri="{FF2B5EF4-FFF2-40B4-BE49-F238E27FC236}">
                <a16:creationId xmlns:a16="http://schemas.microsoft.com/office/drawing/2014/main" id="{1E9883E0-17D6-4C12-BD2B-442C6471E57D}"/>
              </a:ext>
            </a:extLst>
          </p:cNvPr>
          <p:cNvSpPr/>
          <p:nvPr/>
        </p:nvSpPr>
        <p:spPr>
          <a:xfrm>
            <a:off x="8838007" y="3413988"/>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solidFill>
                <a:ea typeface="MS PGothic" charset="-128"/>
              </a:rPr>
              <a:t>Aprovisionamiento &amp; Ejecución Automática</a:t>
            </a:r>
            <a:endParaRPr lang="en-US" sz="1600" b="1" dirty="0">
              <a:solidFill>
                <a:schemeClr val="bg1"/>
              </a:solidFill>
              <a:ea typeface="MS PGothic" charset="-128"/>
            </a:endParaRPr>
          </a:p>
        </p:txBody>
      </p:sp>
      <p:sp>
        <p:nvSpPr>
          <p:cNvPr id="74" name="Rectangle 491">
            <a:extLst>
              <a:ext uri="{FF2B5EF4-FFF2-40B4-BE49-F238E27FC236}">
                <a16:creationId xmlns:a16="http://schemas.microsoft.com/office/drawing/2014/main" id="{5FA201BC-6B77-4AC3-8F13-3404598C767C}"/>
              </a:ext>
            </a:extLst>
          </p:cNvPr>
          <p:cNvSpPr>
            <a:spLocks noChangeArrowheads="1"/>
          </p:cNvSpPr>
          <p:nvPr/>
        </p:nvSpPr>
        <p:spPr bwMode="auto">
          <a:xfrm>
            <a:off x="8838007" y="8250439"/>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latin typeface="Arial"/>
                <a:ea typeface="MS PGothic"/>
                <a:cs typeface="Arial"/>
              </a:rPr>
              <a:t>Gestión de la Capacidad</a:t>
            </a:r>
          </a:p>
        </p:txBody>
      </p:sp>
      <p:sp>
        <p:nvSpPr>
          <p:cNvPr id="75" name="Rectangle 491">
            <a:extLst>
              <a:ext uri="{FF2B5EF4-FFF2-40B4-BE49-F238E27FC236}">
                <a16:creationId xmlns:a16="http://schemas.microsoft.com/office/drawing/2014/main" id="{968E5D9D-33C9-484D-BE16-9491EA6863C4}"/>
              </a:ext>
            </a:extLst>
          </p:cNvPr>
          <p:cNvSpPr>
            <a:spLocks noChangeArrowheads="1"/>
          </p:cNvSpPr>
          <p:nvPr/>
        </p:nvSpPr>
        <p:spPr bwMode="auto">
          <a:xfrm>
            <a:off x="8838007" y="9360274"/>
            <a:ext cx="2572877" cy="973523"/>
          </a:xfrm>
          <a:prstGeom prst="rect">
            <a:avLst/>
          </a:prstGeom>
          <a:solidFill>
            <a:schemeClr val="accent1">
              <a:lumMod val="20000"/>
              <a:lumOff val="8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a:solidFill>
                  <a:schemeClr val="tx1"/>
                </a:solidFill>
                <a:latin typeface="Arial" panose="020B0604020202020204"/>
                <a:ea typeface="MS PGothic"/>
                <a:cs typeface="+mn-cs"/>
              </a:rPr>
              <a:t>Disponibilidad &amp; Ingeniería de confiabilidad del servicio (SRE)</a:t>
            </a:r>
          </a:p>
        </p:txBody>
      </p:sp>
      <p:sp>
        <p:nvSpPr>
          <p:cNvPr id="76" name="Rectangle 491">
            <a:extLst>
              <a:ext uri="{FF2B5EF4-FFF2-40B4-BE49-F238E27FC236}">
                <a16:creationId xmlns:a16="http://schemas.microsoft.com/office/drawing/2014/main" id="{8F786C7F-6738-4559-A2D2-9D1AAB02C102}"/>
              </a:ext>
            </a:extLst>
          </p:cNvPr>
          <p:cNvSpPr>
            <a:spLocks noChangeArrowheads="1"/>
          </p:cNvSpPr>
          <p:nvPr/>
        </p:nvSpPr>
        <p:spPr bwMode="auto">
          <a:xfrm>
            <a:off x="8838007" y="4903089"/>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latin typeface="Arial"/>
                <a:ea typeface="MS PGothic"/>
                <a:cs typeface="Arial"/>
              </a:rPr>
              <a:t>Orquestación &amp; Accesos de servicios</a:t>
            </a:r>
          </a:p>
        </p:txBody>
      </p:sp>
      <p:sp>
        <p:nvSpPr>
          <p:cNvPr id="80" name="Rounded Rectangle 82">
            <a:extLst>
              <a:ext uri="{FF2B5EF4-FFF2-40B4-BE49-F238E27FC236}">
                <a16:creationId xmlns:a16="http://schemas.microsoft.com/office/drawing/2014/main" id="{D9026C56-C5B3-44D8-9A0D-C23871E2177A}"/>
              </a:ext>
            </a:extLst>
          </p:cNvPr>
          <p:cNvSpPr/>
          <p:nvPr/>
        </p:nvSpPr>
        <p:spPr>
          <a:xfrm>
            <a:off x="18543672" y="7691535"/>
            <a:ext cx="3088570" cy="646263"/>
          </a:xfrm>
          <a:prstGeom prst="roundRect">
            <a:avLst/>
          </a:prstGeom>
          <a:noFill/>
          <a:ln w="25400" cap="flat" cmpd="sng" algn="ctr">
            <a:noFill/>
            <a:prstDash val="solid"/>
          </a:ln>
          <a:effectLst/>
        </p:spPr>
        <p:txBody>
          <a:bodyPr rtlCol="0" anchor="ctr"/>
          <a:lstStyle/>
          <a:p>
            <a:pPr algn="ctr" defTabSz="1097280">
              <a:defRPr/>
            </a:pPr>
            <a:r>
              <a:rPr lang="en-US" sz="1400" kern="0" dirty="0">
                <a:solidFill>
                  <a:srgbClr val="FFFFFF"/>
                </a:solidFill>
                <a:latin typeface="Calibri" panose="020F0502020204030204"/>
                <a:ea typeface="Calibri" charset="0"/>
                <a:cs typeface="Calibri" charset="0"/>
              </a:rPr>
              <a:t>Integrated Cloud Management</a:t>
            </a:r>
            <a:endParaRPr lang="en-US" sz="1400" i="1" kern="0" dirty="0">
              <a:solidFill>
                <a:srgbClr val="FFFFFF"/>
              </a:solidFill>
              <a:latin typeface="Calibri" panose="020F0502020204030204"/>
              <a:ea typeface="Calibri" charset="0"/>
              <a:cs typeface="Calibri" charset="0"/>
            </a:endParaRPr>
          </a:p>
        </p:txBody>
      </p:sp>
      <p:sp>
        <p:nvSpPr>
          <p:cNvPr id="84" name="Rectangle 499">
            <a:extLst>
              <a:ext uri="{FF2B5EF4-FFF2-40B4-BE49-F238E27FC236}">
                <a16:creationId xmlns:a16="http://schemas.microsoft.com/office/drawing/2014/main" id="{057B1FFE-5CF9-4CF9-98EF-0ED7CFA3B91F}"/>
              </a:ext>
            </a:extLst>
          </p:cNvPr>
          <p:cNvSpPr>
            <a:spLocks noChangeArrowheads="1"/>
          </p:cNvSpPr>
          <p:nvPr/>
        </p:nvSpPr>
        <p:spPr bwMode="auto">
          <a:xfrm>
            <a:off x="18687341" y="8021879"/>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defTabSz="912813" eaLnBrk="0" fontAlgn="base" hangingPunct="0">
              <a:spcBef>
                <a:spcPct val="0"/>
              </a:spcBef>
              <a:spcAft>
                <a:spcPct val="0"/>
              </a:spcAft>
              <a:defRPr>
                <a:solidFill>
                  <a:schemeClr val="tx1"/>
                </a:solidFill>
                <a:latin typeface="Arial" charset="0"/>
                <a:ea typeface="MS PGothic" charset="-128"/>
              </a:defRPr>
            </a:lvl6pPr>
            <a:lvl7pPr marL="2971800" indent="-228600" defTabSz="912813" eaLnBrk="0" fontAlgn="base" hangingPunct="0">
              <a:spcBef>
                <a:spcPct val="0"/>
              </a:spcBef>
              <a:spcAft>
                <a:spcPct val="0"/>
              </a:spcAft>
              <a:defRPr>
                <a:solidFill>
                  <a:schemeClr val="tx1"/>
                </a:solidFill>
                <a:latin typeface="Arial" charset="0"/>
                <a:ea typeface="MS PGothic" charset="-128"/>
              </a:defRPr>
            </a:lvl7pPr>
            <a:lvl8pPr marL="3429000" indent="-228600" defTabSz="912813" eaLnBrk="0" fontAlgn="base" hangingPunct="0">
              <a:spcBef>
                <a:spcPct val="0"/>
              </a:spcBef>
              <a:spcAft>
                <a:spcPct val="0"/>
              </a:spcAft>
              <a:defRPr>
                <a:solidFill>
                  <a:schemeClr val="tx1"/>
                </a:solidFill>
                <a:latin typeface="Arial" charset="0"/>
                <a:ea typeface="MS PGothic" charset="-128"/>
              </a:defRPr>
            </a:lvl8pPr>
            <a:lvl9pPr marL="3886200" indent="-228600" defTabSz="912813" eaLnBrk="0" fontAlgn="base" hangingPunct="0">
              <a:spcBef>
                <a:spcPct val="0"/>
              </a:spcBef>
              <a:spcAft>
                <a:spcPct val="0"/>
              </a:spcAft>
              <a:defRPr>
                <a:solidFill>
                  <a:schemeClr val="tx1"/>
                </a:solidFill>
                <a:latin typeface="Arial" charset="0"/>
                <a:ea typeface="MS PGothic" charset="-128"/>
              </a:defRPr>
            </a:lvl9pPr>
          </a:lstStyle>
          <a:p>
            <a:pPr defTabSz="1097280" fontAlgn="base">
              <a:spcBef>
                <a:spcPct val="0"/>
              </a:spcBef>
              <a:spcAft>
                <a:spcPct val="0"/>
              </a:spcAft>
              <a:defRPr/>
            </a:pPr>
            <a:r>
              <a:rPr lang="en-US" altLang="en-US" sz="1400" b="1">
                <a:solidFill>
                  <a:srgbClr val="000000"/>
                </a:solidFill>
                <a:latin typeface="Arial"/>
                <a:ea typeface="MS PGothic"/>
                <a:cs typeface="Arial"/>
              </a:rPr>
              <a:t>No Aplica a procesos en Santander España</a:t>
            </a:r>
          </a:p>
        </p:txBody>
      </p:sp>
      <p:sp>
        <p:nvSpPr>
          <p:cNvPr id="89" name="Rectangle 499">
            <a:extLst>
              <a:ext uri="{FF2B5EF4-FFF2-40B4-BE49-F238E27FC236}">
                <a16:creationId xmlns:a16="http://schemas.microsoft.com/office/drawing/2014/main" id="{0D4ED287-5D85-4CA1-AC05-DB0718BF73DB}"/>
              </a:ext>
            </a:extLst>
          </p:cNvPr>
          <p:cNvSpPr>
            <a:spLocks noChangeArrowheads="1"/>
          </p:cNvSpPr>
          <p:nvPr/>
        </p:nvSpPr>
        <p:spPr bwMode="auto">
          <a:xfrm>
            <a:off x="18687341" y="6793253"/>
            <a:ext cx="2572877" cy="973523"/>
          </a:xfrm>
          <a:prstGeom prst="rect">
            <a:avLst/>
          </a:prstGeom>
          <a:solidFill>
            <a:schemeClr val="accent1">
              <a:lumMod val="20000"/>
              <a:lumOff val="8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defTabSz="912813" eaLnBrk="0" fontAlgn="base" hangingPunct="0">
              <a:spcBef>
                <a:spcPct val="0"/>
              </a:spcBef>
              <a:spcAft>
                <a:spcPct val="0"/>
              </a:spcAft>
              <a:defRPr>
                <a:solidFill>
                  <a:schemeClr val="tx1"/>
                </a:solidFill>
                <a:latin typeface="Arial" charset="0"/>
                <a:ea typeface="MS PGothic" charset="-128"/>
              </a:defRPr>
            </a:lvl6pPr>
            <a:lvl7pPr marL="2971800" indent="-228600" defTabSz="912813" eaLnBrk="0" fontAlgn="base" hangingPunct="0">
              <a:spcBef>
                <a:spcPct val="0"/>
              </a:spcBef>
              <a:spcAft>
                <a:spcPct val="0"/>
              </a:spcAft>
              <a:defRPr>
                <a:solidFill>
                  <a:schemeClr val="tx1"/>
                </a:solidFill>
                <a:latin typeface="Arial" charset="0"/>
                <a:ea typeface="MS PGothic" charset="-128"/>
              </a:defRPr>
            </a:lvl7pPr>
            <a:lvl8pPr marL="3429000" indent="-228600" defTabSz="912813" eaLnBrk="0" fontAlgn="base" hangingPunct="0">
              <a:spcBef>
                <a:spcPct val="0"/>
              </a:spcBef>
              <a:spcAft>
                <a:spcPct val="0"/>
              </a:spcAft>
              <a:defRPr>
                <a:solidFill>
                  <a:schemeClr val="tx1"/>
                </a:solidFill>
                <a:latin typeface="Arial" charset="0"/>
                <a:ea typeface="MS PGothic" charset="-128"/>
              </a:defRPr>
            </a:lvl8pPr>
            <a:lvl9pPr marL="3886200" indent="-228600" defTabSz="912813" eaLnBrk="0" fontAlgn="base" hangingPunct="0">
              <a:spcBef>
                <a:spcPct val="0"/>
              </a:spcBef>
              <a:spcAft>
                <a:spcPct val="0"/>
              </a:spcAft>
              <a:defRPr>
                <a:solidFill>
                  <a:schemeClr val="tx1"/>
                </a:solidFill>
                <a:latin typeface="Arial" charset="0"/>
                <a:ea typeface="MS PGothic" charset="-128"/>
              </a:defRPr>
            </a:lvl9pPr>
          </a:lstStyle>
          <a:p>
            <a:pPr defTabSz="1097280" fontAlgn="base">
              <a:spcBef>
                <a:spcPct val="0"/>
              </a:spcBef>
              <a:spcAft>
                <a:spcPct val="0"/>
              </a:spcAft>
            </a:pPr>
            <a:r>
              <a:rPr lang="en-US" altLang="en-US" sz="1400" b="1">
                <a:latin typeface="Arial" panose="020B0604020202020204"/>
                <a:ea typeface="MS PGothic"/>
                <a:cs typeface="+mn-cs"/>
              </a:rPr>
              <a:t>Procesos a definir en </a:t>
            </a:r>
            <a:endParaRPr lang="en-US" altLang="en-US" sz="1400" b="1">
              <a:latin typeface="Arial" panose="020B0604020202020204"/>
              <a:ea typeface="MS PGothic"/>
            </a:endParaRPr>
          </a:p>
          <a:p>
            <a:pPr defTabSz="1097280" fontAlgn="base">
              <a:spcBef>
                <a:spcPct val="0"/>
              </a:spcBef>
              <a:spcAft>
                <a:spcPct val="0"/>
              </a:spcAft>
            </a:pPr>
            <a:r>
              <a:rPr lang="en-US" altLang="en-US" sz="1400" b="1">
                <a:latin typeface="Arial" panose="020B0604020202020204"/>
                <a:ea typeface="MS PGothic"/>
              </a:rPr>
              <a:t>Fase 2</a:t>
            </a:r>
            <a:endParaRPr lang="en-US" altLang="en-US" sz="1400" b="1">
              <a:latin typeface="Arial" panose="020B0604020202020204"/>
              <a:cs typeface="+mn-cs"/>
            </a:endParaRPr>
          </a:p>
        </p:txBody>
      </p:sp>
      <p:sp>
        <p:nvSpPr>
          <p:cNvPr id="90" name="Rectangle 499">
            <a:extLst>
              <a:ext uri="{FF2B5EF4-FFF2-40B4-BE49-F238E27FC236}">
                <a16:creationId xmlns:a16="http://schemas.microsoft.com/office/drawing/2014/main" id="{8EEF71D8-EBE9-4230-B638-0C562D2A61FF}"/>
              </a:ext>
            </a:extLst>
          </p:cNvPr>
          <p:cNvSpPr>
            <a:spLocks noChangeArrowheads="1"/>
          </p:cNvSpPr>
          <p:nvPr/>
        </p:nvSpPr>
        <p:spPr bwMode="auto">
          <a:xfrm>
            <a:off x="18687342" y="5568588"/>
            <a:ext cx="2572877" cy="973523"/>
          </a:xfrm>
          <a:prstGeom prst="rect">
            <a:avLst/>
          </a:prstGeom>
          <a:solidFill>
            <a:schemeClr val="accent1">
              <a:lumMod val="20000"/>
              <a:lumOff val="8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defTabSz="912813" eaLnBrk="0" fontAlgn="base" hangingPunct="0">
              <a:spcBef>
                <a:spcPct val="0"/>
              </a:spcBef>
              <a:spcAft>
                <a:spcPct val="0"/>
              </a:spcAft>
              <a:defRPr>
                <a:solidFill>
                  <a:schemeClr val="tx1"/>
                </a:solidFill>
                <a:latin typeface="Arial" charset="0"/>
                <a:ea typeface="MS PGothic" charset="-128"/>
              </a:defRPr>
            </a:lvl6pPr>
            <a:lvl7pPr marL="2971800" indent="-228600" defTabSz="912813" eaLnBrk="0" fontAlgn="base" hangingPunct="0">
              <a:spcBef>
                <a:spcPct val="0"/>
              </a:spcBef>
              <a:spcAft>
                <a:spcPct val="0"/>
              </a:spcAft>
              <a:defRPr>
                <a:solidFill>
                  <a:schemeClr val="tx1"/>
                </a:solidFill>
                <a:latin typeface="Arial" charset="0"/>
                <a:ea typeface="MS PGothic" charset="-128"/>
              </a:defRPr>
            </a:lvl7pPr>
            <a:lvl8pPr marL="3429000" indent="-228600" defTabSz="912813" eaLnBrk="0" fontAlgn="base" hangingPunct="0">
              <a:spcBef>
                <a:spcPct val="0"/>
              </a:spcBef>
              <a:spcAft>
                <a:spcPct val="0"/>
              </a:spcAft>
              <a:defRPr>
                <a:solidFill>
                  <a:schemeClr val="tx1"/>
                </a:solidFill>
                <a:latin typeface="Arial" charset="0"/>
                <a:ea typeface="MS PGothic" charset="-128"/>
              </a:defRPr>
            </a:lvl8pPr>
            <a:lvl9pPr marL="3886200" indent="-228600" defTabSz="912813" eaLnBrk="0" fontAlgn="base" hangingPunct="0">
              <a:spcBef>
                <a:spcPct val="0"/>
              </a:spcBef>
              <a:spcAft>
                <a:spcPct val="0"/>
              </a:spcAft>
              <a:defRPr>
                <a:solidFill>
                  <a:schemeClr val="tx1"/>
                </a:solidFill>
                <a:latin typeface="Arial" charset="0"/>
                <a:ea typeface="MS PGothic" charset="-128"/>
              </a:defRPr>
            </a:lvl9pPr>
          </a:lstStyle>
          <a:p>
            <a:pPr defTabSz="1097280" fontAlgn="base">
              <a:spcBef>
                <a:spcPct val="0"/>
              </a:spcBef>
              <a:spcAft>
                <a:spcPct val="0"/>
              </a:spcAft>
            </a:pPr>
            <a:r>
              <a:rPr lang="en-US" altLang="en-US" sz="1400" b="1">
                <a:latin typeface="Arial" panose="020B0604020202020204"/>
                <a:ea typeface="MS PGothic"/>
              </a:rPr>
              <a:t>Procesos definidos  en</a:t>
            </a:r>
          </a:p>
          <a:p>
            <a:pPr defTabSz="1097280" fontAlgn="base">
              <a:spcBef>
                <a:spcPct val="0"/>
              </a:spcBef>
              <a:spcAft>
                <a:spcPct val="0"/>
              </a:spcAft>
            </a:pPr>
            <a:r>
              <a:rPr lang="en-US" altLang="en-US" sz="1400" b="1">
                <a:latin typeface="Arial" panose="020B0604020202020204"/>
                <a:ea typeface="MS PGothic"/>
              </a:rPr>
              <a:t>Fase 1</a:t>
            </a:r>
          </a:p>
        </p:txBody>
      </p:sp>
      <p:sp>
        <p:nvSpPr>
          <p:cNvPr id="104" name="Elipse 103">
            <a:extLst>
              <a:ext uri="{FF2B5EF4-FFF2-40B4-BE49-F238E27FC236}">
                <a16:creationId xmlns:a16="http://schemas.microsoft.com/office/drawing/2014/main" id="{2CE832DA-3B90-419F-AAEC-8998ADED9114}"/>
              </a:ext>
            </a:extLst>
          </p:cNvPr>
          <p:cNvSpPr/>
          <p:nvPr/>
        </p:nvSpPr>
        <p:spPr>
          <a:xfrm>
            <a:off x="18543672" y="5400216"/>
            <a:ext cx="2860218" cy="1337069"/>
          </a:xfrm>
          <a:prstGeom prst="ellipse">
            <a:avLst/>
          </a:prstGeom>
          <a:noFill/>
          <a:ln w="28575">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08" name="Elipse 107">
            <a:extLst>
              <a:ext uri="{FF2B5EF4-FFF2-40B4-BE49-F238E27FC236}">
                <a16:creationId xmlns:a16="http://schemas.microsoft.com/office/drawing/2014/main" id="{DECF318C-78D4-4D40-B13A-FC05CD3781C6}"/>
              </a:ext>
            </a:extLst>
          </p:cNvPr>
          <p:cNvSpPr/>
          <p:nvPr/>
        </p:nvSpPr>
        <p:spPr>
          <a:xfrm>
            <a:off x="8701755" y="5887243"/>
            <a:ext cx="2860218" cy="1337069"/>
          </a:xfrm>
          <a:prstGeom prst="ellipse">
            <a:avLst/>
          </a:prstGeom>
          <a:noFill/>
          <a:ln w="28575">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Tree>
    <p:extLst>
      <p:ext uri="{BB962C8B-B14F-4D97-AF65-F5344CB8AC3E}">
        <p14:creationId xmlns:p14="http://schemas.microsoft.com/office/powerpoint/2010/main" val="39274638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sp>
        <p:nvSpPr>
          <p:cNvPr id="42" name="TextBox 41">
            <a:extLst>
              <a:ext uri="{FF2B5EF4-FFF2-40B4-BE49-F238E27FC236}">
                <a16:creationId xmlns:a16="http://schemas.microsoft.com/office/drawing/2014/main" id="{9856064B-55C3-42E8-A4B0-E96580BF58E8}"/>
              </a:ext>
            </a:extLst>
          </p:cNvPr>
          <p:cNvSpPr txBox="1"/>
          <p:nvPr/>
        </p:nvSpPr>
        <p:spPr>
          <a:xfrm>
            <a:off x="650240" y="541319"/>
            <a:ext cx="22611504" cy="1569660"/>
          </a:xfrm>
          <a:prstGeom prst="rect">
            <a:avLst/>
          </a:prstGeom>
          <a:noFill/>
        </p:spPr>
        <p:txBody>
          <a:bodyPr wrap="square" rtlCol="0" anchor="t">
            <a:spAutoFit/>
          </a:bodyPr>
          <a:lstStyle/>
          <a:p>
            <a:pPr algn="l"/>
            <a:r>
              <a:rPr lang="es-ES" sz="4000" b="1" kern="1200" dirty="0">
                <a:solidFill>
                  <a:srgbClr val="C00000"/>
                </a:solidFill>
              </a:rPr>
              <a:t>Aprovisionamiento &amp; Ejecución Automática  </a:t>
            </a:r>
            <a:r>
              <a:rPr lang="en-US" sz="2800" kern="1200" dirty="0">
                <a:solidFill>
                  <a:srgbClr val="C00000"/>
                </a:solidFill>
              </a:rPr>
              <a:t>Aprovisionamiento de entornos de plataforma</a:t>
            </a:r>
          </a:p>
          <a:p>
            <a:pPr algn="l"/>
            <a:r>
              <a:rPr lang="es-ES" altLang="en-US" sz="2800" kern="1200" dirty="0">
                <a:solidFill>
                  <a:schemeClr val="tx1"/>
                </a:solidFill>
              </a:rPr>
              <a:t>Descripción del proceso</a:t>
            </a:r>
            <a:endParaRPr lang="en-US" altLang="en-US" sz="2800" kern="1200" dirty="0">
              <a:solidFill>
                <a:schemeClr val="tx1"/>
              </a:solidFill>
            </a:endParaRPr>
          </a:p>
          <a:p>
            <a:pPr algn="l"/>
            <a:endParaRPr lang="en-US" altLang="en-US" sz="2800" kern="1200" dirty="0">
              <a:solidFill>
                <a:srgbClr val="C00000"/>
              </a:solidFill>
              <a:latin typeface="IBM Plex Sans"/>
            </a:endParaRPr>
          </a:p>
        </p:txBody>
      </p:sp>
      <p:sp>
        <p:nvSpPr>
          <p:cNvPr id="27" name="Rectangle 26">
            <a:extLst>
              <a:ext uri="{FF2B5EF4-FFF2-40B4-BE49-F238E27FC236}">
                <a16:creationId xmlns:a16="http://schemas.microsoft.com/office/drawing/2014/main" id="{316ED852-3FBE-4FF9-956F-09AB569C0563}"/>
              </a:ext>
            </a:extLst>
          </p:cNvPr>
          <p:cNvSpPr/>
          <p:nvPr/>
        </p:nvSpPr>
        <p:spPr bwMode="auto">
          <a:xfrm>
            <a:off x="566223" y="1755963"/>
            <a:ext cx="23225760" cy="1993298"/>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l" defTabSz="1097280" fontAlgn="base">
              <a:spcBef>
                <a:spcPct val="0"/>
              </a:spcBef>
              <a:spcAft>
                <a:spcPct val="0"/>
              </a:spcAft>
            </a:pPr>
            <a:endParaRPr lang="en-US" sz="1600" b="1" dirty="0">
              <a:solidFill>
                <a:schemeClr val="bg1"/>
              </a:solidFill>
              <a:latin typeface="Arial" panose="020B0604020202020204"/>
              <a:ea typeface="MS PGothic" charset="-128"/>
            </a:endParaRPr>
          </a:p>
        </p:txBody>
      </p:sp>
      <p:sp>
        <p:nvSpPr>
          <p:cNvPr id="28" name="Rectangle: Diagonal Corners Snipped 27">
            <a:extLst>
              <a:ext uri="{FF2B5EF4-FFF2-40B4-BE49-F238E27FC236}">
                <a16:creationId xmlns:a16="http://schemas.microsoft.com/office/drawing/2014/main" id="{6D479C70-0CB1-4F12-91FF-774AAE069B66}"/>
              </a:ext>
            </a:extLst>
          </p:cNvPr>
          <p:cNvSpPr/>
          <p:nvPr/>
        </p:nvSpPr>
        <p:spPr>
          <a:xfrm>
            <a:off x="566223" y="3845218"/>
            <a:ext cx="23225760" cy="7237510"/>
          </a:xfrm>
          <a:prstGeom prst="snip2DiagRect">
            <a:avLst>
              <a:gd name="adj1" fmla="val 0"/>
              <a:gd name="adj2" fmla="val 4798"/>
            </a:avLst>
          </a:prstGeom>
          <a:noFill/>
          <a:ln w="6350" cap="flat" cmpd="sng">
            <a:solidFill>
              <a:schemeClr val="accent1"/>
            </a:solidFill>
            <a:prstDash val="solid"/>
            <a:round/>
            <a:headEnd type="none" w="med" len="med"/>
            <a:tailEnd type="none" w="med" len="med"/>
          </a:ln>
        </p:spPr>
        <p:txBody>
          <a:bodyPr lIns="0" tIns="91400" rIns="0" bIns="91400" rtlCol="0" anchor="ctr" anchorCtr="0">
            <a:noAutofit/>
          </a:bodyPr>
          <a:lstStyle/>
          <a:p>
            <a:pPr defTabSz="1828837">
              <a:buClr>
                <a:srgbClr val="000000"/>
              </a:buClr>
              <a:buSzPct val="25000"/>
              <a:defRPr/>
            </a:pPr>
            <a:endParaRPr lang="en-US" sz="2000" dirty="0">
              <a:solidFill>
                <a:srgbClr val="FFFFFF"/>
              </a:solidFill>
              <a:latin typeface="Century Gothic"/>
              <a:ea typeface="Century Gothic"/>
              <a:cs typeface="Century Gothic"/>
              <a:sym typeface="Century Gothic"/>
            </a:endParaRPr>
          </a:p>
        </p:txBody>
      </p:sp>
      <p:sp>
        <p:nvSpPr>
          <p:cNvPr id="29" name="Content Placeholder 2">
            <a:extLst>
              <a:ext uri="{FF2B5EF4-FFF2-40B4-BE49-F238E27FC236}">
                <a16:creationId xmlns:a16="http://schemas.microsoft.com/office/drawing/2014/main" id="{97BD8838-DD56-4654-9BF0-E1FE86C90E76}"/>
              </a:ext>
            </a:extLst>
          </p:cNvPr>
          <p:cNvSpPr txBox="1">
            <a:spLocks/>
          </p:cNvSpPr>
          <p:nvPr/>
        </p:nvSpPr>
        <p:spPr bwMode="auto">
          <a:xfrm>
            <a:off x="12031837" y="3891498"/>
            <a:ext cx="11250032" cy="3543077"/>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243808" tIns="121907" rIns="243808" bIns="121907" numCol="1" anchor="t" anchorCtr="0" compatLnSpc="1">
            <a:prstTxWarp prst="textNoShape">
              <a:avLst/>
            </a:prstTxWarp>
          </a:bodyPr>
          <a:lstStyle>
            <a:lvl1pPr marL="257143" indent="-257143" algn="l" rtl="0" eaLnBrk="0" fontAlgn="base" hangingPunct="0">
              <a:spcBef>
                <a:spcPct val="50000"/>
              </a:spcBef>
              <a:spcAft>
                <a:spcPct val="0"/>
              </a:spcAft>
              <a:buClr>
                <a:schemeClr val="tx1"/>
              </a:buClr>
              <a:buFont typeface="Wingdings" pitchFamily="2" charset="2"/>
              <a:buChar char="§"/>
              <a:defRPr sz="1200" kern="1200">
                <a:solidFill>
                  <a:schemeClr val="tx1"/>
                </a:solidFill>
                <a:latin typeface="Arial" pitchFamily="34" charset="0"/>
                <a:ea typeface="ＭＳ Ｐゴシック" charset="0"/>
                <a:cs typeface="Arial" pitchFamily="34" charset="0"/>
              </a:defRPr>
            </a:lvl1pPr>
            <a:lvl2pPr marL="382191" indent="-122635" algn="l" rtl="0" eaLnBrk="0" fontAlgn="base" hangingPunct="0">
              <a:spcBef>
                <a:spcPct val="0"/>
              </a:spcBef>
              <a:spcAft>
                <a:spcPct val="0"/>
              </a:spcAft>
              <a:buClr>
                <a:schemeClr val="tx1"/>
              </a:buClr>
              <a:buFont typeface="Arial" charset="0"/>
              <a:buChar char="–"/>
              <a:defRPr sz="1200" kern="1200">
                <a:solidFill>
                  <a:schemeClr val="tx1"/>
                </a:solidFill>
                <a:latin typeface="Arial" pitchFamily="34" charset="0"/>
                <a:ea typeface="ＭＳ Ｐゴシック" charset="0"/>
                <a:cs typeface="Arial" pitchFamily="34" charset="0"/>
              </a:defRPr>
            </a:lvl2pPr>
            <a:lvl3pPr marL="641747" indent="-129779" algn="l" rtl="0" eaLnBrk="0" fontAlgn="base" hangingPunct="0">
              <a:spcBef>
                <a:spcPct val="0"/>
              </a:spcBef>
              <a:spcAft>
                <a:spcPct val="0"/>
              </a:spcAft>
              <a:buClr>
                <a:schemeClr val="tx1"/>
              </a:buClr>
              <a:buChar char="•"/>
              <a:defRPr sz="1200" kern="1200">
                <a:solidFill>
                  <a:schemeClr val="tx1"/>
                </a:solidFill>
                <a:latin typeface="Arial" pitchFamily="34" charset="0"/>
                <a:ea typeface="ＭＳ Ｐゴシック" charset="0"/>
                <a:cs typeface="Arial" pitchFamily="34" charset="0"/>
              </a:defRPr>
            </a:lvl3pPr>
            <a:lvl4pPr marL="902494" indent="-129779" algn="l" rtl="0" eaLnBrk="0" fontAlgn="base" hangingPunct="0">
              <a:spcBef>
                <a:spcPct val="20000"/>
              </a:spcBef>
              <a:spcAft>
                <a:spcPct val="0"/>
              </a:spcAft>
              <a:buClr>
                <a:schemeClr val="bg1"/>
              </a:buClr>
              <a:defRPr sz="1200" kern="1200">
                <a:solidFill>
                  <a:schemeClr val="bg1"/>
                </a:solidFill>
                <a:latin typeface="Arial" pitchFamily="34" charset="0"/>
                <a:ea typeface="ＭＳ Ｐゴシック" charset="0"/>
                <a:cs typeface="Arial" pitchFamily="34" charset="0"/>
              </a:defRPr>
            </a:lvl4pPr>
            <a:lvl5pPr marL="1154906" indent="-122635" algn="l" rtl="0" eaLnBrk="0" fontAlgn="base" hangingPunct="0">
              <a:spcBef>
                <a:spcPct val="20000"/>
              </a:spcBef>
              <a:spcAft>
                <a:spcPct val="0"/>
              </a:spcAft>
              <a:buClr>
                <a:schemeClr val="bg1"/>
              </a:buClr>
              <a:buChar char="»"/>
              <a:defRPr sz="1200" kern="1200">
                <a:solidFill>
                  <a:schemeClr val="bg1"/>
                </a:solidFill>
                <a:latin typeface="Arial" pitchFamily="34" charset="0"/>
                <a:ea typeface="ＭＳ Ｐゴシック" charset="0"/>
                <a:cs typeface="Arial"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2438389">
              <a:spcBef>
                <a:spcPts val="0"/>
              </a:spcBef>
              <a:buClr>
                <a:srgbClr val="000000"/>
              </a:buClr>
              <a:buNone/>
              <a:defRPr/>
            </a:pPr>
            <a:r>
              <a:rPr lang="es-ES_tradnl" sz="2800" b="1">
                <a:latin typeface="IBM Plex Sans Light"/>
                <a:ea typeface="Helvetica Neue Light" charset="0"/>
                <a:cs typeface="Helvetica Neue Light" charset="0"/>
              </a:rPr>
              <a:t>Actividades:</a:t>
            </a:r>
          </a:p>
          <a:p>
            <a:pPr marL="685795" indent="-685795" defTabSz="2438389">
              <a:spcBef>
                <a:spcPts val="0"/>
              </a:spcBef>
              <a:buClrTx/>
              <a:buFont typeface="+mj-lt"/>
              <a:buAutoNum type="arabicPeriod"/>
              <a:defRPr/>
            </a:pPr>
            <a:r>
              <a:rPr lang="es-ES_tradnl" sz="2600">
                <a:solidFill>
                  <a:srgbClr val="000000"/>
                </a:solidFill>
                <a:latin typeface="IBM Plex Sans Light"/>
              </a:rPr>
              <a:t>Definir Entorno</a:t>
            </a:r>
          </a:p>
          <a:p>
            <a:pPr marL="685795" indent="-685795" defTabSz="2438389">
              <a:spcBef>
                <a:spcPts val="0"/>
              </a:spcBef>
              <a:buClrTx/>
              <a:buFont typeface="+mj-lt"/>
              <a:buAutoNum type="arabicPeriod"/>
              <a:defRPr/>
            </a:pPr>
            <a:r>
              <a:rPr lang="es-ES_tradnl" sz="2600">
                <a:solidFill>
                  <a:srgbClr val="000000"/>
                </a:solidFill>
                <a:latin typeface="IBM Plex Sans Light"/>
              </a:rPr>
              <a:t>Crear Entorno</a:t>
            </a:r>
          </a:p>
          <a:p>
            <a:pPr marL="685795" indent="-685795" defTabSz="2438389">
              <a:spcBef>
                <a:spcPts val="0"/>
              </a:spcBef>
              <a:buClrTx/>
              <a:buFont typeface="+mj-lt"/>
              <a:buAutoNum type="arabicPeriod"/>
              <a:defRPr/>
            </a:pPr>
            <a:r>
              <a:rPr lang="es-ES_tradnl" sz="2600">
                <a:solidFill>
                  <a:srgbClr val="000000"/>
                </a:solidFill>
                <a:latin typeface="IBM Plex Sans Light"/>
              </a:rPr>
              <a:t>Registrar Entorno</a:t>
            </a:r>
          </a:p>
          <a:p>
            <a:pPr marL="685795" indent="-685795" defTabSz="2438389">
              <a:spcBef>
                <a:spcPts val="0"/>
              </a:spcBef>
              <a:buClrTx/>
              <a:buFont typeface="+mj-lt"/>
              <a:buAutoNum type="arabicPeriod"/>
              <a:defRPr/>
            </a:pPr>
            <a:r>
              <a:rPr lang="es-ES_tradnl" sz="2600">
                <a:solidFill>
                  <a:srgbClr val="000000"/>
                </a:solidFill>
                <a:latin typeface="IBM Plex Sans Light"/>
              </a:rPr>
              <a:t>Desaprovisionar Entorno</a:t>
            </a:r>
          </a:p>
        </p:txBody>
      </p:sp>
      <p:sp>
        <p:nvSpPr>
          <p:cNvPr id="30" name="TextBox 29">
            <a:extLst>
              <a:ext uri="{FF2B5EF4-FFF2-40B4-BE49-F238E27FC236}">
                <a16:creationId xmlns:a16="http://schemas.microsoft.com/office/drawing/2014/main" id="{C46D61A8-1734-4FE7-8CB7-929C9B3C0FBC}"/>
              </a:ext>
            </a:extLst>
          </p:cNvPr>
          <p:cNvSpPr txBox="1"/>
          <p:nvPr/>
        </p:nvSpPr>
        <p:spPr>
          <a:xfrm>
            <a:off x="647432" y="1835644"/>
            <a:ext cx="17936140" cy="1384995"/>
          </a:xfrm>
          <a:prstGeom prst="rect">
            <a:avLst/>
          </a:prstGeom>
          <a:noFill/>
        </p:spPr>
        <p:txBody>
          <a:bodyPr wrap="square" rtlCol="0" anchor="t">
            <a:spAutoFit/>
          </a:bodyPr>
          <a:lstStyle/>
          <a:p>
            <a:pPr algn="l" defTabSz="1214591">
              <a:defRPr/>
            </a:pPr>
            <a:r>
              <a:rPr lang="es-ES_tradnl" sz="2800" b="1" dirty="0">
                <a:solidFill>
                  <a:srgbClr val="FFFFFF"/>
                </a:solidFill>
                <a:latin typeface="IBM Plex Sans Light"/>
                <a:ea typeface="Helvetica Neue Light" charset="0"/>
                <a:cs typeface="Helvetica Neue Light" charset="0"/>
              </a:rPr>
              <a:t>Definición:</a:t>
            </a:r>
            <a:r>
              <a:rPr lang="es-ES_tradnl" sz="2800" dirty="0">
                <a:solidFill>
                  <a:srgbClr val="FFFFFF"/>
                </a:solidFill>
                <a:latin typeface="IBM Plex Sans Light"/>
                <a:ea typeface="Helvetica Neue Light" charset="0"/>
                <a:cs typeface="Helvetica Neue Light" charset="0"/>
              </a:rPr>
              <a:t> La preparación y el despliegue automáticos de un Desarrollo IT end-to-end, test y entornos QA, incluyendo los requisitos de seguridad, red, conectividad, OS, hardware, software, almacenamiento, VMs, rendimiento y aplicaciones para su uso inmediato por parte de desarrolladores, testers o business users.</a:t>
            </a:r>
          </a:p>
        </p:txBody>
      </p:sp>
      <p:pic>
        <p:nvPicPr>
          <p:cNvPr id="31" name="Picture 4" descr="Imagen relacionada">
            <a:extLst>
              <a:ext uri="{FF2B5EF4-FFF2-40B4-BE49-F238E27FC236}">
                <a16:creationId xmlns:a16="http://schemas.microsoft.com/office/drawing/2014/main" id="{B6511DF8-6E4C-41C4-AC0F-B77553AA869B}"/>
              </a:ext>
            </a:extLst>
          </p:cNvPr>
          <p:cNvPicPr>
            <a:picLocks noChangeAspect="1" noChangeArrowheads="1"/>
          </p:cNvPicPr>
          <p:nvPr/>
        </p:nvPicPr>
        <p:blipFill>
          <a:blip r:embed="rId3" cstate="email">
            <a:biLevel thresh="25000"/>
            <a:extLst>
              <a:ext uri="{28A0092B-C50C-407E-A947-70E740481C1C}">
                <a14:useLocalDpi xmlns:a14="http://schemas.microsoft.com/office/drawing/2010/main"/>
              </a:ext>
            </a:extLst>
          </a:blip>
          <a:srcRect/>
          <a:stretch>
            <a:fillRect/>
          </a:stretch>
        </p:blipFill>
        <p:spPr bwMode="auto">
          <a:xfrm>
            <a:off x="20849872" y="1931932"/>
            <a:ext cx="1658033" cy="1695497"/>
          </a:xfrm>
          <a:prstGeom prst="rect">
            <a:avLst/>
          </a:prstGeom>
          <a:noFill/>
          <a:extLst>
            <a:ext uri="{909E8E84-426E-40DD-AFC4-6F175D3DCCD1}">
              <a14:hiddenFill xmlns:a14="http://schemas.microsoft.com/office/drawing/2010/main">
                <a:solidFill>
                  <a:srgbClr val="FFFFFF"/>
                </a:solidFill>
              </a14:hiddenFill>
            </a:ext>
          </a:extLst>
        </p:spPr>
      </p:pic>
      <p:sp>
        <p:nvSpPr>
          <p:cNvPr id="32" name="Rectangle 31">
            <a:extLst>
              <a:ext uri="{FF2B5EF4-FFF2-40B4-BE49-F238E27FC236}">
                <a16:creationId xmlns:a16="http://schemas.microsoft.com/office/drawing/2014/main" id="{8FE819DA-848D-4D54-BCE3-795E718D25FB}"/>
              </a:ext>
            </a:extLst>
          </p:cNvPr>
          <p:cNvSpPr/>
          <p:nvPr/>
        </p:nvSpPr>
        <p:spPr>
          <a:xfrm>
            <a:off x="561208" y="3891498"/>
            <a:ext cx="10500811" cy="1723549"/>
          </a:xfrm>
          <a:prstGeom prst="rect">
            <a:avLst/>
          </a:prstGeom>
          <a:noFill/>
        </p:spPr>
        <p:txBody>
          <a:bodyPr wrap="square" anchor="t">
            <a:spAutoFit/>
          </a:bodyPr>
          <a:lstStyle/>
          <a:p>
            <a:pPr algn="l" defTabSz="1214591" hangingPunct="1">
              <a:defRPr/>
            </a:pPr>
            <a:r>
              <a:rPr lang="es-ES_tradnl" sz="2800" b="1" kern="1200" dirty="0">
                <a:latin typeface="IBM Plex Sans Light"/>
                <a:ea typeface="Helvetica Neue Light" charset="0"/>
                <a:cs typeface="Helvetica Neue Light" charset="0"/>
              </a:rPr>
              <a:t>Objetivos:</a:t>
            </a:r>
          </a:p>
          <a:p>
            <a:pPr marL="455939" indent="-455939" algn="l" defTabSz="1214591">
              <a:buFont typeface="Arial" panose="020B0604020202020204" pitchFamily="34" charset="0"/>
              <a:buChar char="•"/>
              <a:defRPr/>
            </a:pPr>
            <a:r>
              <a:rPr lang="es-ES_tradnl" sz="2600" dirty="0">
                <a:latin typeface="IBM Plex Sans Light"/>
                <a:ea typeface="MS PGothic"/>
                <a:cs typeface="Arial"/>
              </a:rPr>
              <a:t>Proporcionar acceso flexible de autoservicio a los servicios cloud</a:t>
            </a:r>
          </a:p>
          <a:p>
            <a:pPr marL="455930" indent="-455930" algn="l" defTabSz="1214591">
              <a:buFont typeface="Arial" panose="020B0604020202020204" pitchFamily="34" charset="0"/>
              <a:buChar char="•"/>
              <a:defRPr/>
            </a:pPr>
            <a:r>
              <a:rPr lang="es-ES_tradnl" sz="2600" dirty="0">
                <a:latin typeface="IBM Plex Sans Light"/>
                <a:ea typeface="MS PGothic"/>
                <a:cs typeface="Arial"/>
              </a:rPr>
              <a:t>Defini</a:t>
            </a:r>
            <a:r>
              <a:rPr lang="es-ES_tradnl" sz="2600" dirty="0">
                <a:solidFill>
                  <a:schemeClr val="tx1"/>
                </a:solidFill>
                <a:latin typeface="IBM Plex Sans Light"/>
                <a:ea typeface="MS PGothic"/>
                <a:cs typeface="Arial"/>
              </a:rPr>
              <a:t>r casos de uso estructurados para entornos de plataforma (ej. stateless, elastic, etc)</a:t>
            </a:r>
          </a:p>
        </p:txBody>
      </p:sp>
      <p:sp>
        <p:nvSpPr>
          <p:cNvPr id="33" name="Rectangle 32">
            <a:extLst>
              <a:ext uri="{FF2B5EF4-FFF2-40B4-BE49-F238E27FC236}">
                <a16:creationId xmlns:a16="http://schemas.microsoft.com/office/drawing/2014/main" id="{86BF274E-C77C-439E-9784-8BA9CF607216}"/>
              </a:ext>
            </a:extLst>
          </p:cNvPr>
          <p:cNvSpPr/>
          <p:nvPr/>
        </p:nvSpPr>
        <p:spPr>
          <a:xfrm>
            <a:off x="12029764" y="6367134"/>
            <a:ext cx="9963948" cy="2923877"/>
          </a:xfrm>
          <a:prstGeom prst="rect">
            <a:avLst/>
          </a:prstGeom>
        </p:spPr>
        <p:txBody>
          <a:bodyPr wrap="square" anchor="t">
            <a:spAutoFit/>
          </a:bodyPr>
          <a:lstStyle/>
          <a:p>
            <a:pPr algn="l" defTabSz="1214591">
              <a:defRPr/>
            </a:pPr>
            <a:r>
              <a:rPr lang="es-ES_tradnl" sz="2800" b="1" dirty="0">
                <a:latin typeface="IBM Plex Sans Light"/>
                <a:ea typeface="Helvetica Neue Light" charset="0"/>
                <a:cs typeface="Helvetica Neue Light" charset="0"/>
              </a:rPr>
              <a:t>Consideraciones de la adopción Cloud :</a:t>
            </a:r>
          </a:p>
          <a:p>
            <a:pPr marL="455930" indent="-455930" algn="l" defTabSz="1214591" fontAlgn="base" hangingPunct="1">
              <a:spcAft>
                <a:spcPct val="0"/>
              </a:spcAft>
              <a:buFont typeface="Arial" panose="020B0604020202020204" pitchFamily="34" charset="0"/>
              <a:buChar char="•"/>
              <a:defRPr/>
            </a:pPr>
            <a:r>
              <a:rPr lang="es-ES_tradnl" sz="2600" kern="1200" dirty="0">
                <a:latin typeface="IBM Plex Sans Light"/>
                <a:ea typeface="MS PGothic"/>
                <a:cs typeface="Arial"/>
              </a:rPr>
              <a:t>Se necesitan un control de acceso Role-based, quotas, templates y políticas para regular el acceso self-service</a:t>
            </a:r>
          </a:p>
          <a:p>
            <a:pPr marL="455930" indent="-455930" algn="l" defTabSz="1214591" fontAlgn="base" hangingPunct="1">
              <a:spcAft>
                <a:spcPct val="0"/>
              </a:spcAft>
              <a:buFont typeface="Arial" panose="020B0604020202020204" pitchFamily="34" charset="0"/>
              <a:buChar char="•"/>
              <a:defRPr/>
            </a:pPr>
            <a:r>
              <a:rPr lang="es-ES_tradnl" sz="2600" kern="1200" dirty="0">
                <a:latin typeface="IBM Plex Sans Light"/>
                <a:ea typeface="MS PGothic"/>
                <a:cs typeface="Arial"/>
              </a:rPr>
              <a:t>Los desarrolladores cloud no son todos iguales (ej. El desarrollador que actualiza un sitio web móvil orientado al cliente tiene diferentes necesidades que el que construye una aplicación transaccional que soporta millones de usuarios concurrentes)</a:t>
            </a:r>
          </a:p>
        </p:txBody>
      </p:sp>
      <p:sp>
        <p:nvSpPr>
          <p:cNvPr id="34" name="Content Placeholder 2">
            <a:extLst>
              <a:ext uri="{FF2B5EF4-FFF2-40B4-BE49-F238E27FC236}">
                <a16:creationId xmlns:a16="http://schemas.microsoft.com/office/drawing/2014/main" id="{CC4A644B-70A2-46ED-B2E0-F5BFBE74EA69}"/>
              </a:ext>
            </a:extLst>
          </p:cNvPr>
          <p:cNvSpPr txBox="1">
            <a:spLocks/>
          </p:cNvSpPr>
          <p:nvPr/>
        </p:nvSpPr>
        <p:spPr bwMode="auto">
          <a:xfrm>
            <a:off x="564505" y="6362430"/>
            <a:ext cx="10626578" cy="3560395"/>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243808" tIns="121907" rIns="243808" bIns="121907" numCol="1" anchor="t" anchorCtr="0" compatLnSpc="1">
            <a:prstTxWarp prst="textNoShape">
              <a:avLst/>
            </a:prstTxWarp>
          </a:bodyPr>
          <a:lstStyle>
            <a:lvl1pPr marL="257143" indent="-257143" algn="l" rtl="0" eaLnBrk="0" fontAlgn="base" hangingPunct="0">
              <a:spcBef>
                <a:spcPct val="50000"/>
              </a:spcBef>
              <a:spcAft>
                <a:spcPct val="0"/>
              </a:spcAft>
              <a:buClr>
                <a:schemeClr val="tx1"/>
              </a:buClr>
              <a:buFont typeface="Wingdings" pitchFamily="2" charset="2"/>
              <a:buChar char="§"/>
              <a:defRPr sz="1200" kern="1200">
                <a:solidFill>
                  <a:schemeClr val="tx1"/>
                </a:solidFill>
                <a:latin typeface="Arial" pitchFamily="34" charset="0"/>
                <a:ea typeface="ＭＳ Ｐゴシック" charset="0"/>
                <a:cs typeface="Arial" pitchFamily="34" charset="0"/>
              </a:defRPr>
            </a:lvl1pPr>
            <a:lvl2pPr marL="382191" indent="-122635" algn="l" rtl="0" eaLnBrk="0" fontAlgn="base" hangingPunct="0">
              <a:spcBef>
                <a:spcPct val="0"/>
              </a:spcBef>
              <a:spcAft>
                <a:spcPct val="0"/>
              </a:spcAft>
              <a:buClr>
                <a:schemeClr val="tx1"/>
              </a:buClr>
              <a:buFont typeface="Arial" charset="0"/>
              <a:buChar char="–"/>
              <a:defRPr sz="1200" kern="1200">
                <a:solidFill>
                  <a:schemeClr val="tx1"/>
                </a:solidFill>
                <a:latin typeface="Arial" pitchFamily="34" charset="0"/>
                <a:ea typeface="ＭＳ Ｐゴシック" charset="0"/>
                <a:cs typeface="Arial" pitchFamily="34" charset="0"/>
              </a:defRPr>
            </a:lvl2pPr>
            <a:lvl3pPr marL="641747" indent="-129779" algn="l" rtl="0" eaLnBrk="0" fontAlgn="base" hangingPunct="0">
              <a:spcBef>
                <a:spcPct val="0"/>
              </a:spcBef>
              <a:spcAft>
                <a:spcPct val="0"/>
              </a:spcAft>
              <a:buClr>
                <a:schemeClr val="tx1"/>
              </a:buClr>
              <a:buChar char="•"/>
              <a:defRPr sz="1200" kern="1200">
                <a:solidFill>
                  <a:schemeClr val="tx1"/>
                </a:solidFill>
                <a:latin typeface="Arial" pitchFamily="34" charset="0"/>
                <a:ea typeface="ＭＳ Ｐゴシック" charset="0"/>
                <a:cs typeface="Arial" pitchFamily="34" charset="0"/>
              </a:defRPr>
            </a:lvl3pPr>
            <a:lvl4pPr marL="902494" indent="-129779" algn="l" rtl="0" eaLnBrk="0" fontAlgn="base" hangingPunct="0">
              <a:spcBef>
                <a:spcPct val="20000"/>
              </a:spcBef>
              <a:spcAft>
                <a:spcPct val="0"/>
              </a:spcAft>
              <a:buClr>
                <a:schemeClr val="bg1"/>
              </a:buClr>
              <a:defRPr sz="1200" kern="1200">
                <a:solidFill>
                  <a:schemeClr val="bg1"/>
                </a:solidFill>
                <a:latin typeface="Arial" pitchFamily="34" charset="0"/>
                <a:ea typeface="ＭＳ Ｐゴシック" charset="0"/>
                <a:cs typeface="Arial" pitchFamily="34" charset="0"/>
              </a:defRPr>
            </a:lvl4pPr>
            <a:lvl5pPr marL="1154906" indent="-122635" algn="l" rtl="0" eaLnBrk="0" fontAlgn="base" hangingPunct="0">
              <a:spcBef>
                <a:spcPct val="20000"/>
              </a:spcBef>
              <a:spcAft>
                <a:spcPct val="0"/>
              </a:spcAft>
              <a:buClr>
                <a:schemeClr val="bg1"/>
              </a:buClr>
              <a:buChar char="»"/>
              <a:defRPr sz="1200" kern="1200">
                <a:solidFill>
                  <a:schemeClr val="bg1"/>
                </a:solidFill>
                <a:latin typeface="Arial" pitchFamily="34" charset="0"/>
                <a:ea typeface="ＭＳ Ｐゴシック" charset="0"/>
                <a:cs typeface="Arial"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2438389">
              <a:spcBef>
                <a:spcPts val="0"/>
              </a:spcBef>
              <a:buClr>
                <a:srgbClr val="000000"/>
              </a:buClr>
              <a:buNone/>
              <a:defRPr/>
            </a:pPr>
            <a:r>
              <a:rPr lang="es-ES_tradnl" sz="2800" b="1">
                <a:latin typeface="IBM Plex Sans Light"/>
                <a:ea typeface="Helvetica Neue Light" charset="0"/>
                <a:cs typeface="Helvetica Neue Light" charset="0"/>
              </a:rPr>
              <a:t>Resultados:</a:t>
            </a:r>
          </a:p>
          <a:p>
            <a:pPr marL="455939" indent="-455939" defTabSz="1214591" eaLnBrk="1" hangingPunct="1">
              <a:spcBef>
                <a:spcPts val="0"/>
              </a:spcBef>
              <a:buClrTx/>
              <a:buFont typeface="Arial" panose="020B0604020202020204" pitchFamily="34" charset="0"/>
              <a:buChar char="•"/>
              <a:defRPr/>
            </a:pPr>
            <a:r>
              <a:rPr lang="es-ES_tradnl" sz="2600">
                <a:solidFill>
                  <a:srgbClr val="000000"/>
                </a:solidFill>
                <a:latin typeface="IBM Plex Sans Light"/>
                <a:ea typeface="MS PGothic"/>
                <a:cs typeface="Arial"/>
              </a:rPr>
              <a:t>Mejora en la colaboración y aumento de  la confianza de los desarrolladores</a:t>
            </a:r>
          </a:p>
          <a:p>
            <a:pPr marL="455939" indent="-455939" defTabSz="1214591" eaLnBrk="1" hangingPunct="1">
              <a:spcBef>
                <a:spcPts val="0"/>
              </a:spcBef>
              <a:buClrTx/>
              <a:buFont typeface="Arial" panose="020B0604020202020204" pitchFamily="34" charset="0"/>
              <a:buChar char="•"/>
              <a:defRPr/>
            </a:pPr>
            <a:r>
              <a:rPr lang="es-ES_tradnl" sz="2600">
                <a:solidFill>
                  <a:srgbClr val="000000"/>
                </a:solidFill>
                <a:latin typeface="IBM Plex Sans Light"/>
                <a:ea typeface="MS PGothic"/>
                <a:cs typeface="Arial"/>
              </a:rPr>
              <a:t>Casos de uso estandarizados para el consumo de la plataforma cloud </a:t>
            </a:r>
          </a:p>
        </p:txBody>
      </p:sp>
      <p:sp>
        <p:nvSpPr>
          <p:cNvPr id="35" name="Rectangle 34">
            <a:extLst>
              <a:ext uri="{FF2B5EF4-FFF2-40B4-BE49-F238E27FC236}">
                <a16:creationId xmlns:a16="http://schemas.microsoft.com/office/drawing/2014/main" id="{B414D897-960A-4EE3-9E68-147E8098537F}"/>
              </a:ext>
            </a:extLst>
          </p:cNvPr>
          <p:cNvSpPr/>
          <p:nvPr/>
        </p:nvSpPr>
        <p:spPr bwMode="auto">
          <a:xfrm>
            <a:off x="566223" y="11178689"/>
            <a:ext cx="23225760" cy="1520843"/>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l" defTabSz="1097280" fontAlgn="base">
              <a:spcBef>
                <a:spcPct val="0"/>
              </a:spcBef>
              <a:spcAft>
                <a:spcPct val="0"/>
              </a:spcAft>
            </a:pPr>
            <a:r>
              <a:rPr lang="en-US" sz="2400" b="1" dirty="0">
                <a:solidFill>
                  <a:schemeClr val="bg1"/>
                </a:solidFill>
                <a:ea typeface="MS PGothic"/>
              </a:rPr>
              <a:t>Áreas de Impacto Potencial</a:t>
            </a:r>
            <a:endParaRPr lang="en-US" sz="2400" b="1" dirty="0">
              <a:solidFill>
                <a:schemeClr val="bg1"/>
              </a:solidFill>
              <a:ea typeface="MS PGothic" charset="-128"/>
              <a:cs typeface="Arial"/>
            </a:endParaRPr>
          </a:p>
        </p:txBody>
      </p:sp>
      <p:sp>
        <p:nvSpPr>
          <p:cNvPr id="26" name="Rectangle 25">
            <a:extLst>
              <a:ext uri="{FF2B5EF4-FFF2-40B4-BE49-F238E27FC236}">
                <a16:creationId xmlns:a16="http://schemas.microsoft.com/office/drawing/2014/main" id="{2D464774-7B1F-3B43-AE39-C14852A5DE66}"/>
              </a:ext>
            </a:extLst>
          </p:cNvPr>
          <p:cNvSpPr/>
          <p:nvPr/>
        </p:nvSpPr>
        <p:spPr>
          <a:xfrm>
            <a:off x="8614764" y="12169865"/>
            <a:ext cx="1002308" cy="249230"/>
          </a:xfrm>
          <a:prstGeom prst="rect">
            <a:avLst/>
          </a:prstGeom>
          <a:noFill/>
          <a:ln w="25400" cap="flat" cmpd="sng">
            <a:noFill/>
            <a:prstDash val="solid"/>
            <a:round/>
            <a:headEnd type="none" w="med" len="med"/>
            <a:tailEnd type="none" w="med" len="med"/>
          </a:ln>
        </p:spPr>
        <p:txBody>
          <a:bodyPr lIns="0" tIns="91400" rIns="0" bIns="91400" rtlCol="0" anchor="ctr" anchorCtr="0">
            <a:noAutofit/>
          </a:bodyPr>
          <a:lstStyle/>
          <a:p>
            <a:pPr defTabSz="1828837">
              <a:buClr>
                <a:srgbClr val="000000"/>
              </a:buClr>
              <a:buSzPct val="25000"/>
              <a:defRPr/>
            </a:pPr>
            <a:r>
              <a:rPr lang="en-US" sz="1600" dirty="0">
                <a:solidFill>
                  <a:srgbClr val="FFFFFF"/>
                </a:solidFill>
                <a:latin typeface="IBM Plex Sans Light"/>
                <a:ea typeface="Century Gothic"/>
                <a:cs typeface="Century Gothic"/>
              </a:rPr>
              <a:t>Gasto</a:t>
            </a:r>
            <a:endParaRPr lang="en-US" sz="1600" dirty="0">
              <a:solidFill>
                <a:srgbClr val="FFFFFF"/>
              </a:solidFill>
              <a:latin typeface="IBM Plex Sans Light"/>
              <a:ea typeface="Century Gothic"/>
              <a:cs typeface="Century Gothic"/>
              <a:sym typeface="Century Gothic"/>
            </a:endParaRPr>
          </a:p>
        </p:txBody>
      </p:sp>
      <p:sp>
        <p:nvSpPr>
          <p:cNvPr id="50" name="Rectangle 49">
            <a:extLst>
              <a:ext uri="{FF2B5EF4-FFF2-40B4-BE49-F238E27FC236}">
                <a16:creationId xmlns:a16="http://schemas.microsoft.com/office/drawing/2014/main" id="{18740EE0-814F-814C-8D68-6B0937A5BC33}"/>
              </a:ext>
            </a:extLst>
          </p:cNvPr>
          <p:cNvSpPr/>
          <p:nvPr/>
        </p:nvSpPr>
        <p:spPr>
          <a:xfrm>
            <a:off x="10017213" y="12169865"/>
            <a:ext cx="1002308" cy="249230"/>
          </a:xfrm>
          <a:prstGeom prst="rect">
            <a:avLst/>
          </a:prstGeom>
          <a:noFill/>
          <a:ln w="25400" cap="flat" cmpd="sng">
            <a:noFill/>
            <a:prstDash val="solid"/>
            <a:round/>
            <a:headEnd type="none" w="med" len="med"/>
            <a:tailEnd type="none" w="med" len="med"/>
          </a:ln>
        </p:spPr>
        <p:txBody>
          <a:bodyPr lIns="0" tIns="91400" rIns="0" bIns="91400" rtlCol="0" anchor="ctr" anchorCtr="0">
            <a:noAutofit/>
          </a:bodyPr>
          <a:lstStyle/>
          <a:p>
            <a:pPr defTabSz="1828837">
              <a:buClr>
                <a:srgbClr val="000000"/>
              </a:buClr>
              <a:buSzPct val="25000"/>
              <a:defRPr/>
            </a:pPr>
            <a:r>
              <a:rPr lang="en-US" sz="1600" dirty="0">
                <a:solidFill>
                  <a:srgbClr val="FFFFFF"/>
                </a:solidFill>
                <a:latin typeface="IBM Plex Sans Light"/>
                <a:ea typeface="Century Gothic"/>
                <a:cs typeface="Century Gothic"/>
              </a:rPr>
              <a:t>Fiabilidad</a:t>
            </a:r>
          </a:p>
        </p:txBody>
      </p:sp>
      <p:sp>
        <p:nvSpPr>
          <p:cNvPr id="51" name="Rectangle 50">
            <a:extLst>
              <a:ext uri="{FF2B5EF4-FFF2-40B4-BE49-F238E27FC236}">
                <a16:creationId xmlns:a16="http://schemas.microsoft.com/office/drawing/2014/main" id="{E88232CE-3D86-D24C-80F4-4A7D620353B3}"/>
              </a:ext>
            </a:extLst>
          </p:cNvPr>
          <p:cNvSpPr/>
          <p:nvPr/>
        </p:nvSpPr>
        <p:spPr>
          <a:xfrm>
            <a:off x="11285928" y="12192537"/>
            <a:ext cx="1002308" cy="233063"/>
          </a:xfrm>
          <a:prstGeom prst="rect">
            <a:avLst/>
          </a:prstGeom>
          <a:noFill/>
          <a:ln w="25400" cap="flat" cmpd="sng">
            <a:noFill/>
            <a:prstDash val="solid"/>
            <a:round/>
            <a:headEnd type="none" w="med" len="med"/>
            <a:tailEnd type="none" w="med" len="med"/>
          </a:ln>
        </p:spPr>
        <p:txBody>
          <a:bodyPr lIns="0" tIns="91400" rIns="0" bIns="91400" rtlCol="0" anchor="ctr" anchorCtr="0">
            <a:noAutofit/>
          </a:bodyPr>
          <a:lstStyle/>
          <a:p>
            <a:pPr defTabSz="1828837">
              <a:buClr>
                <a:srgbClr val="000000"/>
              </a:buClr>
              <a:buSzPct val="25000"/>
              <a:defRPr/>
            </a:pPr>
            <a:r>
              <a:rPr lang="en-US" sz="1600" dirty="0">
                <a:solidFill>
                  <a:srgbClr val="FFFFFF"/>
                </a:solidFill>
                <a:latin typeface="IBM Plex Sans Light"/>
                <a:ea typeface="Century Gothic"/>
                <a:cs typeface="Century Gothic"/>
                <a:sym typeface="Century Gothic"/>
              </a:rPr>
              <a:t>UX</a:t>
            </a:r>
          </a:p>
        </p:txBody>
      </p:sp>
      <p:sp>
        <p:nvSpPr>
          <p:cNvPr id="52" name="Rectangle 51">
            <a:extLst>
              <a:ext uri="{FF2B5EF4-FFF2-40B4-BE49-F238E27FC236}">
                <a16:creationId xmlns:a16="http://schemas.microsoft.com/office/drawing/2014/main" id="{4B969E89-CD4D-2047-95AE-66217AEF79FB}"/>
              </a:ext>
            </a:extLst>
          </p:cNvPr>
          <p:cNvSpPr/>
          <p:nvPr/>
        </p:nvSpPr>
        <p:spPr>
          <a:xfrm>
            <a:off x="14160884" y="12186030"/>
            <a:ext cx="1002308" cy="233063"/>
          </a:xfrm>
          <a:prstGeom prst="rect">
            <a:avLst/>
          </a:prstGeom>
          <a:noFill/>
          <a:ln w="25400" cap="flat" cmpd="sng">
            <a:noFill/>
            <a:prstDash val="solid"/>
            <a:round/>
            <a:headEnd type="none" w="med" len="med"/>
            <a:tailEnd type="none" w="med" len="med"/>
          </a:ln>
        </p:spPr>
        <p:txBody>
          <a:bodyPr lIns="0" tIns="91400" rIns="0" bIns="91400" rtlCol="0" anchor="ctr" anchorCtr="0">
            <a:noAutofit/>
          </a:bodyPr>
          <a:lstStyle/>
          <a:p>
            <a:pPr defTabSz="1828837">
              <a:buClr>
                <a:srgbClr val="000000"/>
              </a:buClr>
              <a:buSzPct val="25000"/>
              <a:defRPr/>
            </a:pPr>
            <a:r>
              <a:rPr lang="en-US" sz="1600" dirty="0">
                <a:solidFill>
                  <a:srgbClr val="FFFFFF"/>
                </a:solidFill>
                <a:latin typeface="IBM Plex Sans Light"/>
                <a:sym typeface="Century Gothic"/>
              </a:rPr>
              <a:t>Innovación</a:t>
            </a:r>
            <a:endParaRPr lang="en-US" dirty="0"/>
          </a:p>
        </p:txBody>
      </p:sp>
      <p:sp>
        <p:nvSpPr>
          <p:cNvPr id="53" name="Rectangle: Rounded Corners 55">
            <a:extLst>
              <a:ext uri="{FF2B5EF4-FFF2-40B4-BE49-F238E27FC236}">
                <a16:creationId xmlns:a16="http://schemas.microsoft.com/office/drawing/2014/main" id="{73170709-A04B-EB46-AF08-F2DB1C733D3C}"/>
              </a:ext>
            </a:extLst>
          </p:cNvPr>
          <p:cNvSpPr/>
          <p:nvPr/>
        </p:nvSpPr>
        <p:spPr>
          <a:xfrm>
            <a:off x="12630342" y="11435824"/>
            <a:ext cx="1144943" cy="1144943"/>
          </a:xfrm>
          <a:prstGeom prst="roundRect">
            <a:avLst/>
          </a:prstGeom>
          <a:noFill/>
          <a:ln w="25400" cap="flat" cmpd="sng">
            <a:solidFill>
              <a:schemeClr val="bg1"/>
            </a:solidFill>
            <a:prstDash val="solid"/>
            <a:round/>
            <a:headEnd type="none" w="med" len="med"/>
            <a:tailEnd type="none" w="med" len="med"/>
          </a:ln>
        </p:spPr>
        <p:txBody>
          <a:bodyPr lIns="0" tIns="91400" rIns="0" bIns="91400" rtlCol="0" anchor="ctr" anchorCtr="0">
            <a:noAutofit/>
          </a:bodyPr>
          <a:lstStyle/>
          <a:p>
            <a:pPr defTabSz="1828837" hangingPunct="1">
              <a:buClr>
                <a:srgbClr val="000000"/>
              </a:buClr>
              <a:buSzPct val="25000"/>
              <a:defRPr/>
            </a:pPr>
            <a:endParaRPr lang="en-US" sz="1600" dirty="0">
              <a:solidFill>
                <a:srgbClr val="FFFFFF"/>
              </a:solidFill>
              <a:latin typeface="IBM Plex Sans Light"/>
              <a:ea typeface="Century Gothic"/>
              <a:cs typeface="Century Gothic"/>
              <a:sym typeface="Century Gothic"/>
            </a:endParaRPr>
          </a:p>
        </p:txBody>
      </p:sp>
      <p:pic>
        <p:nvPicPr>
          <p:cNvPr id="54" name="Graphic 53" descr="Money">
            <a:extLst>
              <a:ext uri="{FF2B5EF4-FFF2-40B4-BE49-F238E27FC236}">
                <a16:creationId xmlns:a16="http://schemas.microsoft.com/office/drawing/2014/main" id="{AAF629C8-3F00-8A4C-82EF-5DA17777D3B6}"/>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804803" y="11562022"/>
            <a:ext cx="636080" cy="636080"/>
          </a:xfrm>
          <a:prstGeom prst="rect">
            <a:avLst/>
          </a:prstGeom>
        </p:spPr>
      </p:pic>
      <p:pic>
        <p:nvPicPr>
          <p:cNvPr id="55" name="Graphic 54" descr="Handshake">
            <a:extLst>
              <a:ext uri="{FF2B5EF4-FFF2-40B4-BE49-F238E27FC236}">
                <a16:creationId xmlns:a16="http://schemas.microsoft.com/office/drawing/2014/main" id="{9FD4D2DA-323D-E247-AFB6-9DB660D8E8E9}"/>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207247" y="11562022"/>
            <a:ext cx="636080" cy="636080"/>
          </a:xfrm>
          <a:prstGeom prst="rect">
            <a:avLst/>
          </a:prstGeom>
        </p:spPr>
      </p:pic>
      <p:pic>
        <p:nvPicPr>
          <p:cNvPr id="56" name="Picture 55">
            <a:extLst>
              <a:ext uri="{FF2B5EF4-FFF2-40B4-BE49-F238E27FC236}">
                <a16:creationId xmlns:a16="http://schemas.microsoft.com/office/drawing/2014/main" id="{08AFCEB8-54E0-0040-AC8F-550A6190FAD6}"/>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1609690" y="11628297"/>
            <a:ext cx="482217" cy="503530"/>
          </a:xfrm>
          <a:prstGeom prst="rect">
            <a:avLst/>
          </a:prstGeom>
        </p:spPr>
      </p:pic>
      <p:pic>
        <p:nvPicPr>
          <p:cNvPr id="57" name="Picture 56">
            <a:extLst>
              <a:ext uri="{FF2B5EF4-FFF2-40B4-BE49-F238E27FC236}">
                <a16:creationId xmlns:a16="http://schemas.microsoft.com/office/drawing/2014/main" id="{4D15ABDF-2D89-5C4E-AEB2-2ED4EBD4D65E}"/>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2858269" y="11544636"/>
            <a:ext cx="748128" cy="670858"/>
          </a:xfrm>
          <a:prstGeom prst="rect">
            <a:avLst/>
          </a:prstGeom>
        </p:spPr>
      </p:pic>
      <p:pic>
        <p:nvPicPr>
          <p:cNvPr id="58" name="Graphic 57" descr="Head with Gears">
            <a:extLst>
              <a:ext uri="{FF2B5EF4-FFF2-40B4-BE49-F238E27FC236}">
                <a16:creationId xmlns:a16="http://schemas.microsoft.com/office/drawing/2014/main" id="{C4C844DF-A557-8046-A415-D8F68DDFA5E8}"/>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4372762" y="11562022"/>
            <a:ext cx="636080" cy="636080"/>
          </a:xfrm>
          <a:prstGeom prst="rect">
            <a:avLst/>
          </a:prstGeom>
        </p:spPr>
      </p:pic>
      <p:sp>
        <p:nvSpPr>
          <p:cNvPr id="59" name="Rectangle 58">
            <a:extLst>
              <a:ext uri="{FF2B5EF4-FFF2-40B4-BE49-F238E27FC236}">
                <a16:creationId xmlns:a16="http://schemas.microsoft.com/office/drawing/2014/main" id="{3C45B5E8-70D0-E440-A2F0-C399DB307D3C}"/>
              </a:ext>
            </a:extLst>
          </p:cNvPr>
          <p:cNvSpPr/>
          <p:nvPr/>
        </p:nvSpPr>
        <p:spPr>
          <a:xfrm>
            <a:off x="12725879" y="12201145"/>
            <a:ext cx="1002308" cy="233063"/>
          </a:xfrm>
          <a:prstGeom prst="rect">
            <a:avLst/>
          </a:prstGeom>
          <a:noFill/>
          <a:ln w="25400" cap="flat" cmpd="sng">
            <a:noFill/>
            <a:prstDash val="solid"/>
            <a:round/>
            <a:headEnd type="none" w="med" len="med"/>
            <a:tailEnd type="none" w="med" len="med"/>
          </a:ln>
        </p:spPr>
        <p:txBody>
          <a:bodyPr lIns="0" tIns="91400" rIns="0" bIns="91400" rtlCol="0" anchor="ctr" anchorCtr="0">
            <a:noAutofit/>
          </a:bodyPr>
          <a:lstStyle/>
          <a:p>
            <a:pPr defTabSz="1828837">
              <a:buClr>
                <a:srgbClr val="000000"/>
              </a:buClr>
              <a:buSzPct val="25000"/>
              <a:defRPr/>
            </a:pPr>
            <a:r>
              <a:rPr lang="en-US" sz="1600" dirty="0">
                <a:solidFill>
                  <a:srgbClr val="FFFFFF"/>
                </a:solidFill>
                <a:latin typeface="IBM Plex Sans Light"/>
                <a:ea typeface="Century Gothic"/>
                <a:cs typeface="Century Gothic"/>
                <a:sym typeface="Century Gothic"/>
              </a:rPr>
              <a:t>Agilidad</a:t>
            </a:r>
          </a:p>
        </p:txBody>
      </p:sp>
      <p:sp>
        <p:nvSpPr>
          <p:cNvPr id="60" name="Rectangle: Rounded Corners 62">
            <a:extLst>
              <a:ext uri="{FF2B5EF4-FFF2-40B4-BE49-F238E27FC236}">
                <a16:creationId xmlns:a16="http://schemas.microsoft.com/office/drawing/2014/main" id="{4C843B47-D3E0-F744-8F59-8E78BE5B6971}"/>
              </a:ext>
            </a:extLst>
          </p:cNvPr>
          <p:cNvSpPr/>
          <p:nvPr/>
        </p:nvSpPr>
        <p:spPr>
          <a:xfrm>
            <a:off x="9964820" y="11435824"/>
            <a:ext cx="1144943" cy="1144943"/>
          </a:xfrm>
          <a:prstGeom prst="roundRect">
            <a:avLst/>
          </a:prstGeom>
          <a:noFill/>
          <a:ln w="25400" cap="flat" cmpd="sng">
            <a:solidFill>
              <a:schemeClr val="bg1"/>
            </a:solidFill>
            <a:prstDash val="solid"/>
            <a:round/>
            <a:headEnd type="none" w="med" len="med"/>
            <a:tailEnd type="none" w="med" len="med"/>
          </a:ln>
        </p:spPr>
        <p:txBody>
          <a:bodyPr lIns="0" tIns="91400" rIns="0" bIns="91400" rtlCol="0" anchor="ctr" anchorCtr="0">
            <a:noAutofit/>
          </a:bodyPr>
          <a:lstStyle/>
          <a:p>
            <a:pPr defTabSz="1828837" hangingPunct="1">
              <a:buClr>
                <a:srgbClr val="000000"/>
              </a:buClr>
              <a:buSzPct val="25000"/>
              <a:defRPr/>
            </a:pPr>
            <a:endParaRPr lang="en-US" sz="1600" dirty="0">
              <a:solidFill>
                <a:srgbClr val="FFFFFF"/>
              </a:solidFill>
              <a:latin typeface="IBM Plex Sans Light"/>
              <a:ea typeface="Century Gothic"/>
              <a:cs typeface="Century Gothic"/>
              <a:sym typeface="Century Gothic"/>
            </a:endParaRPr>
          </a:p>
        </p:txBody>
      </p:sp>
      <p:sp>
        <p:nvSpPr>
          <p:cNvPr id="61" name="Rectangle: Rounded Corners 55">
            <a:extLst>
              <a:ext uri="{FF2B5EF4-FFF2-40B4-BE49-F238E27FC236}">
                <a16:creationId xmlns:a16="http://schemas.microsoft.com/office/drawing/2014/main" id="{D942CF5F-3334-5D4C-ACA5-2E39A320A1F9}"/>
              </a:ext>
            </a:extLst>
          </p:cNvPr>
          <p:cNvSpPr/>
          <p:nvPr/>
        </p:nvSpPr>
        <p:spPr>
          <a:xfrm>
            <a:off x="8513264" y="11435823"/>
            <a:ext cx="1144943" cy="1144943"/>
          </a:xfrm>
          <a:prstGeom prst="roundRect">
            <a:avLst/>
          </a:prstGeom>
          <a:noFill/>
          <a:ln w="25400" cap="flat" cmpd="sng">
            <a:solidFill>
              <a:schemeClr val="bg1"/>
            </a:solidFill>
            <a:prstDash val="solid"/>
            <a:round/>
            <a:headEnd type="none" w="med" len="med"/>
            <a:tailEnd type="none" w="med" len="med"/>
          </a:ln>
        </p:spPr>
        <p:txBody>
          <a:bodyPr lIns="0" tIns="91400" rIns="0" bIns="91400" rtlCol="0" anchor="ctr" anchorCtr="0">
            <a:noAutofit/>
          </a:bodyPr>
          <a:lstStyle/>
          <a:p>
            <a:pPr defTabSz="1828837" hangingPunct="1">
              <a:buClr>
                <a:srgbClr val="000000"/>
              </a:buClr>
              <a:buSzPct val="25000"/>
              <a:defRPr/>
            </a:pPr>
            <a:endParaRPr lang="en-US" sz="1600" dirty="0">
              <a:solidFill>
                <a:srgbClr val="FFFFFF"/>
              </a:solidFill>
              <a:latin typeface="IBM Plex Sans Light"/>
              <a:ea typeface="Century Gothic"/>
              <a:cs typeface="Century Gothic"/>
              <a:sym typeface="Century Gothic"/>
            </a:endParaRPr>
          </a:p>
        </p:txBody>
      </p:sp>
    </p:spTree>
    <p:extLst>
      <p:ext uri="{BB962C8B-B14F-4D97-AF65-F5344CB8AC3E}">
        <p14:creationId xmlns:p14="http://schemas.microsoft.com/office/powerpoint/2010/main" val="131308664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sp>
        <p:nvSpPr>
          <p:cNvPr id="22" name="TextBox 21">
            <a:extLst>
              <a:ext uri="{FF2B5EF4-FFF2-40B4-BE49-F238E27FC236}">
                <a16:creationId xmlns:a16="http://schemas.microsoft.com/office/drawing/2014/main" id="{DBD2FC54-ADED-1945-9CAB-5D71A60CC211}"/>
              </a:ext>
            </a:extLst>
          </p:cNvPr>
          <p:cNvSpPr txBox="1"/>
          <p:nvPr/>
        </p:nvSpPr>
        <p:spPr>
          <a:xfrm>
            <a:off x="3225705" y="3138192"/>
            <a:ext cx="5465207" cy="769441"/>
          </a:xfrm>
          <a:prstGeom prst="rect">
            <a:avLst/>
          </a:prstGeom>
          <a:noFill/>
        </p:spPr>
        <p:txBody>
          <a:bodyPr wrap="square" rtlCol="0" anchor="t">
            <a:spAutoFit/>
          </a:bodyPr>
          <a:lstStyle/>
          <a:p>
            <a:r>
              <a:rPr lang="es-ES_tradnl" sz="4400" b="1" kern="1200" dirty="0">
                <a:solidFill>
                  <a:srgbClr val="C00000"/>
                </a:solidFill>
                <a:latin typeface="IBM Plex Sans"/>
              </a:rPr>
              <a:t>Tabla de contenidos</a:t>
            </a:r>
            <a:endParaRPr lang="es-ES_tradnl" sz="4000" dirty="0">
              <a:latin typeface="IBM Plex Sans" panose="020B0503050203000203" pitchFamily="34" charset="77"/>
            </a:endParaRPr>
          </a:p>
        </p:txBody>
      </p:sp>
      <p:sp>
        <p:nvSpPr>
          <p:cNvPr id="49" name="Rectangle 48">
            <a:extLst>
              <a:ext uri="{FF2B5EF4-FFF2-40B4-BE49-F238E27FC236}">
                <a16:creationId xmlns:a16="http://schemas.microsoft.com/office/drawing/2014/main" id="{154B5044-884B-435A-933E-9F29936617F0}"/>
              </a:ext>
            </a:extLst>
          </p:cNvPr>
          <p:cNvSpPr/>
          <p:nvPr/>
        </p:nvSpPr>
        <p:spPr>
          <a:xfrm>
            <a:off x="15171199" y="2621758"/>
            <a:ext cx="5489480" cy="2571750"/>
          </a:xfrm>
          <a:prstGeom prst="rect">
            <a:avLst/>
          </a:prstGeom>
          <a:solidFill>
            <a:schemeClr val="bg2">
              <a:lumMod val="75000"/>
            </a:scheme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828837"/>
            <a:r>
              <a:rPr lang="en-IN" sz="2800" b="1" kern="1200" dirty="0">
                <a:solidFill>
                  <a:srgbClr val="FFFFFF"/>
                </a:solidFill>
                <a:latin typeface="IBM Plex Sans" panose="020B0503050000000000" pitchFamily="34" charset="0"/>
                <a:ea typeface="Verdana" panose="020B0604030504040204" pitchFamily="34" charset="0"/>
              </a:rPr>
              <a:t>2</a:t>
            </a:r>
          </a:p>
          <a:p>
            <a:pPr algn="r" defTabSz="1828837"/>
            <a:endParaRPr lang="en-US" sz="2800" b="1" kern="1200" dirty="0">
              <a:solidFill>
                <a:srgbClr val="FFFFFF"/>
              </a:solidFill>
              <a:latin typeface="IBM Plex Sans" panose="020B0503050000000000" pitchFamily="34" charset="0"/>
              <a:ea typeface="Verdana" panose="020B0604030504040204" pitchFamily="34" charset="0"/>
            </a:endParaRPr>
          </a:p>
          <a:p>
            <a:pPr algn="r" defTabSz="1828837"/>
            <a:endParaRPr lang="en-US" sz="2800" b="1" kern="1200" dirty="0">
              <a:solidFill>
                <a:srgbClr val="FFFFFF"/>
              </a:solidFill>
              <a:latin typeface="IBM Plex Sans" panose="020B0503050000000000" pitchFamily="34" charset="0"/>
              <a:ea typeface="Verdana" panose="020B0604030504040204" pitchFamily="34" charset="0"/>
            </a:endParaRPr>
          </a:p>
          <a:p>
            <a:pPr algn="r" defTabSz="1828837"/>
            <a:endParaRPr lang="en-US" sz="2800" b="1" kern="1200" dirty="0">
              <a:solidFill>
                <a:srgbClr val="FFFFFF"/>
              </a:solidFill>
              <a:latin typeface="+mn-lt"/>
              <a:ea typeface="Verdana" panose="020B0604030504040204" pitchFamily="34" charset="0"/>
            </a:endParaRPr>
          </a:p>
          <a:p>
            <a:pPr defTabSz="1828837"/>
            <a:r>
              <a:rPr lang="en-US" sz="2800" kern="1200" dirty="0">
                <a:solidFill>
                  <a:srgbClr val="FFFFFF"/>
                </a:solidFill>
                <a:latin typeface="+mn-lt"/>
                <a:ea typeface="Verdana" panose="020B0604030504040204" pitchFamily="34" charset="0"/>
              </a:rPr>
              <a:t>Organización y Areas</a:t>
            </a:r>
          </a:p>
        </p:txBody>
      </p:sp>
      <p:sp>
        <p:nvSpPr>
          <p:cNvPr id="52" name="Rectangle 51">
            <a:extLst>
              <a:ext uri="{FF2B5EF4-FFF2-40B4-BE49-F238E27FC236}">
                <a16:creationId xmlns:a16="http://schemas.microsoft.com/office/drawing/2014/main" id="{7005AE54-F116-4292-812F-6FBFC95D871A}"/>
              </a:ext>
            </a:extLst>
          </p:cNvPr>
          <p:cNvSpPr/>
          <p:nvPr/>
        </p:nvSpPr>
        <p:spPr>
          <a:xfrm>
            <a:off x="3225705" y="5414472"/>
            <a:ext cx="5489480" cy="2571750"/>
          </a:xfrm>
          <a:prstGeom prst="rect">
            <a:avLst/>
          </a:prstGeom>
          <a:solidFill>
            <a:schemeClr val="bg2">
              <a:lumMod val="75000"/>
            </a:scheme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828837"/>
            <a:r>
              <a:rPr lang="en-IN" sz="2800" b="1" kern="1200" dirty="0">
                <a:solidFill>
                  <a:srgbClr val="FFFFFF"/>
                </a:solidFill>
                <a:latin typeface="IBM Plex Sans" panose="020B0503050000000000" pitchFamily="34" charset="0"/>
                <a:ea typeface="Verdana" panose="020B0604030504040204" pitchFamily="34" charset="0"/>
              </a:rPr>
              <a:t>3</a:t>
            </a:r>
          </a:p>
          <a:p>
            <a:pPr algn="r" defTabSz="1828837"/>
            <a:endParaRPr lang="en-US" sz="2800" b="1" kern="1200" dirty="0">
              <a:solidFill>
                <a:srgbClr val="FFFFFF"/>
              </a:solidFill>
              <a:latin typeface="IBM Plex Sans" panose="020B0503050000000000" pitchFamily="34" charset="0"/>
              <a:ea typeface="Verdana" panose="020B0604030504040204" pitchFamily="34" charset="0"/>
            </a:endParaRPr>
          </a:p>
          <a:p>
            <a:pPr algn="r" defTabSz="1828837"/>
            <a:endParaRPr lang="en-US" sz="2800" b="1" kern="1200" dirty="0">
              <a:solidFill>
                <a:srgbClr val="FFFFFF"/>
              </a:solidFill>
              <a:latin typeface="IBM Plex Sans" panose="020B0503050000000000" pitchFamily="34" charset="0"/>
              <a:ea typeface="Verdana" panose="020B0604030504040204" pitchFamily="34" charset="0"/>
            </a:endParaRPr>
          </a:p>
          <a:p>
            <a:pPr algn="r" defTabSz="1828837"/>
            <a:endParaRPr lang="en-US" sz="2800" b="1" kern="1200" dirty="0">
              <a:solidFill>
                <a:srgbClr val="FFFFFF"/>
              </a:solidFill>
              <a:latin typeface="IBM Plex Sans" panose="020B0503050000000000" pitchFamily="34" charset="0"/>
              <a:ea typeface="Verdana" panose="020B0604030504040204" pitchFamily="34" charset="0"/>
            </a:endParaRPr>
          </a:p>
          <a:p>
            <a:pPr defTabSz="1828837"/>
            <a:r>
              <a:rPr lang="en-US" sz="2800" kern="1200" dirty="0">
                <a:solidFill>
                  <a:srgbClr val="FFFFFF"/>
                </a:solidFill>
                <a:latin typeface="+mn-lt"/>
                <a:ea typeface="Verdana" panose="020B0604030504040204" pitchFamily="34" charset="0"/>
              </a:rPr>
              <a:t>KPIs y Niveles de Servicio</a:t>
            </a:r>
          </a:p>
        </p:txBody>
      </p:sp>
      <p:pic>
        <p:nvPicPr>
          <p:cNvPr id="62" name="Graphic 61" descr="Gauge">
            <a:extLst>
              <a:ext uri="{FF2B5EF4-FFF2-40B4-BE49-F238E27FC236}">
                <a16:creationId xmlns:a16="http://schemas.microsoft.com/office/drawing/2014/main" id="{0895E6BF-6F42-49BE-A95E-892D97E89EC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63707" y="5552155"/>
            <a:ext cx="1463040" cy="1463040"/>
          </a:xfrm>
          <a:prstGeom prst="rect">
            <a:avLst/>
          </a:prstGeom>
        </p:spPr>
      </p:pic>
      <p:pic>
        <p:nvPicPr>
          <p:cNvPr id="64" name="Graphic 63" descr="Hierarchy">
            <a:extLst>
              <a:ext uri="{FF2B5EF4-FFF2-40B4-BE49-F238E27FC236}">
                <a16:creationId xmlns:a16="http://schemas.microsoft.com/office/drawing/2014/main" id="{F29C9CF4-AAB9-4BA5-BC19-AE25D962E06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7184419" y="2829150"/>
            <a:ext cx="1463040" cy="1463040"/>
          </a:xfrm>
          <a:prstGeom prst="rect">
            <a:avLst/>
          </a:prstGeom>
        </p:spPr>
      </p:pic>
      <p:pic>
        <p:nvPicPr>
          <p:cNvPr id="3" name="Gráfico 2" descr="Clip">
            <a:extLst>
              <a:ext uri="{FF2B5EF4-FFF2-40B4-BE49-F238E27FC236}">
                <a16:creationId xmlns:a16="http://schemas.microsoft.com/office/drawing/2014/main" id="{803EE050-D601-4C76-B9B1-AE86744FB1B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7321579" y="5816152"/>
            <a:ext cx="1188720" cy="1188720"/>
          </a:xfrm>
          <a:prstGeom prst="rect">
            <a:avLst/>
          </a:prstGeom>
        </p:spPr>
      </p:pic>
      <p:sp>
        <p:nvSpPr>
          <p:cNvPr id="20" name="Rectangle 45">
            <a:extLst>
              <a:ext uri="{FF2B5EF4-FFF2-40B4-BE49-F238E27FC236}">
                <a16:creationId xmlns:a16="http://schemas.microsoft.com/office/drawing/2014/main" id="{EDF80CD5-0D9D-4FFD-9B75-3A93A5569BA1}"/>
              </a:ext>
            </a:extLst>
          </p:cNvPr>
          <p:cNvSpPr/>
          <p:nvPr/>
        </p:nvSpPr>
        <p:spPr>
          <a:xfrm>
            <a:off x="9198452" y="2621758"/>
            <a:ext cx="5489480" cy="257175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endParaRPr lang="en-IN" sz="1600" b="1" dirty="0">
              <a:solidFill>
                <a:schemeClr val="bg1"/>
              </a:solidFill>
              <a:latin typeface="Arial" panose="020B0604020202020204"/>
              <a:ea typeface="MS PGothic" charset="-128"/>
            </a:endParaRPr>
          </a:p>
          <a:p>
            <a:pPr algn="r" defTabSz="1097280" fontAlgn="base">
              <a:spcBef>
                <a:spcPct val="0"/>
              </a:spcBef>
              <a:spcAft>
                <a:spcPct val="0"/>
              </a:spcAft>
            </a:pPr>
            <a:r>
              <a:rPr lang="en-IN" sz="2800" b="1" dirty="0">
                <a:solidFill>
                  <a:schemeClr val="bg1"/>
                </a:solidFill>
                <a:latin typeface="Arial" panose="020B0604020202020204"/>
                <a:ea typeface="MS PGothic" charset="-128"/>
              </a:rPr>
              <a:t>1</a:t>
            </a: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r>
              <a:rPr lang="en-US" sz="3200" b="1" dirty="0">
                <a:solidFill>
                  <a:schemeClr val="bg1"/>
                </a:solidFill>
                <a:latin typeface="Arial" panose="020B0604020202020204"/>
                <a:ea typeface="MS PGothic" charset="-128"/>
              </a:rPr>
              <a:t>Overview CTOM</a:t>
            </a:r>
          </a:p>
          <a:p>
            <a:pPr algn="r" defTabSz="1097280" fontAlgn="base">
              <a:spcBef>
                <a:spcPct val="0"/>
              </a:spcBef>
              <a:spcAft>
                <a:spcPct val="0"/>
              </a:spcAft>
            </a:pPr>
            <a:endParaRPr lang="en-IN" sz="1600" b="1" dirty="0">
              <a:solidFill>
                <a:schemeClr val="bg1"/>
              </a:solidFill>
              <a:latin typeface="Arial" panose="020B0604020202020204"/>
              <a:ea typeface="MS PGothic" charset="-128"/>
            </a:endParaRPr>
          </a:p>
        </p:txBody>
      </p:sp>
      <p:pic>
        <p:nvPicPr>
          <p:cNvPr id="28" name="Graphic 69" descr="Teacher">
            <a:extLst>
              <a:ext uri="{FF2B5EF4-FFF2-40B4-BE49-F238E27FC236}">
                <a16:creationId xmlns:a16="http://schemas.microsoft.com/office/drawing/2014/main" id="{F4BC2766-9EEA-4B4C-91B2-39F811C8EEB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965108" y="2842722"/>
            <a:ext cx="1463040" cy="1463040"/>
          </a:xfrm>
          <a:prstGeom prst="rect">
            <a:avLst/>
          </a:prstGeom>
        </p:spPr>
      </p:pic>
      <p:sp>
        <p:nvSpPr>
          <p:cNvPr id="29" name="Rectangle 49">
            <a:extLst>
              <a:ext uri="{FF2B5EF4-FFF2-40B4-BE49-F238E27FC236}">
                <a16:creationId xmlns:a16="http://schemas.microsoft.com/office/drawing/2014/main" id="{FBE60C84-304C-4C92-B48B-7035B332383D}"/>
              </a:ext>
            </a:extLst>
          </p:cNvPr>
          <p:cNvSpPr/>
          <p:nvPr/>
        </p:nvSpPr>
        <p:spPr>
          <a:xfrm>
            <a:off x="9212802" y="5414472"/>
            <a:ext cx="5489480" cy="2571750"/>
          </a:xfrm>
          <a:prstGeom prst="rect">
            <a:avLst/>
          </a:prstGeom>
          <a:solidFill>
            <a:schemeClr val="bg2">
              <a:lumMod val="75000"/>
            </a:scheme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endParaRPr lang="en-IN" sz="1600" b="1" dirty="0">
              <a:solidFill>
                <a:schemeClr val="bg1"/>
              </a:solidFill>
              <a:latin typeface="Arial" panose="020B0604020202020204"/>
              <a:ea typeface="MS PGothic" charset="-128"/>
            </a:endParaRPr>
          </a:p>
          <a:p>
            <a:pPr algn="r" defTabSz="1828837">
              <a:defRPr/>
            </a:pPr>
            <a:r>
              <a:rPr lang="en-IN" sz="2800" b="1" kern="1200" dirty="0">
                <a:solidFill>
                  <a:srgbClr val="FFFFFF"/>
                </a:solidFill>
                <a:latin typeface="IBM Plex Sans" panose="020B0503050000000000" pitchFamily="34" charset="0"/>
                <a:ea typeface="Verdana" panose="020B0604030504040204" pitchFamily="34" charset="0"/>
              </a:rPr>
              <a:t>4</a:t>
            </a: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828837">
              <a:defRPr/>
            </a:pPr>
            <a:endParaRPr lang="en-US" sz="2800" kern="1200" dirty="0">
              <a:solidFill>
                <a:srgbClr val="E7E6E6"/>
              </a:solidFill>
              <a:latin typeface="IBM Plex Sans" panose="020B0503050000000000" pitchFamily="34" charset="0"/>
              <a:ea typeface="+mn-ea"/>
              <a:cs typeface="+mn-cs"/>
            </a:endParaRPr>
          </a:p>
          <a:p>
            <a:pPr defTabSz="1828837">
              <a:defRPr/>
            </a:pPr>
            <a:r>
              <a:rPr lang="en-US" sz="2800" kern="1200" dirty="0">
                <a:solidFill>
                  <a:srgbClr val="E7E6E6"/>
                </a:solidFill>
                <a:latin typeface="+mn-lt"/>
                <a:ea typeface="+mn-ea"/>
                <a:cs typeface="+mn-cs"/>
              </a:rPr>
              <a:t>Principales procesos operativos</a:t>
            </a:r>
            <a:endParaRPr lang="en-US" dirty="0">
              <a:latin typeface="+mn-lt"/>
              <a:ea typeface="+mn-ea"/>
              <a:cs typeface="+mn-cs"/>
            </a:endParaRPr>
          </a:p>
          <a:p>
            <a:pPr defTabSz="1097280" fontAlgn="base">
              <a:spcBef>
                <a:spcPct val="0"/>
              </a:spcBef>
              <a:spcAft>
                <a:spcPct val="0"/>
              </a:spcAft>
            </a:pPr>
            <a:endParaRPr lang="en-IN" sz="1600" b="1" dirty="0">
              <a:solidFill>
                <a:schemeClr val="bg1"/>
              </a:solidFill>
              <a:latin typeface="Arial" panose="020B0604020202020204"/>
              <a:ea typeface="MS PGothic" charset="-128"/>
            </a:endParaRPr>
          </a:p>
        </p:txBody>
      </p:sp>
      <p:pic>
        <p:nvPicPr>
          <p:cNvPr id="30" name="Graphic 66" descr="Network">
            <a:hlinkClick r:id="rId11" action="ppaction://hlinksldjump"/>
            <a:extLst>
              <a:ext uri="{FF2B5EF4-FFF2-40B4-BE49-F238E27FC236}">
                <a16:creationId xmlns:a16="http://schemas.microsoft.com/office/drawing/2014/main" id="{6FFCC92F-1544-411A-95A9-A2EA60CA976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1226022" y="5529090"/>
            <a:ext cx="1463040" cy="1463040"/>
          </a:xfrm>
          <a:prstGeom prst="rect">
            <a:avLst/>
          </a:prstGeom>
        </p:spPr>
      </p:pic>
    </p:spTree>
    <p:extLst>
      <p:ext uri="{BB962C8B-B14F-4D97-AF65-F5344CB8AC3E}">
        <p14:creationId xmlns:p14="http://schemas.microsoft.com/office/powerpoint/2010/main" val="41734632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162A749-145E-45A9-A608-94CDAC2EE459}"/>
              </a:ext>
            </a:extLst>
          </p:cNvPr>
          <p:cNvSpPr txBox="1"/>
          <p:nvPr/>
        </p:nvSpPr>
        <p:spPr>
          <a:xfrm>
            <a:off x="650240" y="541319"/>
            <a:ext cx="22611504" cy="2000548"/>
          </a:xfrm>
          <a:prstGeom prst="rect">
            <a:avLst/>
          </a:prstGeom>
          <a:noFill/>
        </p:spPr>
        <p:txBody>
          <a:bodyPr wrap="square" rtlCol="0" anchor="t">
            <a:spAutoFit/>
          </a:bodyPr>
          <a:lstStyle/>
          <a:p>
            <a:pPr algn="l"/>
            <a:r>
              <a:rPr lang="en-GB" sz="4000" b="1" kern="1200" dirty="0">
                <a:solidFill>
                  <a:srgbClr val="C00000"/>
                </a:solidFill>
              </a:rPr>
              <a:t>Aprovisionamiento &amp; Ejecución Automática</a:t>
            </a:r>
            <a:r>
              <a:rPr lang="en-US" sz="4000" b="1" kern="1200" dirty="0">
                <a:solidFill>
                  <a:srgbClr val="C00000"/>
                </a:solidFill>
              </a:rPr>
              <a:t> </a:t>
            </a:r>
            <a:r>
              <a:rPr lang="en-US" sz="2800" kern="1200" dirty="0">
                <a:solidFill>
                  <a:srgbClr val="C00000"/>
                </a:solidFill>
              </a:rPr>
              <a:t>Aprovisionamiento de Entornos de Plataforma</a:t>
            </a:r>
          </a:p>
          <a:p>
            <a:pPr algn="l"/>
            <a:r>
              <a:rPr lang="es-ES" altLang="en-US" sz="2800" kern="1200" dirty="0">
                <a:solidFill>
                  <a:schemeClr val="tx1"/>
                </a:solidFill>
              </a:rPr>
              <a:t>Matriz RACI</a:t>
            </a:r>
            <a:endParaRPr lang="en-US" altLang="en-US" sz="2800" kern="1200" dirty="0">
              <a:solidFill>
                <a:schemeClr val="tx1"/>
              </a:solidFill>
            </a:endParaRPr>
          </a:p>
          <a:p>
            <a:pPr algn="l"/>
            <a:r>
              <a:rPr lang="en-US" sz="2800" kern="1200" dirty="0">
                <a:solidFill>
                  <a:srgbClr val="C00000"/>
                </a:solidFill>
                <a:latin typeface="IBM Plex Sans"/>
              </a:rPr>
              <a:t> </a:t>
            </a:r>
            <a:endParaRPr lang="en-US" altLang="en-US" sz="2800" kern="1200" dirty="0">
              <a:solidFill>
                <a:srgbClr val="C00000"/>
              </a:solidFill>
              <a:latin typeface="IBM Plex Sans"/>
            </a:endParaRPr>
          </a:p>
          <a:p>
            <a:pPr algn="l"/>
            <a:endParaRPr lang="en-US" sz="2800" kern="1200" dirty="0">
              <a:solidFill>
                <a:srgbClr val="C00000"/>
              </a:solidFill>
              <a:latin typeface="IBM Plex Sans"/>
            </a:endParaRPr>
          </a:p>
        </p:txBody>
      </p:sp>
      <p:graphicFrame>
        <p:nvGraphicFramePr>
          <p:cNvPr id="5" name="Tabla 4">
            <a:extLst>
              <a:ext uri="{FF2B5EF4-FFF2-40B4-BE49-F238E27FC236}">
                <a16:creationId xmlns:a16="http://schemas.microsoft.com/office/drawing/2014/main" id="{A789803D-B12F-404D-B272-724D4D0251B7}"/>
              </a:ext>
            </a:extLst>
          </p:cNvPr>
          <p:cNvGraphicFramePr>
            <a:graphicFrameLocks noGrp="1"/>
          </p:cNvGraphicFramePr>
          <p:nvPr>
            <p:extLst>
              <p:ext uri="{D42A27DB-BD31-4B8C-83A1-F6EECF244321}">
                <p14:modId xmlns:p14="http://schemas.microsoft.com/office/powerpoint/2010/main" val="2029245849"/>
              </p:ext>
            </p:extLst>
          </p:nvPr>
        </p:nvGraphicFramePr>
        <p:xfrm>
          <a:off x="400050" y="1608598"/>
          <a:ext cx="22861694" cy="11237992"/>
        </p:xfrm>
        <a:graphic>
          <a:graphicData uri="http://schemas.openxmlformats.org/drawingml/2006/table">
            <a:tbl>
              <a:tblPr>
                <a:tableStyleId>{5940675A-B579-460E-94D1-54222C63F5DA}</a:tableStyleId>
              </a:tblPr>
              <a:tblGrid>
                <a:gridCol w="6765076">
                  <a:extLst>
                    <a:ext uri="{9D8B030D-6E8A-4147-A177-3AD203B41FA5}">
                      <a16:colId xmlns:a16="http://schemas.microsoft.com/office/drawing/2014/main" val="1549412401"/>
                    </a:ext>
                  </a:extLst>
                </a:gridCol>
                <a:gridCol w="2315758">
                  <a:extLst>
                    <a:ext uri="{9D8B030D-6E8A-4147-A177-3AD203B41FA5}">
                      <a16:colId xmlns:a16="http://schemas.microsoft.com/office/drawing/2014/main" val="13767168"/>
                    </a:ext>
                  </a:extLst>
                </a:gridCol>
                <a:gridCol w="1662511">
                  <a:extLst>
                    <a:ext uri="{9D8B030D-6E8A-4147-A177-3AD203B41FA5}">
                      <a16:colId xmlns:a16="http://schemas.microsoft.com/office/drawing/2014/main" val="1984299023"/>
                    </a:ext>
                  </a:extLst>
                </a:gridCol>
                <a:gridCol w="1716512">
                  <a:extLst>
                    <a:ext uri="{9D8B030D-6E8A-4147-A177-3AD203B41FA5}">
                      <a16:colId xmlns:a16="http://schemas.microsoft.com/office/drawing/2014/main" val="1828103560"/>
                    </a:ext>
                  </a:extLst>
                </a:gridCol>
                <a:gridCol w="1494375">
                  <a:extLst>
                    <a:ext uri="{9D8B030D-6E8A-4147-A177-3AD203B41FA5}">
                      <a16:colId xmlns:a16="http://schemas.microsoft.com/office/drawing/2014/main" val="1693561845"/>
                    </a:ext>
                  </a:extLst>
                </a:gridCol>
                <a:gridCol w="1817483">
                  <a:extLst>
                    <a:ext uri="{9D8B030D-6E8A-4147-A177-3AD203B41FA5}">
                      <a16:colId xmlns:a16="http://schemas.microsoft.com/office/drawing/2014/main" val="2248067950"/>
                    </a:ext>
                  </a:extLst>
                </a:gridCol>
                <a:gridCol w="2080008">
                  <a:extLst>
                    <a:ext uri="{9D8B030D-6E8A-4147-A177-3AD203B41FA5}">
                      <a16:colId xmlns:a16="http://schemas.microsoft.com/office/drawing/2014/main" val="1105587022"/>
                    </a:ext>
                  </a:extLst>
                </a:gridCol>
                <a:gridCol w="2147736">
                  <a:extLst>
                    <a:ext uri="{9D8B030D-6E8A-4147-A177-3AD203B41FA5}">
                      <a16:colId xmlns:a16="http://schemas.microsoft.com/office/drawing/2014/main" val="3216202669"/>
                    </a:ext>
                  </a:extLst>
                </a:gridCol>
                <a:gridCol w="792078">
                  <a:extLst>
                    <a:ext uri="{9D8B030D-6E8A-4147-A177-3AD203B41FA5}">
                      <a16:colId xmlns:a16="http://schemas.microsoft.com/office/drawing/2014/main" val="3601447144"/>
                    </a:ext>
                  </a:extLst>
                </a:gridCol>
                <a:gridCol w="2070157">
                  <a:extLst>
                    <a:ext uri="{9D8B030D-6E8A-4147-A177-3AD203B41FA5}">
                      <a16:colId xmlns:a16="http://schemas.microsoft.com/office/drawing/2014/main" val="193778218"/>
                    </a:ext>
                  </a:extLst>
                </a:gridCol>
              </a:tblGrid>
              <a:tr h="388801">
                <a:tc>
                  <a:txBody>
                    <a:bodyPr/>
                    <a:lstStyle/>
                    <a:p>
                      <a:pPr algn="ctr" fontAlgn="ctr"/>
                      <a:r>
                        <a:rPr lang="es-ES" sz="1400" b="1" u="none" strike="noStrike" dirty="0">
                          <a:solidFill>
                            <a:schemeClr val="bg1"/>
                          </a:solidFill>
                          <a:effectLst/>
                        </a:rPr>
                        <a:t>ON-PREMISE / CLOUD PROVIDERS</a:t>
                      </a:r>
                      <a:endParaRPr lang="es-ES" sz="1400" b="1" i="0" u="none" strike="noStrike" dirty="0">
                        <a:solidFill>
                          <a:schemeClr val="bg1"/>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solidFill>
                      <a:srgbClr val="AC0000"/>
                    </a:solidFill>
                  </a:tcPr>
                </a:tc>
                <a:tc gridSpan="9">
                  <a:txBody>
                    <a:bodyPr/>
                    <a:lstStyle/>
                    <a:p>
                      <a:pPr algn="ctr" fontAlgn="ctr"/>
                      <a:r>
                        <a:rPr lang="es-ES" sz="1400" b="1" u="none" strike="noStrike" dirty="0">
                          <a:solidFill>
                            <a:schemeClr val="bg1"/>
                          </a:solidFill>
                          <a:effectLst/>
                        </a:rPr>
                        <a:t>AREAS &amp; RESPONSABILIDADES</a:t>
                      </a:r>
                      <a:endParaRPr lang="es-ES" sz="1400" b="1"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C0000"/>
                    </a:solidFill>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lnL w="12700" cap="flat" cmpd="sng" algn="ctr">
                      <a:solidFill>
                        <a:schemeClr val="tx1"/>
                      </a:solidFill>
                      <a:prstDash val="solid"/>
                      <a:round/>
                      <a:headEnd type="none" w="med" len="med"/>
                      <a:tailEnd type="none" w="med" len="med"/>
                    </a:lnL>
                  </a:tcPr>
                </a:tc>
                <a:tc hMerge="1">
                  <a:txBody>
                    <a:bodyPr/>
                    <a:lstStyle/>
                    <a:p>
                      <a:endParaRPr lang="es-ES"/>
                    </a:p>
                  </a:txBody>
                  <a:tcPr/>
                </a:tc>
                <a:tc hMerge="1">
                  <a:txBody>
                    <a:bodyPr/>
                    <a:lstStyle/>
                    <a:p>
                      <a:pPr algn="ctr" fontAlgn="ctr"/>
                      <a:endParaRPr lang="es-ES" sz="1400" b="1" i="0" u="none" strike="noStrike">
                        <a:solidFill>
                          <a:schemeClr val="bg1"/>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AC0000"/>
                    </a:solidFill>
                  </a:tcPr>
                </a:tc>
                <a:extLst>
                  <a:ext uri="{0D108BD9-81ED-4DB2-BD59-A6C34878D82A}">
                    <a16:rowId xmlns:a16="http://schemas.microsoft.com/office/drawing/2014/main" val="3988108223"/>
                  </a:ext>
                </a:extLst>
              </a:tr>
              <a:tr h="355958">
                <a:tc rowSpan="2">
                  <a:txBody>
                    <a:bodyPr/>
                    <a:lstStyle/>
                    <a:p>
                      <a:pPr algn="ctr" fontAlgn="ctr"/>
                      <a:r>
                        <a:rPr lang="es-ES" sz="2400" b="1" u="none" strike="noStrike" dirty="0">
                          <a:effectLst/>
                        </a:rPr>
                        <a:t>Actividades del Proceso​</a:t>
                      </a:r>
                      <a:endParaRPr lang="es-ES" sz="2400" b="1" i="0" u="none" strike="noStrike" dirty="0">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gridSpan="6">
                  <a:txBody>
                    <a:bodyPr/>
                    <a:lstStyle/>
                    <a:p>
                      <a:pPr algn="ctr" fontAlgn="ctr"/>
                      <a:r>
                        <a:rPr lang="es-ES" sz="2400" b="1" i="0" u="none" strike="noStrike" dirty="0">
                          <a:solidFill>
                            <a:srgbClr val="000000"/>
                          </a:solidFill>
                          <a:effectLst/>
                          <a:latin typeface="Arial" panose="020B0604020202020204" pitchFamily="34" charset="0"/>
                        </a:rPr>
                        <a:t>Santander Tecnología</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lumMod val="40000"/>
                        <a:lumOff val="60000"/>
                      </a:schemeClr>
                    </a:solidFill>
                  </a:tcPr>
                </a:tc>
                <a:tc hMerge="1">
                  <a:txBody>
                    <a:bodyPr/>
                    <a:lstStyle/>
                    <a:p>
                      <a:pPr algn="ctr" fontAlgn="ctr"/>
                      <a:endParaRPr lang="es-ES" sz="1800" b="1" i="0" u="none" strike="noStrike">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hMerge="1">
                  <a:txBody>
                    <a:bodyPr/>
                    <a:lstStyle/>
                    <a:p>
                      <a:pPr algn="ctr" fontAlgn="ctr"/>
                      <a:endParaRPr lang="es-ES" sz="1800" b="1" i="0" u="none" strike="noStrike">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hMerge="1">
                  <a:txBody>
                    <a:bodyPr/>
                    <a:lstStyle/>
                    <a:p>
                      <a:pPr algn="ctr" fontAlgn="ctr"/>
                      <a:endParaRPr lang="es-ES" sz="1800" b="1" i="0" u="none" strike="noStrike">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hMerge="1">
                  <a:txBody>
                    <a:bodyPr/>
                    <a:lstStyle/>
                    <a:p>
                      <a:pPr algn="ctr" fontAlgn="ctr"/>
                      <a:endParaRPr lang="es-ES" sz="1800" b="1" i="0" u="none" strike="noStrike">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hMerge="1">
                  <a:txBody>
                    <a:bodyPr/>
                    <a:lstStyle/>
                    <a:p>
                      <a:pPr algn="ctr" fontAlgn="ctr"/>
                      <a:endParaRPr lang="es-ES" sz="1800" b="1" i="0" u="none" strike="noStrike">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gridSpan="3">
                  <a:txBody>
                    <a:bodyPr/>
                    <a:lstStyle/>
                    <a:p>
                      <a:pPr marL="0" algn="ctr" defTabSz="1828800" rtl="0" eaLnBrk="1" fontAlgn="ctr" latinLnBrk="0" hangingPunct="1"/>
                      <a:r>
                        <a:rPr lang="es-ES" sz="2400" b="1" u="none" strike="noStrike" kern="1200" dirty="0">
                          <a:solidFill>
                            <a:schemeClr val="tx1"/>
                          </a:solidFill>
                          <a:effectLst/>
                          <a:latin typeface="+mn-lt"/>
                          <a:ea typeface="+mn-ea"/>
                          <a:cs typeface="+mn-cs"/>
                        </a:rPr>
                        <a:t>SG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tx2">
                        <a:lumMod val="40000"/>
                        <a:lumOff val="60000"/>
                      </a:schemeClr>
                    </a:solidFill>
                  </a:tcPr>
                </a:tc>
                <a:tc hMerge="1">
                  <a:txBody>
                    <a:bodyPr/>
                    <a:lstStyle/>
                    <a:p>
                      <a:pPr algn="ctr" fontAlgn="ctr"/>
                      <a:endParaRPr lang="es-ES" sz="1800" b="1" i="0" u="none" strike="noStrike">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hMerge="1">
                  <a:txBody>
                    <a:bodyPr/>
                    <a:lstStyle/>
                    <a:p>
                      <a:pPr marL="0" algn="ctr" defTabSz="1828800" rtl="0" eaLnBrk="1" fontAlgn="ctr" latinLnBrk="0" hangingPunct="1"/>
                      <a:endParaRPr lang="es-ES" sz="2400" b="1" u="none" strike="noStrike" kern="1200">
                        <a:solidFill>
                          <a:schemeClr val="tx1"/>
                        </a:solidFill>
                        <a:effectLst/>
                        <a:latin typeface="+mn-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tx2">
                        <a:lumMod val="40000"/>
                        <a:lumOff val="60000"/>
                      </a:schemeClr>
                    </a:solidFill>
                  </a:tcPr>
                </a:tc>
                <a:extLst>
                  <a:ext uri="{0D108BD9-81ED-4DB2-BD59-A6C34878D82A}">
                    <a16:rowId xmlns:a16="http://schemas.microsoft.com/office/drawing/2014/main" val="625852721"/>
                  </a:ext>
                </a:extLst>
              </a:tr>
              <a:tr h="128568">
                <a:tc vMerge="1">
                  <a:txBody>
                    <a:bodyPr/>
                    <a:lstStyle/>
                    <a:p>
                      <a:pPr algn="ctr" fontAlgn="ctr"/>
                      <a:endParaRPr lang="es-ES" sz="2400" b="1" i="0" u="none" strike="noStrike">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a:txBody>
                    <a:bodyPr/>
                    <a:lstStyle/>
                    <a:p>
                      <a:pPr algn="ctr" fontAlgn="ctr"/>
                      <a:r>
                        <a:rPr lang="es-ES" sz="1800" u="none" strike="noStrike" dirty="0">
                          <a:effectLst/>
                        </a:rPr>
                        <a:t>Dominio de Negocio​</a:t>
                      </a:r>
                      <a:endParaRPr lang="es-ES" sz="1800" b="1" i="0" u="none" strike="noStrike" dirty="0">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a:txBody>
                    <a:bodyPr/>
                    <a:lstStyle/>
                    <a:p>
                      <a:pPr algn="ctr" fontAlgn="ctr"/>
                      <a:r>
                        <a:rPr lang="es-ES" sz="1800" u="none" strike="noStrike" dirty="0">
                          <a:effectLst/>
                        </a:rPr>
                        <a:t>Arquitectura</a:t>
                      </a:r>
                      <a:endParaRPr lang="es-ES" sz="1800" b="1" i="0" u="none" strike="noStrike" dirty="0">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a:txBody>
                    <a:bodyPr/>
                    <a:lstStyle/>
                    <a:p>
                      <a:pPr algn="ctr" fontAlgn="ctr"/>
                      <a:r>
                        <a:rPr lang="es-ES" sz="1800" u="none" strike="noStrike" dirty="0">
                          <a:effectLst/>
                        </a:rPr>
                        <a:t>Infraestructura </a:t>
                      </a:r>
                      <a:endParaRPr lang="es-ES" sz="1800" b="1" i="0" u="none" strike="noStrike" dirty="0">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a:txBody>
                    <a:bodyPr/>
                    <a:lstStyle/>
                    <a:p>
                      <a:pPr algn="ctr" fontAlgn="ctr"/>
                      <a:r>
                        <a:rPr lang="es-ES" sz="1800" u="none" strike="noStrike" dirty="0">
                          <a:effectLst/>
                        </a:rPr>
                        <a:t>Ingeniería ​</a:t>
                      </a:r>
                      <a:endParaRPr lang="es-ES" sz="1800" b="1" i="0" u="none" strike="noStrike" dirty="0">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a:txBody>
                    <a:bodyPr/>
                    <a:lstStyle/>
                    <a:p>
                      <a:pPr algn="ctr" fontAlgn="ctr"/>
                      <a:r>
                        <a:rPr lang="es-ES" sz="1800" u="none" strike="noStrike" dirty="0">
                          <a:effectLst/>
                        </a:rPr>
                        <a:t>Monitorización​</a:t>
                      </a:r>
                      <a:endParaRPr lang="es-ES" sz="1800" b="1" i="0" u="none" strike="noStrike" dirty="0">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a:txBody>
                    <a:bodyPr/>
                    <a:lstStyle/>
                    <a:p>
                      <a:pPr algn="ctr" fontAlgn="ctr"/>
                      <a:r>
                        <a:rPr lang="es-ES" sz="1800" u="none" strike="noStrike" dirty="0">
                          <a:effectLst/>
                        </a:rPr>
                        <a:t>Nivel de Servicio​</a:t>
                      </a:r>
                      <a:endParaRPr lang="es-ES" sz="1800" b="1" i="0" u="none" strike="noStrike" dirty="0">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a:txBody>
                    <a:bodyPr/>
                    <a:lstStyle/>
                    <a:p>
                      <a:pPr algn="ctr" fontAlgn="ctr"/>
                      <a:r>
                        <a:rPr lang="fr-FR" sz="1800" u="none" strike="noStrike" dirty="0">
                          <a:effectLst/>
                        </a:rPr>
                        <a:t>Gestion de la demanda</a:t>
                      </a:r>
                      <a:endParaRPr lang="fr-FR" sz="1800" b="1" i="0" u="none" strike="noStrike" dirty="0">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a:txBody>
                    <a:bodyPr/>
                    <a:lstStyle/>
                    <a:p>
                      <a:pPr algn="ctr" fontAlgn="ctr"/>
                      <a:r>
                        <a:rPr lang="es-ES" sz="1800" u="none" strike="noStrike" dirty="0">
                          <a:effectLst/>
                        </a:rPr>
                        <a:t>CCC​</a:t>
                      </a:r>
                      <a:endParaRPr lang="es-ES" sz="1800" b="1" i="0" u="none" strike="noStrike" dirty="0">
                        <a:solidFill>
                          <a:srgbClr val="000000"/>
                        </a:solidFill>
                        <a:effectLst/>
                        <a:latin typeface="Arial" panose="020B0604020202020204" pitchFamily="34" charset="0"/>
                      </a:endParaRPr>
                    </a:p>
                  </a:txBody>
                  <a:tcPr marL="9525" marR="9525" marT="9525" marB="0" anchor="ctr">
                    <a:solidFill>
                      <a:schemeClr val="tx2">
                        <a:lumMod val="40000"/>
                        <a:lumOff val="60000"/>
                      </a:schemeClr>
                    </a:solidFill>
                  </a:tcPr>
                </a:tc>
                <a:tc>
                  <a:txBody>
                    <a:bodyPr/>
                    <a:lstStyle/>
                    <a:p>
                      <a:pPr algn="ctr" fontAlgn="ctr"/>
                      <a:r>
                        <a:rPr lang="es-ES" sz="1800" u="none" strike="noStrike" kern="1200" dirty="0">
                          <a:solidFill>
                            <a:schemeClr val="tx1"/>
                          </a:solidFill>
                          <a:effectLst/>
                          <a:latin typeface="+mn-lt"/>
                          <a:ea typeface="+mn-ea"/>
                          <a:cs typeface="+mn-cs"/>
                        </a:rPr>
                        <a:t>Nuevas Tecnologías</a:t>
                      </a:r>
                    </a:p>
                  </a:txBody>
                  <a:tcPr marL="9525" marR="9525" marT="9525" marB="0" anchor="ctr">
                    <a:lnR w="12700" cap="flat" cmpd="sng" algn="ctr">
                      <a:solidFill>
                        <a:schemeClr val="tx1"/>
                      </a:solidFill>
                      <a:prstDash val="solid"/>
                      <a:round/>
                      <a:headEnd type="none" w="med" len="med"/>
                      <a:tailEnd type="none" w="med" len="med"/>
                    </a:lnR>
                    <a:solidFill>
                      <a:schemeClr val="tx2">
                        <a:lumMod val="40000"/>
                        <a:lumOff val="60000"/>
                      </a:schemeClr>
                    </a:solidFill>
                  </a:tcPr>
                </a:tc>
                <a:extLst>
                  <a:ext uri="{0D108BD9-81ED-4DB2-BD59-A6C34878D82A}">
                    <a16:rowId xmlns:a16="http://schemas.microsoft.com/office/drawing/2014/main" val="1477870111"/>
                  </a:ext>
                </a:extLst>
              </a:tr>
              <a:tr h="430922">
                <a:tc>
                  <a:txBody>
                    <a:bodyPr/>
                    <a:lstStyle/>
                    <a:p>
                      <a:pPr algn="l" fontAlgn="ctr"/>
                      <a:r>
                        <a:rPr lang="es-ES" sz="1600" u="none" strike="noStrike" dirty="0">
                          <a:effectLst/>
                        </a:rPr>
                        <a:t>Demandar Infraestructura​</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R</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I</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I</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70785459"/>
                  </a:ext>
                </a:extLst>
              </a:tr>
              <a:tr h="435457">
                <a:tc>
                  <a:txBody>
                    <a:bodyPr/>
                    <a:lstStyle/>
                    <a:p>
                      <a:pPr algn="l" fontAlgn="ctr"/>
                      <a:r>
                        <a:rPr lang="es-ES" sz="1600" u="none" strike="noStrike" dirty="0">
                          <a:effectLst/>
                        </a:rPr>
                        <a:t>Realizar documento técnico Infraestructura (DTI)​</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I</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A/R</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C</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I</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209250993"/>
                  </a:ext>
                </a:extLst>
              </a:tr>
              <a:tr h="430922">
                <a:tc>
                  <a:txBody>
                    <a:bodyPr/>
                    <a:lstStyle/>
                    <a:p>
                      <a:pPr algn="l" fontAlgn="ctr"/>
                      <a:r>
                        <a:rPr lang="es-ES" sz="1600" u="none" strike="noStrike" dirty="0">
                          <a:effectLst/>
                        </a:rPr>
                        <a:t>Enviar DTI Aprobado (viabilidad)​</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I</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A/R</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I</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C</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83819196"/>
                  </a:ext>
                </a:extLst>
              </a:tr>
              <a:tr h="430922">
                <a:tc>
                  <a:txBody>
                    <a:bodyPr/>
                    <a:lstStyle/>
                    <a:p>
                      <a:pPr algn="l" fontAlgn="ctr"/>
                      <a:r>
                        <a:rPr lang="es-ES" sz="1600" u="none" strike="noStrike" dirty="0">
                          <a:effectLst/>
                        </a:rPr>
                        <a:t>Creación oferta SGT</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l" fontAlgn="b"/>
                      <a:endParaRPr lang="es-E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s-E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rtl="0" fontAlgn="ctr"/>
                      <a:r>
                        <a:rPr lang="es-ES" sz="1600" u="none" strike="noStrike" dirty="0">
                          <a:effectLst/>
                        </a:rPr>
                        <a:t>A/C</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I</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l" fontAlgn="b"/>
                      <a:endParaRPr lang="es-E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s-E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rtl="0" fontAlgn="ctr"/>
                      <a:r>
                        <a:rPr lang="es-ES" sz="1600" u="none" strike="noStrike" dirty="0">
                          <a:effectLst/>
                        </a:rPr>
                        <a:t>R</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l" fontAlgn="b"/>
                      <a:endParaRPr lang="es-E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s-ES" sz="1100" b="0" i="0" u="none" strike="noStrike" dirty="0">
                        <a:solidFill>
                          <a:srgbClr val="000000"/>
                        </a:solidFill>
                        <a:effectLst/>
                        <a:latin typeface="Calibri" panose="020F0502020204030204" pitchFamily="34" charset="0"/>
                      </a:endParaRPr>
                    </a:p>
                  </a:txBody>
                  <a:tcPr marL="9525" marR="9525" marT="9525" marB="0" anchor="b">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872090842"/>
                  </a:ext>
                </a:extLst>
              </a:tr>
              <a:tr h="430922">
                <a:tc>
                  <a:txBody>
                    <a:bodyPr/>
                    <a:lstStyle/>
                    <a:p>
                      <a:pPr algn="l" fontAlgn="ctr"/>
                      <a:r>
                        <a:rPr lang="es-ES" sz="1600" u="none" strike="noStrike" dirty="0">
                          <a:effectLst/>
                        </a:rPr>
                        <a:t>Creación oferta SanTec</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A/C</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l" fontAlgn="b"/>
                      <a:endParaRPr lang="es-E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rtl="0" fontAlgn="ctr"/>
                      <a:r>
                        <a:rPr lang="es-ES" sz="1600" u="none" strike="noStrike" dirty="0">
                          <a:effectLst/>
                        </a:rPr>
                        <a:t>R</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I</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l" fontAlgn="b"/>
                      <a:endParaRPr lang="es-E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s-E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s-E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s-E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s-ES" sz="1100" b="0" i="0" u="none" strike="noStrike" dirty="0">
                        <a:solidFill>
                          <a:srgbClr val="000000"/>
                        </a:solidFill>
                        <a:effectLst/>
                        <a:latin typeface="Calibri" panose="020F0502020204030204" pitchFamily="34" charset="0"/>
                      </a:endParaRPr>
                    </a:p>
                  </a:txBody>
                  <a:tcPr marL="9525" marR="9525" marT="9525" marB="0" anchor="b">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714993342"/>
                  </a:ext>
                </a:extLst>
              </a:tr>
              <a:tr h="430922">
                <a:tc>
                  <a:txBody>
                    <a:bodyPr/>
                    <a:lstStyle/>
                    <a:p>
                      <a:pPr algn="l" fontAlgn="ctr"/>
                      <a:r>
                        <a:rPr lang="es-ES" sz="1600" u="none" strike="noStrike" dirty="0">
                          <a:effectLst/>
                        </a:rPr>
                        <a:t>Crear Namespace (PaaS)​</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s-ES" sz="1600" u="none" strike="noStrike" dirty="0">
                          <a:effectLst/>
                        </a:rPr>
                        <a:t> R</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A</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194775341"/>
                  </a:ext>
                </a:extLst>
              </a:tr>
              <a:tr h="430922">
                <a:tc>
                  <a:txBody>
                    <a:bodyPr/>
                    <a:lstStyle/>
                    <a:p>
                      <a:pPr algn="l" fontAlgn="ctr"/>
                      <a:r>
                        <a:rPr lang="es-ES" sz="1600" u="none" strike="noStrike" dirty="0">
                          <a:effectLst/>
                        </a:rPr>
                        <a:t>Aprovisionar  Entornos (Paas)​</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A</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R</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166545635"/>
                  </a:ext>
                </a:extLst>
              </a:tr>
              <a:tr h="430922">
                <a:tc>
                  <a:txBody>
                    <a:bodyPr/>
                    <a:lstStyle/>
                    <a:p>
                      <a:pPr algn="l" fontAlgn="ctr"/>
                      <a:r>
                        <a:rPr lang="es-ES" sz="1600" u="none" strike="noStrike" dirty="0">
                          <a:effectLst/>
                        </a:rPr>
                        <a:t>Registrar Entornos (Paas)​</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A</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I</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I</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R</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804298921"/>
                  </a:ext>
                </a:extLst>
              </a:tr>
              <a:tr h="430922">
                <a:tc>
                  <a:txBody>
                    <a:bodyPr/>
                    <a:lstStyle/>
                    <a:p>
                      <a:pPr algn="l" fontAlgn="ctr"/>
                      <a:r>
                        <a:rPr lang="es-ES" sz="1600" b="0" i="0" u="none" strike="noStrike" dirty="0">
                          <a:solidFill>
                            <a:srgbClr val="000000"/>
                          </a:solidFill>
                          <a:effectLst/>
                          <a:latin typeface="Arial" panose="020B0604020202020204" pitchFamily="34" charset="0"/>
                        </a:rPr>
                        <a:t>Registrar Namespace (Paas)</a:t>
                      </a:r>
                    </a:p>
                  </a:txBody>
                  <a:tcPr marL="9525" marR="9525" marT="9525" marB="0" anchor="ctr"/>
                </a:tc>
                <a:tc>
                  <a:txBody>
                    <a:bodyPr/>
                    <a:lstStyle/>
                    <a:p>
                      <a:pPr algn="ctr" rtl="0" fontAlgn="ctr"/>
                      <a:endParaRPr lang="es-ES" sz="1600" u="none" strike="noStrike" dirty="0">
                        <a:effectLst/>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s-ES" sz="1600" b="0" i="0" u="none" strike="noStrike" dirty="0">
                          <a:solidFill>
                            <a:srgbClr val="000000"/>
                          </a:solidFill>
                          <a:effectLst/>
                          <a:latin typeface="Arial" panose="020B0604020202020204" pitchFamily="34" charset="0"/>
                        </a:rPr>
                        <a:t>A</a:t>
                      </a: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b="0" i="0" u="none" strike="noStrike" dirty="0">
                          <a:solidFill>
                            <a:srgbClr val="000000"/>
                          </a:solidFill>
                          <a:effectLst/>
                          <a:latin typeface="Arial" panose="020B0604020202020204" pitchFamily="34" charset="0"/>
                        </a:rPr>
                        <a:t>I</a:t>
                      </a: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b="0" i="0" u="none" strike="noStrike" dirty="0">
                          <a:solidFill>
                            <a:srgbClr val="000000"/>
                          </a:solidFill>
                          <a:effectLst/>
                          <a:latin typeface="Arial" panose="020B0604020202020204" pitchFamily="34" charset="0"/>
                        </a:rPr>
                        <a:t>R</a:t>
                      </a:r>
                    </a:p>
                  </a:txBody>
                  <a:tcPr marL="9525" marR="9525" marT="9525"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139263082"/>
                  </a:ext>
                </a:extLst>
              </a:tr>
              <a:tr h="430922">
                <a:tc>
                  <a:txBody>
                    <a:bodyPr/>
                    <a:lstStyle/>
                    <a:p>
                      <a:pPr algn="l" fontAlgn="ctr"/>
                      <a:r>
                        <a:rPr lang="es-ES" sz="1600" u="none" strike="noStrike" dirty="0">
                          <a:effectLst/>
                        </a:rPr>
                        <a:t>Desaprovisionar Entorno (PaaS)​</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endParaRPr lang="es-ES" sz="1600" u="none" strike="noStrike" dirty="0">
                        <a:effectLst/>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s-ES" sz="1600" b="0" i="0" u="none" strike="noStrike" dirty="0">
                          <a:solidFill>
                            <a:srgbClr val="000000"/>
                          </a:solidFill>
                          <a:effectLst/>
                          <a:latin typeface="Arial"/>
                        </a:rPr>
                        <a:t>A</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I</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I/C</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R</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325560235"/>
                  </a:ext>
                </a:extLst>
              </a:tr>
              <a:tr h="430922">
                <a:tc>
                  <a:txBody>
                    <a:bodyPr/>
                    <a:lstStyle/>
                    <a:p>
                      <a:pPr algn="l" fontAlgn="ctr"/>
                      <a:r>
                        <a:rPr lang="es-ES" sz="1600" u="none" strike="noStrike" dirty="0">
                          <a:effectLst/>
                        </a:rPr>
                        <a:t>Aprovisionar Entornos Cloud Privada (IaaS)</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A</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R</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255048242"/>
                  </a:ext>
                </a:extLst>
              </a:tr>
              <a:tr h="430922">
                <a:tc>
                  <a:txBody>
                    <a:bodyPr/>
                    <a:lstStyle/>
                    <a:p>
                      <a:pPr algn="l" fontAlgn="ctr"/>
                      <a:r>
                        <a:rPr lang="es-ES" sz="1600" u="none" strike="noStrike" dirty="0">
                          <a:effectLst/>
                        </a:rPr>
                        <a:t>Registrar Entornos Cloud Privada (IaaS)</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A</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I</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I</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R</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925793656"/>
                  </a:ext>
                </a:extLst>
              </a:tr>
              <a:tr h="430922">
                <a:tc>
                  <a:txBody>
                    <a:bodyPr/>
                    <a:lstStyle/>
                    <a:p>
                      <a:pPr algn="l" fontAlgn="ctr"/>
                      <a:r>
                        <a:rPr lang="es-ES" sz="1600" u="none" strike="noStrike" dirty="0">
                          <a:effectLst/>
                        </a:rPr>
                        <a:t>Configuración Cloud Privada (IaaS)</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A</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I</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R</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773523090"/>
                  </a:ext>
                </a:extLst>
              </a:tr>
              <a:tr h="430922">
                <a:tc>
                  <a:txBody>
                    <a:bodyPr/>
                    <a:lstStyle/>
                    <a:p>
                      <a:pPr algn="l" fontAlgn="ctr"/>
                      <a:r>
                        <a:rPr lang="es-ES" sz="1600" u="none" strike="noStrike" dirty="0">
                          <a:effectLst/>
                        </a:rPr>
                        <a:t>Desaprovisionar Entorno Cloud Privada (IaaS)</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A</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s-ES" sz="1600" u="none" strike="noStrike" dirty="0">
                          <a:effectLst/>
                        </a:rPr>
                        <a:t>A</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I</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I/C</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R</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289575128"/>
                  </a:ext>
                </a:extLst>
              </a:tr>
              <a:tr h="430922">
                <a:tc>
                  <a:txBody>
                    <a:bodyPr/>
                    <a:lstStyle/>
                    <a:p>
                      <a:pPr algn="l" fontAlgn="ctr"/>
                      <a:r>
                        <a:rPr lang="es-ES" sz="1600" u="none" strike="noStrike" dirty="0">
                          <a:effectLst/>
                        </a:rPr>
                        <a:t>Definir Scripts Autoprovisión  Cloud Publica (IaaS)</a:t>
                      </a: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bg1"/>
                    </a:solidFill>
                  </a:tcPr>
                </a:tc>
                <a:tc>
                  <a:txBody>
                    <a:bodyPr/>
                    <a:lstStyle/>
                    <a:p>
                      <a:pPr algn="ctr" rtl="0" fontAlgn="ctr"/>
                      <a:r>
                        <a:rPr lang="es-ES" sz="1600" b="0" i="0" u="none" strike="noStrike" dirty="0">
                          <a:solidFill>
                            <a:srgbClr val="000000"/>
                          </a:solidFill>
                          <a:effectLst/>
                          <a:latin typeface="Arial" panose="020B0604020202020204" pitchFamily="34" charset="0"/>
                        </a:rPr>
                        <a:t>R</a:t>
                      </a:r>
                    </a:p>
                  </a:txBody>
                  <a:tcPr marL="9525" marR="9525" marT="9525" marB="0" anchor="ctr">
                    <a:solidFill>
                      <a:schemeClr val="bg1"/>
                    </a:solidFill>
                  </a:tcPr>
                </a:tc>
                <a:tc>
                  <a:txBody>
                    <a:bodyPr/>
                    <a:lstStyle/>
                    <a:p>
                      <a:pPr algn="ctr" fontAlgn="ctr"/>
                      <a:r>
                        <a:rPr lang="es-ES" sz="1600" b="0" i="0" u="none" strike="noStrike" dirty="0">
                          <a:solidFill>
                            <a:srgbClr val="000000"/>
                          </a:solidFill>
                          <a:effectLst/>
                          <a:latin typeface="Arial" panose="020B0604020202020204" pitchFamily="34" charset="0"/>
                        </a:rPr>
                        <a:t>C</a:t>
                      </a:r>
                    </a:p>
                  </a:txBody>
                  <a:tcPr marL="9525" marR="9525" marT="9525" marB="0" anchor="ctr">
                    <a:solidFill>
                      <a:schemeClr val="bg1"/>
                    </a:solidFill>
                  </a:tcP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bg1"/>
                    </a:solidFill>
                  </a:tcPr>
                </a:tc>
                <a:tc>
                  <a:txBody>
                    <a:bodyPr/>
                    <a:lstStyle/>
                    <a:p>
                      <a:pPr algn="ctr" fontAlgn="ctr"/>
                      <a:r>
                        <a:rPr lang="es-ES" sz="1600" b="0" i="0" u="none" strike="noStrike" dirty="0">
                          <a:solidFill>
                            <a:srgbClr val="000000"/>
                          </a:solidFill>
                          <a:effectLst/>
                          <a:latin typeface="Arial" panose="020B0604020202020204" pitchFamily="34" charset="0"/>
                        </a:rPr>
                        <a:t>A</a:t>
                      </a:r>
                    </a:p>
                  </a:txBody>
                  <a:tcPr marL="9525" marR="9525" marT="9525" marB="0" anchor="ctr">
                    <a:solidFill>
                      <a:schemeClr val="bg1"/>
                    </a:solidFill>
                  </a:tcP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bg1"/>
                    </a:solidFill>
                  </a:tcP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bg1"/>
                    </a:solidFill>
                  </a:tcP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bg1"/>
                    </a:solidFill>
                  </a:tcP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bg1"/>
                    </a:solidFill>
                  </a:tcP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3773319850"/>
                  </a:ext>
                </a:extLst>
              </a:tr>
              <a:tr h="430922">
                <a:tc>
                  <a:txBody>
                    <a:bodyPr/>
                    <a:lstStyle/>
                    <a:p>
                      <a:pPr algn="l" fontAlgn="ctr"/>
                      <a:r>
                        <a:rPr lang="es-ES" sz="1600" u="none" strike="noStrike" dirty="0">
                          <a:effectLst/>
                        </a:rPr>
                        <a:t>Ejecutar Scripts Autoprovisión Automáticamente  Cloud Publica (IaaS)</a:t>
                      </a: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bg1"/>
                    </a:solidFill>
                  </a:tcPr>
                </a:tc>
                <a:tc>
                  <a:txBody>
                    <a:bodyPr/>
                    <a:lstStyle/>
                    <a:p>
                      <a:pPr algn="ctr" rtl="0" fontAlgn="ctr"/>
                      <a:r>
                        <a:rPr lang="es-ES" sz="1600" b="0" i="0" u="none" strike="noStrike" dirty="0">
                          <a:solidFill>
                            <a:srgbClr val="000000"/>
                          </a:solidFill>
                          <a:effectLst/>
                          <a:latin typeface="Arial" panose="020B0604020202020204" pitchFamily="34" charset="0"/>
                        </a:rPr>
                        <a:t>R</a:t>
                      </a:r>
                    </a:p>
                  </a:txBody>
                  <a:tcPr marL="9525" marR="9525" marT="9525" marB="0" anchor="ctr">
                    <a:solidFill>
                      <a:schemeClr val="bg1"/>
                    </a:solidFill>
                  </a:tcPr>
                </a:tc>
                <a:tc>
                  <a:txBody>
                    <a:bodyPr/>
                    <a:lstStyle/>
                    <a:p>
                      <a:pPr algn="ctr" fontAlgn="ctr"/>
                      <a:r>
                        <a:rPr lang="es-ES" sz="1600" b="0" i="0" u="none" strike="noStrike" dirty="0">
                          <a:solidFill>
                            <a:srgbClr val="000000"/>
                          </a:solidFill>
                          <a:effectLst/>
                          <a:latin typeface="Arial" panose="020B0604020202020204" pitchFamily="34" charset="0"/>
                        </a:rPr>
                        <a:t>C</a:t>
                      </a:r>
                    </a:p>
                  </a:txBody>
                  <a:tcPr marL="9525" marR="9525" marT="9525" marB="0" anchor="ctr">
                    <a:solidFill>
                      <a:schemeClr val="bg1"/>
                    </a:solidFill>
                  </a:tcP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bg1"/>
                    </a:solidFill>
                  </a:tcPr>
                </a:tc>
                <a:tc>
                  <a:txBody>
                    <a:bodyPr/>
                    <a:lstStyle/>
                    <a:p>
                      <a:pPr algn="ctr" fontAlgn="ctr"/>
                      <a:r>
                        <a:rPr lang="es-ES" sz="1600" b="0" i="0" u="none" strike="noStrike" dirty="0">
                          <a:solidFill>
                            <a:srgbClr val="000000"/>
                          </a:solidFill>
                          <a:effectLst/>
                          <a:latin typeface="Arial" panose="020B0604020202020204" pitchFamily="34" charset="0"/>
                        </a:rPr>
                        <a:t>A</a:t>
                      </a:r>
                    </a:p>
                  </a:txBody>
                  <a:tcPr marL="9525" marR="9525" marT="9525" marB="0" anchor="ctr">
                    <a:solidFill>
                      <a:schemeClr val="bg1"/>
                    </a:solidFill>
                  </a:tcP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bg1"/>
                    </a:solidFill>
                  </a:tcP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bg1"/>
                    </a:solidFill>
                  </a:tcP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bg1"/>
                    </a:solidFill>
                  </a:tcP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bg1"/>
                    </a:solidFill>
                  </a:tcP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3331219726"/>
                  </a:ext>
                </a:extLst>
              </a:tr>
              <a:tr h="430922">
                <a:tc>
                  <a:txBody>
                    <a:bodyPr/>
                    <a:lstStyle/>
                    <a:p>
                      <a:pPr algn="l" fontAlgn="ctr"/>
                      <a:r>
                        <a:rPr lang="es-ES" sz="1600" u="none" strike="noStrike" dirty="0">
                          <a:effectLst/>
                        </a:rPr>
                        <a:t>Ejecutar Scripts Autoprovisión Manualmente  Cloud Publica (IaaS)</a:t>
                      </a: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bg1"/>
                    </a:solidFill>
                  </a:tcP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bg1"/>
                    </a:solidFill>
                  </a:tcPr>
                </a:tc>
                <a:tc>
                  <a:txBody>
                    <a:bodyPr/>
                    <a:lstStyle/>
                    <a:p>
                      <a:pPr algn="ctr" fontAlgn="ctr"/>
                      <a:r>
                        <a:rPr lang="es-ES" sz="1600" b="0" i="0" u="none" strike="noStrike" dirty="0">
                          <a:solidFill>
                            <a:srgbClr val="000000"/>
                          </a:solidFill>
                          <a:effectLst/>
                          <a:latin typeface="Arial" panose="020B0604020202020204" pitchFamily="34" charset="0"/>
                        </a:rPr>
                        <a:t>C</a:t>
                      </a:r>
                    </a:p>
                  </a:txBody>
                  <a:tcPr marL="9525" marR="9525" marT="9525" marB="0" anchor="ctr">
                    <a:solidFill>
                      <a:schemeClr val="bg1"/>
                    </a:solidFill>
                  </a:tcP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bg1"/>
                    </a:solidFill>
                  </a:tcPr>
                </a:tc>
                <a:tc>
                  <a:txBody>
                    <a:bodyPr/>
                    <a:lstStyle/>
                    <a:p>
                      <a:pPr algn="ctr" fontAlgn="ctr"/>
                      <a:r>
                        <a:rPr lang="es-ES" sz="1600" b="0" i="0" u="none" strike="noStrike" dirty="0">
                          <a:solidFill>
                            <a:srgbClr val="000000"/>
                          </a:solidFill>
                          <a:effectLst/>
                          <a:latin typeface="Arial" panose="020B0604020202020204" pitchFamily="34" charset="0"/>
                        </a:rPr>
                        <a:t>A/R</a:t>
                      </a:r>
                    </a:p>
                  </a:txBody>
                  <a:tcPr marL="9525" marR="9525" marT="9525" marB="0" anchor="ctr">
                    <a:solidFill>
                      <a:schemeClr val="bg1"/>
                    </a:solidFill>
                  </a:tcP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bg1"/>
                    </a:solidFill>
                  </a:tcP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bg1"/>
                    </a:solidFill>
                  </a:tcP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bg1"/>
                    </a:solidFill>
                  </a:tcP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bg1"/>
                    </a:solidFill>
                  </a:tcP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2439957668"/>
                  </a:ext>
                </a:extLst>
              </a:tr>
              <a:tr h="430922">
                <a:tc>
                  <a:txBody>
                    <a:bodyPr/>
                    <a:lstStyle/>
                    <a:p>
                      <a:pPr algn="l" fontAlgn="ctr"/>
                      <a:r>
                        <a:rPr lang="es-ES" sz="1600" u="none" strike="noStrike" dirty="0">
                          <a:effectLst/>
                        </a:rPr>
                        <a:t>Gestionar Scripts Autoprovisión Cloud Publica (IaaS)</a:t>
                      </a: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bg1"/>
                    </a:solidFill>
                  </a:tcP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bg1"/>
                    </a:solidFill>
                  </a:tcPr>
                </a:tc>
                <a:tc>
                  <a:txBody>
                    <a:bodyPr/>
                    <a:lstStyle/>
                    <a:p>
                      <a:pPr algn="ctr" fontAlgn="ctr"/>
                      <a:r>
                        <a:rPr lang="es-ES" sz="1600" b="0" i="0" u="none" strike="noStrike" dirty="0">
                          <a:solidFill>
                            <a:srgbClr val="000000"/>
                          </a:solidFill>
                          <a:effectLst/>
                          <a:latin typeface="Arial" panose="020B0604020202020204" pitchFamily="34" charset="0"/>
                        </a:rPr>
                        <a:t>C</a:t>
                      </a:r>
                    </a:p>
                  </a:txBody>
                  <a:tcPr marL="9525" marR="9525" marT="9525" marB="0" anchor="ctr">
                    <a:solidFill>
                      <a:schemeClr val="bg1"/>
                    </a:solidFill>
                  </a:tcP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bg1"/>
                    </a:solidFill>
                  </a:tcPr>
                </a:tc>
                <a:tc>
                  <a:txBody>
                    <a:bodyPr/>
                    <a:lstStyle/>
                    <a:p>
                      <a:pPr algn="ctr" fontAlgn="ctr"/>
                      <a:r>
                        <a:rPr lang="es-ES" sz="1600" b="0" i="0" u="none" strike="noStrike" dirty="0">
                          <a:solidFill>
                            <a:srgbClr val="000000"/>
                          </a:solidFill>
                          <a:effectLst/>
                          <a:latin typeface="Arial" panose="020B0604020202020204" pitchFamily="34" charset="0"/>
                        </a:rPr>
                        <a:t>A/R</a:t>
                      </a:r>
                    </a:p>
                  </a:txBody>
                  <a:tcPr marL="9525" marR="9525" marT="9525" marB="0" anchor="ctr">
                    <a:solidFill>
                      <a:schemeClr val="bg1"/>
                    </a:solidFill>
                  </a:tcP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bg1"/>
                    </a:solidFill>
                  </a:tcP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bg1"/>
                    </a:solidFill>
                  </a:tcP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bg1"/>
                    </a:solidFill>
                  </a:tcP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solidFill>
                      <a:schemeClr val="bg1"/>
                    </a:solidFill>
                  </a:tcP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636670574"/>
                  </a:ext>
                </a:extLst>
              </a:tr>
              <a:tr h="430922">
                <a:tc>
                  <a:txBody>
                    <a:bodyPr/>
                    <a:lstStyle/>
                    <a:p>
                      <a:pPr algn="l" fontAlgn="ctr"/>
                      <a:r>
                        <a:rPr lang="es-ES" sz="1600" u="none" strike="noStrike" dirty="0">
                          <a:effectLst/>
                        </a:rPr>
                        <a:t>Aprovisionar Entornos (On Premise)​</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A</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R</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47526775"/>
                  </a:ext>
                </a:extLst>
              </a:tr>
              <a:tr h="430922">
                <a:tc>
                  <a:txBody>
                    <a:bodyPr/>
                    <a:lstStyle/>
                    <a:p>
                      <a:pPr algn="l" fontAlgn="ctr"/>
                      <a:r>
                        <a:rPr lang="es-ES" sz="1600" u="none" strike="noStrike" dirty="0">
                          <a:effectLst/>
                        </a:rPr>
                        <a:t>Registrar Entornos (On Premise)​</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A</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I</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I</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R</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981144727"/>
                  </a:ext>
                </a:extLst>
              </a:tr>
              <a:tr h="430922">
                <a:tc>
                  <a:txBody>
                    <a:bodyPr/>
                    <a:lstStyle/>
                    <a:p>
                      <a:pPr algn="l" fontAlgn="ctr"/>
                      <a:r>
                        <a:rPr lang="es-ES" sz="1600" u="none" strike="noStrike" dirty="0">
                          <a:effectLst/>
                        </a:rPr>
                        <a:t>Configuración &amp; Gestión versiones (On Premise)​</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A</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I</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R</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4483486"/>
                  </a:ext>
                </a:extLst>
              </a:tr>
              <a:tr h="430922">
                <a:tc>
                  <a:txBody>
                    <a:bodyPr/>
                    <a:lstStyle/>
                    <a:p>
                      <a:pPr algn="l" fontAlgn="ctr"/>
                      <a:r>
                        <a:rPr lang="es-ES" sz="1600" u="none" strike="noStrike" dirty="0">
                          <a:effectLst/>
                        </a:rPr>
                        <a:t>Desaprovisionar Entorno (On Premise)​</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A</a:t>
                      </a: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s-ES" sz="1600" u="none" strike="noStrike" dirty="0">
                          <a:effectLst/>
                        </a:rPr>
                        <a:t>A</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I</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I/C</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R</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186679974"/>
                  </a:ext>
                </a:extLst>
              </a:tr>
              <a:tr h="430922">
                <a:tc>
                  <a:txBody>
                    <a:bodyPr/>
                    <a:lstStyle/>
                    <a:p>
                      <a:pPr algn="l" fontAlgn="ctr"/>
                      <a:r>
                        <a:rPr lang="es-ES" sz="1600" u="none" strike="noStrike" dirty="0">
                          <a:effectLst/>
                        </a:rPr>
                        <a:t>Entregar provision a Proyecto​</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I</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s-ES" sz="1600" u="none" strike="noStrike" dirty="0">
                          <a:effectLst/>
                        </a:rPr>
                        <a:t>A/R</a:t>
                      </a: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lnB w="12700" cap="flat" cmpd="sng" algn="ctr">
                      <a:solidFill>
                        <a:schemeClr val="tx1"/>
                      </a:solidFill>
                      <a:prstDash val="solid"/>
                      <a:round/>
                      <a:headEnd type="none" w="med" len="med"/>
                      <a:tailEnd type="none" w="med" len="med"/>
                    </a:lnB>
                  </a:tcP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lnB w="12700" cap="flat" cmpd="sng" algn="ctr">
                      <a:solidFill>
                        <a:schemeClr val="tx1"/>
                      </a:solidFill>
                      <a:prstDash val="solid"/>
                      <a:round/>
                      <a:headEnd type="none" w="med" len="med"/>
                      <a:tailEnd type="none" w="med" len="med"/>
                    </a:lnB>
                  </a:tcPr>
                </a:tc>
                <a:tc>
                  <a:txBody>
                    <a:bodyPr/>
                    <a:lstStyle/>
                    <a:p>
                      <a:pPr algn="ctr" fontAlgn="ctr"/>
                      <a:endParaRPr lang="es-ES" sz="1600" b="0" i="0" u="none" strike="noStrike" dirty="0">
                        <a:solidFill>
                          <a:srgbClr val="000000"/>
                        </a:solidFill>
                        <a:effectLst/>
                        <a:latin typeface="Arial" panose="020B0604020202020204" pitchFamily="34" charset="0"/>
                      </a:endParaRPr>
                    </a:p>
                  </a:txBody>
                  <a:tcPr marL="9525" marR="9525" marT="9525"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94838033"/>
                  </a:ext>
                </a:extLst>
              </a:tr>
            </a:tbl>
          </a:graphicData>
        </a:graphic>
      </p:graphicFrame>
    </p:spTree>
    <p:extLst>
      <p:ext uri="{BB962C8B-B14F-4D97-AF65-F5344CB8AC3E}">
        <p14:creationId xmlns:p14="http://schemas.microsoft.com/office/powerpoint/2010/main" val="5107092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162A749-145E-45A9-A608-94CDAC2EE459}"/>
              </a:ext>
            </a:extLst>
          </p:cNvPr>
          <p:cNvSpPr txBox="1"/>
          <p:nvPr/>
        </p:nvSpPr>
        <p:spPr>
          <a:xfrm>
            <a:off x="650240" y="541319"/>
            <a:ext cx="22611504" cy="2000548"/>
          </a:xfrm>
          <a:prstGeom prst="rect">
            <a:avLst/>
          </a:prstGeom>
          <a:noFill/>
        </p:spPr>
        <p:txBody>
          <a:bodyPr wrap="square" rtlCol="0" anchor="t">
            <a:spAutoFit/>
          </a:bodyPr>
          <a:lstStyle/>
          <a:p>
            <a:pPr algn="l"/>
            <a:r>
              <a:rPr lang="en-GB" sz="4000" b="1" kern="1200" dirty="0">
                <a:solidFill>
                  <a:srgbClr val="C00000"/>
                </a:solidFill>
              </a:rPr>
              <a:t>Aprovisionamiento &amp; Ejecución Automática</a:t>
            </a:r>
            <a:r>
              <a:rPr lang="en-US" sz="4000" b="1" kern="1200" dirty="0">
                <a:solidFill>
                  <a:srgbClr val="C00000"/>
                </a:solidFill>
              </a:rPr>
              <a:t> </a:t>
            </a:r>
            <a:r>
              <a:rPr lang="en-US" sz="2800" kern="1200" dirty="0">
                <a:solidFill>
                  <a:srgbClr val="C00000"/>
                </a:solidFill>
              </a:rPr>
              <a:t>Aprovisionamiento de Entornos de Plataforma</a:t>
            </a:r>
          </a:p>
          <a:p>
            <a:pPr algn="l"/>
            <a:r>
              <a:rPr lang="es-ES" altLang="en-US" sz="2800" kern="1200" dirty="0">
                <a:solidFill>
                  <a:schemeClr val="tx1"/>
                </a:solidFill>
              </a:rPr>
              <a:t>Vista de Procesos</a:t>
            </a:r>
            <a:endParaRPr lang="en-US" altLang="en-US" sz="2800" kern="1200" dirty="0">
              <a:solidFill>
                <a:schemeClr val="tx1"/>
              </a:solidFill>
            </a:endParaRPr>
          </a:p>
          <a:p>
            <a:pPr algn="l"/>
            <a:r>
              <a:rPr lang="en-US" sz="2800" kern="1200" dirty="0">
                <a:solidFill>
                  <a:srgbClr val="C00000"/>
                </a:solidFill>
                <a:latin typeface="IBM Plex Sans"/>
              </a:rPr>
              <a:t> </a:t>
            </a:r>
            <a:endParaRPr lang="en-US" altLang="en-US" sz="2800" kern="1200" dirty="0">
              <a:solidFill>
                <a:srgbClr val="C00000"/>
              </a:solidFill>
              <a:latin typeface="IBM Plex Sans"/>
            </a:endParaRPr>
          </a:p>
          <a:p>
            <a:pPr algn="l"/>
            <a:endParaRPr lang="en-US" sz="2800" kern="1200" dirty="0">
              <a:solidFill>
                <a:srgbClr val="C00000"/>
              </a:solidFill>
              <a:latin typeface="IBM Plex Sans"/>
            </a:endParaRPr>
          </a:p>
        </p:txBody>
      </p:sp>
      <p:pic>
        <p:nvPicPr>
          <p:cNvPr id="6" name="New picture">
            <a:extLst>
              <a:ext uri="{FF2B5EF4-FFF2-40B4-BE49-F238E27FC236}">
                <a16:creationId xmlns:a16="http://schemas.microsoft.com/office/drawing/2014/main" id="{A53D62FE-5BFC-4830-A7C5-FECFFE1DB8D3}"/>
              </a:ext>
            </a:extLst>
          </p:cNvPr>
          <p:cNvPicPr/>
          <p:nvPr/>
        </p:nvPicPr>
        <p:blipFill rotWithShape="1">
          <a:blip r:embed="rId3"/>
          <a:srcRect b="21535"/>
          <a:stretch/>
        </p:blipFill>
        <p:spPr>
          <a:xfrm>
            <a:off x="1760888" y="1955800"/>
            <a:ext cx="20862223" cy="10569324"/>
          </a:xfrm>
          <a:prstGeom prst="rect">
            <a:avLst/>
          </a:prstGeom>
        </p:spPr>
      </p:pic>
    </p:spTree>
    <p:extLst>
      <p:ext uri="{BB962C8B-B14F-4D97-AF65-F5344CB8AC3E}">
        <p14:creationId xmlns:p14="http://schemas.microsoft.com/office/powerpoint/2010/main" val="35656644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162A749-145E-45A9-A608-94CDAC2EE459}"/>
              </a:ext>
            </a:extLst>
          </p:cNvPr>
          <p:cNvSpPr txBox="1"/>
          <p:nvPr/>
        </p:nvSpPr>
        <p:spPr>
          <a:xfrm>
            <a:off x="650240" y="541319"/>
            <a:ext cx="22611504" cy="2000548"/>
          </a:xfrm>
          <a:prstGeom prst="rect">
            <a:avLst/>
          </a:prstGeom>
          <a:noFill/>
        </p:spPr>
        <p:txBody>
          <a:bodyPr wrap="square" rtlCol="0" anchor="t">
            <a:spAutoFit/>
          </a:bodyPr>
          <a:lstStyle/>
          <a:p>
            <a:pPr algn="l"/>
            <a:r>
              <a:rPr lang="en-GB" sz="4000" b="1" kern="1200" dirty="0">
                <a:solidFill>
                  <a:srgbClr val="C00000"/>
                </a:solidFill>
              </a:rPr>
              <a:t>Aprovisionamiento &amp; Ejecución Automática</a:t>
            </a:r>
            <a:r>
              <a:rPr lang="en-US" sz="4000" b="1" kern="1200" dirty="0">
                <a:solidFill>
                  <a:srgbClr val="C00000"/>
                </a:solidFill>
              </a:rPr>
              <a:t> </a:t>
            </a:r>
            <a:r>
              <a:rPr lang="en-US" sz="2800" kern="1200" dirty="0">
                <a:solidFill>
                  <a:srgbClr val="C00000"/>
                </a:solidFill>
              </a:rPr>
              <a:t>Aprovisionamiento de Entornos de Plataforma</a:t>
            </a:r>
          </a:p>
          <a:p>
            <a:pPr algn="l"/>
            <a:r>
              <a:rPr lang="es-ES" altLang="en-US" sz="2800" kern="1200" dirty="0">
                <a:solidFill>
                  <a:schemeClr val="tx1"/>
                </a:solidFill>
              </a:rPr>
              <a:t>Vista de Procesos</a:t>
            </a:r>
            <a:endParaRPr lang="en-US" altLang="en-US" sz="2800" kern="1200" dirty="0">
              <a:solidFill>
                <a:schemeClr val="tx1"/>
              </a:solidFill>
            </a:endParaRPr>
          </a:p>
          <a:p>
            <a:pPr algn="l"/>
            <a:r>
              <a:rPr lang="en-US" sz="2800" kern="1200" dirty="0">
                <a:solidFill>
                  <a:srgbClr val="C00000"/>
                </a:solidFill>
                <a:latin typeface="IBM Plex Sans"/>
              </a:rPr>
              <a:t> </a:t>
            </a:r>
            <a:endParaRPr lang="en-US" altLang="en-US" sz="2800" kern="1200" dirty="0">
              <a:solidFill>
                <a:srgbClr val="C00000"/>
              </a:solidFill>
              <a:latin typeface="IBM Plex Sans"/>
            </a:endParaRPr>
          </a:p>
          <a:p>
            <a:pPr algn="l"/>
            <a:endParaRPr lang="en-US" sz="2800" kern="1200" dirty="0">
              <a:solidFill>
                <a:srgbClr val="C00000"/>
              </a:solidFill>
              <a:latin typeface="IBM Plex Sans"/>
            </a:endParaRPr>
          </a:p>
        </p:txBody>
      </p:sp>
      <p:sp>
        <p:nvSpPr>
          <p:cNvPr id="22" name="TextBox 27">
            <a:extLst>
              <a:ext uri="{FF2B5EF4-FFF2-40B4-BE49-F238E27FC236}">
                <a16:creationId xmlns:a16="http://schemas.microsoft.com/office/drawing/2014/main" id="{82C5C477-E5BF-4BDE-890D-48B53289BB51}"/>
              </a:ext>
            </a:extLst>
          </p:cNvPr>
          <p:cNvSpPr txBox="1">
            <a:spLocks noChangeArrowheads="1"/>
          </p:cNvSpPr>
          <p:nvPr/>
        </p:nvSpPr>
        <p:spPr bwMode="auto">
          <a:xfrm>
            <a:off x="1140883" y="7935102"/>
            <a:ext cx="1851470" cy="34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a:r>
              <a:rPr lang="en-US" sz="2000" dirty="0">
                <a:solidFill>
                  <a:srgbClr val="C00000"/>
                </a:solidFill>
                <a:cs typeface="Arial" panose="020B0604020202020204" pitchFamily="34" charset="0"/>
              </a:rPr>
              <a:t>Informed</a:t>
            </a: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r>
              <a:rPr lang="en-US" sz="2000" dirty="0">
                <a:solidFill>
                  <a:srgbClr val="C00000"/>
                </a:solidFill>
                <a:cs typeface="Arial" panose="020B0604020202020204" pitchFamily="34" charset="0"/>
              </a:rPr>
              <a:t>Accountable</a:t>
            </a: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r>
              <a:rPr lang="en-US" altLang="en-US" sz="2000" dirty="0">
                <a:solidFill>
                  <a:srgbClr val="C00000"/>
                </a:solidFill>
                <a:cs typeface="Arial" panose="020B0604020202020204" pitchFamily="34" charset="0"/>
              </a:rPr>
              <a:t>Consulted</a:t>
            </a:r>
          </a:p>
        </p:txBody>
      </p:sp>
      <p:pic>
        <p:nvPicPr>
          <p:cNvPr id="24" name="Graphic 6" descr="Handshake">
            <a:extLst>
              <a:ext uri="{FF2B5EF4-FFF2-40B4-BE49-F238E27FC236}">
                <a16:creationId xmlns:a16="http://schemas.microsoft.com/office/drawing/2014/main" id="{B932541B-6821-4C62-9425-7783143AA28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7146" y="10546135"/>
            <a:ext cx="788947" cy="788947"/>
          </a:xfrm>
          <a:prstGeom prst="rect">
            <a:avLst/>
          </a:prstGeom>
        </p:spPr>
      </p:pic>
      <p:pic>
        <p:nvPicPr>
          <p:cNvPr id="25" name="Graphic 26" descr="Research">
            <a:extLst>
              <a:ext uri="{FF2B5EF4-FFF2-40B4-BE49-F238E27FC236}">
                <a16:creationId xmlns:a16="http://schemas.microsoft.com/office/drawing/2014/main" id="{9796D44A-E02B-4E15-9ED8-1799679A51D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0876" y="8982625"/>
            <a:ext cx="741219" cy="741219"/>
          </a:xfrm>
          <a:prstGeom prst="rect">
            <a:avLst/>
          </a:prstGeom>
        </p:spPr>
      </p:pic>
      <p:pic>
        <p:nvPicPr>
          <p:cNvPr id="26" name="Graphic 34" descr="Information">
            <a:extLst>
              <a:ext uri="{FF2B5EF4-FFF2-40B4-BE49-F238E27FC236}">
                <a16:creationId xmlns:a16="http://schemas.microsoft.com/office/drawing/2014/main" id="{B8A7F582-9324-43EC-9428-5095B4C65C3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94255" y="7445529"/>
            <a:ext cx="747097" cy="747097"/>
          </a:xfrm>
          <a:prstGeom prst="rect">
            <a:avLst/>
          </a:prstGeom>
        </p:spPr>
      </p:pic>
      <p:sp>
        <p:nvSpPr>
          <p:cNvPr id="27" name="Rectángulo 26">
            <a:extLst>
              <a:ext uri="{FF2B5EF4-FFF2-40B4-BE49-F238E27FC236}">
                <a16:creationId xmlns:a16="http://schemas.microsoft.com/office/drawing/2014/main" id="{C931EFBD-7F8C-4C4E-A451-C541D014CCF8}"/>
              </a:ext>
            </a:extLst>
          </p:cNvPr>
          <p:cNvSpPr/>
          <p:nvPr/>
        </p:nvSpPr>
        <p:spPr>
          <a:xfrm>
            <a:off x="3386474" y="6876299"/>
            <a:ext cx="4831253" cy="2408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8" name="CuadroTexto 27">
            <a:extLst>
              <a:ext uri="{FF2B5EF4-FFF2-40B4-BE49-F238E27FC236}">
                <a16:creationId xmlns:a16="http://schemas.microsoft.com/office/drawing/2014/main" id="{7E35124F-FBE5-4C5D-8F08-2A038C2AB4A5}"/>
              </a:ext>
            </a:extLst>
          </p:cNvPr>
          <p:cNvSpPr txBox="1"/>
          <p:nvPr/>
        </p:nvSpPr>
        <p:spPr>
          <a:xfrm>
            <a:off x="3386474" y="6260281"/>
            <a:ext cx="5029200" cy="461665"/>
          </a:xfrm>
          <a:prstGeom prst="rect">
            <a:avLst/>
          </a:prstGeom>
          <a:noFill/>
        </p:spPr>
        <p:txBody>
          <a:bodyPr wrap="square" rtlCol="0">
            <a:spAutoFit/>
          </a:bodyPr>
          <a:lstStyle/>
          <a:p>
            <a:pPr algn="l"/>
            <a:r>
              <a:rPr lang="es-ES" sz="2400" b="1" dirty="0">
                <a:solidFill>
                  <a:srgbClr val="C00000"/>
                </a:solidFill>
              </a:rPr>
              <a:t>Enviar DTI Aprobado</a:t>
            </a:r>
            <a:endParaRPr lang="es-ES" b="1" dirty="0">
              <a:solidFill>
                <a:srgbClr val="C00000"/>
              </a:solidFill>
            </a:endParaRPr>
          </a:p>
        </p:txBody>
      </p:sp>
      <p:sp>
        <p:nvSpPr>
          <p:cNvPr id="29" name="CuadroTexto 28">
            <a:extLst>
              <a:ext uri="{FF2B5EF4-FFF2-40B4-BE49-F238E27FC236}">
                <a16:creationId xmlns:a16="http://schemas.microsoft.com/office/drawing/2014/main" id="{62D73DFC-7E17-42B9-8BC0-F17C4FD4042B}"/>
              </a:ext>
            </a:extLst>
          </p:cNvPr>
          <p:cNvSpPr txBox="1"/>
          <p:nvPr/>
        </p:nvSpPr>
        <p:spPr>
          <a:xfrm>
            <a:off x="3361327" y="7352283"/>
            <a:ext cx="5654842" cy="3785652"/>
          </a:xfrm>
          <a:prstGeom prst="rect">
            <a:avLst/>
          </a:prstGeom>
          <a:noFill/>
        </p:spPr>
        <p:txBody>
          <a:bodyPr wrap="square" rtlCol="0">
            <a:spAutoFit/>
          </a:bodyPr>
          <a:lstStyle/>
          <a:p>
            <a:pPr algn="l"/>
            <a:r>
              <a:rPr lang="en-US" altLang="en-US" sz="2400" dirty="0"/>
              <a:t>Dominio de Negocio</a:t>
            </a:r>
          </a:p>
          <a:p>
            <a:pPr algn="l"/>
            <a:r>
              <a:rPr lang="en-US" altLang="en-US" sz="2400" dirty="0"/>
              <a:t>Ingenieria (SanTec)</a:t>
            </a:r>
          </a:p>
          <a:p>
            <a:pPr algn="l"/>
            <a:endParaRPr lang="en-US" altLang="en-US" sz="2400" dirty="0"/>
          </a:p>
          <a:p>
            <a:pPr algn="l"/>
            <a:endParaRPr lang="en-US" altLang="en-US" sz="2400" dirty="0"/>
          </a:p>
          <a:p>
            <a:pPr algn="l"/>
            <a:r>
              <a:rPr lang="es-ES" sz="2400" dirty="0"/>
              <a:t>Infraestructura (SanTec)</a:t>
            </a:r>
            <a:r>
              <a:rPr lang="en-US" altLang="en-US" sz="2400" dirty="0"/>
              <a:t> </a:t>
            </a:r>
          </a:p>
          <a:p>
            <a:pPr algn="l"/>
            <a:endParaRPr lang="en-US" altLang="en-US" sz="2400" dirty="0"/>
          </a:p>
          <a:p>
            <a:pPr algn="l"/>
            <a:endParaRPr lang="en-US" altLang="en-US" sz="2400" dirty="0"/>
          </a:p>
          <a:p>
            <a:pPr algn="l"/>
            <a:endParaRPr lang="en-US" altLang="en-US" sz="2400" dirty="0"/>
          </a:p>
          <a:p>
            <a:pPr algn="l"/>
            <a:r>
              <a:rPr lang="en-US" altLang="en-US" sz="2400" dirty="0"/>
              <a:t>Gestión de la Demanda (SGT)</a:t>
            </a:r>
          </a:p>
          <a:p>
            <a:pPr algn="l"/>
            <a:r>
              <a:rPr lang="es-ES" sz="2400" dirty="0"/>
              <a:t> </a:t>
            </a:r>
            <a:r>
              <a:rPr lang="en-US" altLang="en-US" sz="2400" dirty="0"/>
              <a:t> </a:t>
            </a:r>
            <a:endParaRPr lang="es-ES" sz="2400" dirty="0"/>
          </a:p>
        </p:txBody>
      </p:sp>
      <p:cxnSp>
        <p:nvCxnSpPr>
          <p:cNvPr id="30" name="Conector recto 29">
            <a:extLst>
              <a:ext uri="{FF2B5EF4-FFF2-40B4-BE49-F238E27FC236}">
                <a16:creationId xmlns:a16="http://schemas.microsoft.com/office/drawing/2014/main" id="{8D730FF9-ED70-480D-BC84-4FABE11DEFC9}"/>
              </a:ext>
            </a:extLst>
          </p:cNvPr>
          <p:cNvCxnSpPr/>
          <p:nvPr/>
        </p:nvCxnSpPr>
        <p:spPr>
          <a:xfrm>
            <a:off x="483686" y="8425282"/>
            <a:ext cx="19846064"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31" name="Conector recto 30">
            <a:extLst>
              <a:ext uri="{FF2B5EF4-FFF2-40B4-BE49-F238E27FC236}">
                <a16:creationId xmlns:a16="http://schemas.microsoft.com/office/drawing/2014/main" id="{56953FCA-38AD-41B7-8807-E201A0742669}"/>
              </a:ext>
            </a:extLst>
          </p:cNvPr>
          <p:cNvCxnSpPr/>
          <p:nvPr/>
        </p:nvCxnSpPr>
        <p:spPr>
          <a:xfrm>
            <a:off x="483686" y="9867955"/>
            <a:ext cx="19846064"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32" name="Conector recto 31">
            <a:extLst>
              <a:ext uri="{FF2B5EF4-FFF2-40B4-BE49-F238E27FC236}">
                <a16:creationId xmlns:a16="http://schemas.microsoft.com/office/drawing/2014/main" id="{5A417CFA-C439-4155-B95B-CF4A909E4D15}"/>
              </a:ext>
            </a:extLst>
          </p:cNvPr>
          <p:cNvCxnSpPr/>
          <p:nvPr/>
        </p:nvCxnSpPr>
        <p:spPr>
          <a:xfrm>
            <a:off x="483686" y="11374029"/>
            <a:ext cx="19846064"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sp>
        <p:nvSpPr>
          <p:cNvPr id="34" name="Rectángulo 33">
            <a:extLst>
              <a:ext uri="{FF2B5EF4-FFF2-40B4-BE49-F238E27FC236}">
                <a16:creationId xmlns:a16="http://schemas.microsoft.com/office/drawing/2014/main" id="{EF8B119C-ADB7-4A4F-8B53-404EE58A6AFD}"/>
              </a:ext>
            </a:extLst>
          </p:cNvPr>
          <p:cNvSpPr/>
          <p:nvPr/>
        </p:nvSpPr>
        <p:spPr>
          <a:xfrm>
            <a:off x="8457369" y="6876299"/>
            <a:ext cx="4831253" cy="2408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35" name="CuadroTexto 34">
            <a:extLst>
              <a:ext uri="{FF2B5EF4-FFF2-40B4-BE49-F238E27FC236}">
                <a16:creationId xmlns:a16="http://schemas.microsoft.com/office/drawing/2014/main" id="{B4AA83F7-8196-48B3-BB58-67C729820D5D}"/>
              </a:ext>
            </a:extLst>
          </p:cNvPr>
          <p:cNvSpPr txBox="1"/>
          <p:nvPr/>
        </p:nvSpPr>
        <p:spPr>
          <a:xfrm>
            <a:off x="8457369" y="6260281"/>
            <a:ext cx="5029200" cy="461665"/>
          </a:xfrm>
          <a:prstGeom prst="rect">
            <a:avLst/>
          </a:prstGeom>
          <a:noFill/>
        </p:spPr>
        <p:txBody>
          <a:bodyPr wrap="square" rtlCol="0">
            <a:spAutoFit/>
          </a:bodyPr>
          <a:lstStyle/>
          <a:p>
            <a:pPr algn="l"/>
            <a:r>
              <a:rPr lang="es-ES" sz="2400" b="1" dirty="0">
                <a:solidFill>
                  <a:srgbClr val="C00000"/>
                </a:solidFill>
              </a:rPr>
              <a:t>Creación oferta SanTec</a:t>
            </a:r>
            <a:endParaRPr lang="es-ES" b="1" dirty="0">
              <a:solidFill>
                <a:srgbClr val="C00000"/>
              </a:solidFill>
            </a:endParaRPr>
          </a:p>
        </p:txBody>
      </p:sp>
      <p:sp>
        <p:nvSpPr>
          <p:cNvPr id="38" name="CuadroTexto 37">
            <a:extLst>
              <a:ext uri="{FF2B5EF4-FFF2-40B4-BE49-F238E27FC236}">
                <a16:creationId xmlns:a16="http://schemas.microsoft.com/office/drawing/2014/main" id="{38FAAE53-344E-4F84-A316-5CDCB50411AD}"/>
              </a:ext>
            </a:extLst>
          </p:cNvPr>
          <p:cNvSpPr txBox="1"/>
          <p:nvPr/>
        </p:nvSpPr>
        <p:spPr>
          <a:xfrm>
            <a:off x="8457369" y="7341240"/>
            <a:ext cx="5654842" cy="3785652"/>
          </a:xfrm>
          <a:prstGeom prst="rect">
            <a:avLst/>
          </a:prstGeom>
          <a:noFill/>
        </p:spPr>
        <p:txBody>
          <a:bodyPr wrap="square" rtlCol="0">
            <a:spAutoFit/>
          </a:bodyPr>
          <a:lstStyle/>
          <a:p>
            <a:pPr algn="l"/>
            <a:r>
              <a:rPr lang="es-ES" sz="2400" dirty="0"/>
              <a:t>Ingenieria (SanTec)</a:t>
            </a:r>
          </a:p>
          <a:p>
            <a:pPr algn="l"/>
            <a:endParaRPr lang="en-US" altLang="en-US" sz="2400" dirty="0"/>
          </a:p>
          <a:p>
            <a:pPr algn="l"/>
            <a:endParaRPr lang="en-US" altLang="en-US" sz="2400" dirty="0"/>
          </a:p>
          <a:p>
            <a:pPr algn="l"/>
            <a:endParaRPr lang="en-US" altLang="en-US" sz="2400" dirty="0"/>
          </a:p>
          <a:p>
            <a:pPr algn="l"/>
            <a:r>
              <a:rPr lang="es-ES" sz="2400" dirty="0"/>
              <a:t>Dominio de Negocio</a:t>
            </a:r>
            <a:r>
              <a:rPr lang="en-US" altLang="en-US" sz="2400" dirty="0"/>
              <a:t> </a:t>
            </a:r>
          </a:p>
          <a:p>
            <a:pPr algn="l"/>
            <a:endParaRPr lang="en-US" altLang="en-US" sz="2400" dirty="0"/>
          </a:p>
          <a:p>
            <a:pPr algn="l"/>
            <a:endParaRPr lang="en-US" altLang="en-US" sz="2400" dirty="0"/>
          </a:p>
          <a:p>
            <a:pPr algn="l"/>
            <a:endParaRPr lang="en-US" altLang="en-US" sz="2400" dirty="0"/>
          </a:p>
          <a:p>
            <a:pPr algn="l"/>
            <a:r>
              <a:rPr lang="en-US" altLang="en-US" sz="2400" dirty="0"/>
              <a:t>Dominio de Negocio</a:t>
            </a:r>
          </a:p>
          <a:p>
            <a:pPr algn="l"/>
            <a:r>
              <a:rPr lang="en-US" altLang="en-US" sz="2400" dirty="0"/>
              <a:t> </a:t>
            </a:r>
            <a:endParaRPr lang="es-ES" sz="2400" dirty="0"/>
          </a:p>
        </p:txBody>
      </p:sp>
      <p:sp>
        <p:nvSpPr>
          <p:cNvPr id="40" name="Rectángulo 39">
            <a:extLst>
              <a:ext uri="{FF2B5EF4-FFF2-40B4-BE49-F238E27FC236}">
                <a16:creationId xmlns:a16="http://schemas.microsoft.com/office/drawing/2014/main" id="{8008703F-504C-46A2-A2CB-95A568590885}"/>
              </a:ext>
            </a:extLst>
          </p:cNvPr>
          <p:cNvSpPr/>
          <p:nvPr/>
        </p:nvSpPr>
        <p:spPr>
          <a:xfrm>
            <a:off x="13496308" y="6902422"/>
            <a:ext cx="4831253" cy="2408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1" name="CuadroTexto 40">
            <a:extLst>
              <a:ext uri="{FF2B5EF4-FFF2-40B4-BE49-F238E27FC236}">
                <a16:creationId xmlns:a16="http://schemas.microsoft.com/office/drawing/2014/main" id="{9DD209CB-B205-41B0-9707-09FA8AB2B442}"/>
              </a:ext>
            </a:extLst>
          </p:cNvPr>
          <p:cNvSpPr txBox="1"/>
          <p:nvPr/>
        </p:nvSpPr>
        <p:spPr>
          <a:xfrm>
            <a:off x="13496308" y="6286404"/>
            <a:ext cx="5029200" cy="461665"/>
          </a:xfrm>
          <a:prstGeom prst="rect">
            <a:avLst/>
          </a:prstGeom>
          <a:noFill/>
        </p:spPr>
        <p:txBody>
          <a:bodyPr wrap="square" rtlCol="0">
            <a:spAutoFit/>
          </a:bodyPr>
          <a:lstStyle/>
          <a:p>
            <a:pPr algn="l"/>
            <a:r>
              <a:rPr lang="es-ES" sz="2400" b="1" dirty="0">
                <a:solidFill>
                  <a:srgbClr val="C00000"/>
                </a:solidFill>
              </a:rPr>
              <a:t>Entrega Provisión a Proyecto</a:t>
            </a:r>
            <a:endParaRPr lang="es-ES" b="1" dirty="0">
              <a:solidFill>
                <a:srgbClr val="C00000"/>
              </a:solidFill>
            </a:endParaRPr>
          </a:p>
        </p:txBody>
      </p:sp>
      <p:sp>
        <p:nvSpPr>
          <p:cNvPr id="42" name="CuadroTexto 41">
            <a:extLst>
              <a:ext uri="{FF2B5EF4-FFF2-40B4-BE49-F238E27FC236}">
                <a16:creationId xmlns:a16="http://schemas.microsoft.com/office/drawing/2014/main" id="{0925DA9B-4D13-4ACD-8DAE-B38C5F712F06}"/>
              </a:ext>
            </a:extLst>
          </p:cNvPr>
          <p:cNvSpPr txBox="1"/>
          <p:nvPr/>
        </p:nvSpPr>
        <p:spPr>
          <a:xfrm>
            <a:off x="13496308" y="7379386"/>
            <a:ext cx="5654842" cy="3046988"/>
          </a:xfrm>
          <a:prstGeom prst="rect">
            <a:avLst/>
          </a:prstGeom>
          <a:noFill/>
        </p:spPr>
        <p:txBody>
          <a:bodyPr wrap="square" rtlCol="0">
            <a:spAutoFit/>
          </a:bodyPr>
          <a:lstStyle/>
          <a:p>
            <a:pPr algn="l"/>
            <a:r>
              <a:rPr lang="es-ES" sz="2400" dirty="0"/>
              <a:t>Dominio de Negocio</a:t>
            </a:r>
          </a:p>
          <a:p>
            <a:pPr algn="l"/>
            <a:endParaRPr lang="en-US" altLang="en-US" sz="2400" dirty="0"/>
          </a:p>
          <a:p>
            <a:pPr algn="l"/>
            <a:endParaRPr lang="en-US" altLang="en-US" sz="2400" dirty="0"/>
          </a:p>
          <a:p>
            <a:pPr algn="l"/>
            <a:endParaRPr lang="en-US" altLang="en-US" sz="2400" dirty="0"/>
          </a:p>
          <a:p>
            <a:pPr algn="l"/>
            <a:r>
              <a:rPr lang="es-ES" sz="2400" dirty="0"/>
              <a:t>Infraestructura (SanTec)</a:t>
            </a:r>
            <a:r>
              <a:rPr lang="en-US" altLang="en-US" sz="2400" dirty="0"/>
              <a:t> </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endParaRPr lang="en-US" altLang="en-US" sz="2400" dirty="0"/>
          </a:p>
        </p:txBody>
      </p:sp>
      <p:sp>
        <p:nvSpPr>
          <p:cNvPr id="43" name="TextBox 27">
            <a:extLst>
              <a:ext uri="{FF2B5EF4-FFF2-40B4-BE49-F238E27FC236}">
                <a16:creationId xmlns:a16="http://schemas.microsoft.com/office/drawing/2014/main" id="{FB16320C-1FEB-4019-8898-F7FF30BDC885}"/>
              </a:ext>
            </a:extLst>
          </p:cNvPr>
          <p:cNvSpPr txBox="1">
            <a:spLocks noChangeArrowheads="1"/>
          </p:cNvSpPr>
          <p:nvPr/>
        </p:nvSpPr>
        <p:spPr bwMode="auto">
          <a:xfrm>
            <a:off x="1934085" y="5266146"/>
            <a:ext cx="8509326" cy="646331"/>
          </a:xfrm>
          <a:prstGeom prst="rect">
            <a:avLst/>
          </a:prstGeom>
          <a:noFill/>
          <a:ln>
            <a:noFill/>
          </a:ln>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eaLnBrk="1" hangingPunct="1"/>
            <a:r>
              <a:rPr lang="en-US" altLang="en-US" sz="3600" dirty="0">
                <a:solidFill>
                  <a:srgbClr val="C00000"/>
                </a:solidFill>
                <a:cs typeface="Arial" panose="020B0604020202020204" pitchFamily="34" charset="0"/>
              </a:rPr>
              <a:t>Responsible   </a:t>
            </a:r>
            <a:r>
              <a:rPr lang="en-US" altLang="en-US" sz="3200" b="0" dirty="0">
                <a:cs typeface="Arial" panose="020B0604020202020204" pitchFamily="34" charset="0"/>
              </a:rPr>
              <a:t>Infraestructura (SanTec)</a:t>
            </a:r>
          </a:p>
        </p:txBody>
      </p:sp>
      <p:pic>
        <p:nvPicPr>
          <p:cNvPr id="48" name="Picture 25">
            <a:extLst>
              <a:ext uri="{FF2B5EF4-FFF2-40B4-BE49-F238E27FC236}">
                <a16:creationId xmlns:a16="http://schemas.microsoft.com/office/drawing/2014/main" id="{397CD83B-3CB2-48B8-A5A8-283E6207891C}"/>
              </a:ext>
            </a:extLst>
          </p:cNvPr>
          <p:cNvPicPr>
            <a:picLocks noChangeAspect="1"/>
          </p:cNvPicPr>
          <p:nvPr/>
        </p:nvPicPr>
        <p:blipFill>
          <a:blip r:embed="rId9">
            <a:extLst>
              <a:ext uri="{BEBA8EAE-BF5A-486C-A8C5-ECC9F3942E4B}">
                <a14:imgProps xmlns:a14="http://schemas.microsoft.com/office/drawing/2010/main">
                  <a14:imgLayer r:embed="rId10">
                    <a14:imgEffect>
                      <a14:colorTemperature colorTemp="2300"/>
                    </a14:imgEffect>
                  </a14:imgLayer>
                </a14:imgProps>
              </a:ext>
              <a:ext uri="{28A0092B-C50C-407E-A947-70E740481C1C}">
                <a14:useLocalDpi xmlns:a14="http://schemas.microsoft.com/office/drawing/2010/main" val="0"/>
              </a:ext>
            </a:extLst>
          </a:blip>
          <a:stretch>
            <a:fillRect/>
          </a:stretch>
        </p:blipFill>
        <p:spPr>
          <a:xfrm>
            <a:off x="255221" y="4554484"/>
            <a:ext cx="1817801" cy="1817801"/>
          </a:xfrm>
          <a:prstGeom prst="rect">
            <a:avLst/>
          </a:prstGeom>
        </p:spPr>
      </p:pic>
      <p:pic>
        <p:nvPicPr>
          <p:cNvPr id="33" name="New picture">
            <a:extLst>
              <a:ext uri="{FF2B5EF4-FFF2-40B4-BE49-F238E27FC236}">
                <a16:creationId xmlns:a16="http://schemas.microsoft.com/office/drawing/2014/main" id="{9E6A74AE-8429-4B37-BB15-0A9B4AC63313}"/>
              </a:ext>
            </a:extLst>
          </p:cNvPr>
          <p:cNvPicPr/>
          <p:nvPr/>
        </p:nvPicPr>
        <p:blipFill rotWithShape="1">
          <a:blip r:embed="rId11"/>
          <a:srcRect t="-1" b="78174"/>
          <a:stretch/>
        </p:blipFill>
        <p:spPr>
          <a:xfrm>
            <a:off x="1760888" y="1955800"/>
            <a:ext cx="20862223" cy="2940050"/>
          </a:xfrm>
          <a:prstGeom prst="rect">
            <a:avLst/>
          </a:prstGeom>
        </p:spPr>
      </p:pic>
    </p:spTree>
    <p:extLst>
      <p:ext uri="{BB962C8B-B14F-4D97-AF65-F5344CB8AC3E}">
        <p14:creationId xmlns:p14="http://schemas.microsoft.com/office/powerpoint/2010/main" val="11133551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162A749-145E-45A9-A608-94CDAC2EE459}"/>
              </a:ext>
            </a:extLst>
          </p:cNvPr>
          <p:cNvSpPr txBox="1"/>
          <p:nvPr/>
        </p:nvSpPr>
        <p:spPr>
          <a:xfrm>
            <a:off x="650240" y="541319"/>
            <a:ext cx="22611504" cy="2000548"/>
          </a:xfrm>
          <a:prstGeom prst="rect">
            <a:avLst/>
          </a:prstGeom>
          <a:noFill/>
        </p:spPr>
        <p:txBody>
          <a:bodyPr wrap="square" rtlCol="0" anchor="t">
            <a:spAutoFit/>
          </a:bodyPr>
          <a:lstStyle/>
          <a:p>
            <a:pPr algn="l"/>
            <a:r>
              <a:rPr lang="en-GB" sz="4000" b="1" kern="1200" dirty="0">
                <a:solidFill>
                  <a:srgbClr val="C00000"/>
                </a:solidFill>
              </a:rPr>
              <a:t>Aprovisionamiento &amp; Ejecución Automática</a:t>
            </a:r>
            <a:r>
              <a:rPr lang="en-US" sz="4000" b="1" kern="1200" dirty="0">
                <a:solidFill>
                  <a:srgbClr val="C00000"/>
                </a:solidFill>
              </a:rPr>
              <a:t> </a:t>
            </a:r>
            <a:r>
              <a:rPr lang="en-US" sz="2800" kern="1200" dirty="0">
                <a:solidFill>
                  <a:srgbClr val="C00000"/>
                </a:solidFill>
              </a:rPr>
              <a:t>Aprovisionamiento de Entornos de Plataforma</a:t>
            </a:r>
          </a:p>
          <a:p>
            <a:pPr algn="l"/>
            <a:r>
              <a:rPr lang="es-ES" altLang="en-US" sz="2800" kern="1200" dirty="0">
                <a:solidFill>
                  <a:schemeClr val="tx1"/>
                </a:solidFill>
              </a:rPr>
              <a:t>Vista de Procesos</a:t>
            </a:r>
            <a:endParaRPr lang="en-US" altLang="en-US" sz="2800" kern="1200" dirty="0">
              <a:solidFill>
                <a:schemeClr val="tx1"/>
              </a:solidFill>
            </a:endParaRPr>
          </a:p>
          <a:p>
            <a:pPr algn="l"/>
            <a:r>
              <a:rPr lang="en-US" sz="2800" kern="1200" dirty="0">
                <a:solidFill>
                  <a:srgbClr val="C00000"/>
                </a:solidFill>
                <a:latin typeface="IBM Plex Sans"/>
              </a:rPr>
              <a:t> </a:t>
            </a:r>
            <a:endParaRPr lang="en-US" altLang="en-US" sz="2800" kern="1200" dirty="0">
              <a:solidFill>
                <a:srgbClr val="C00000"/>
              </a:solidFill>
              <a:latin typeface="IBM Plex Sans"/>
            </a:endParaRPr>
          </a:p>
          <a:p>
            <a:pPr algn="l"/>
            <a:endParaRPr lang="en-US" sz="2800" kern="1200" dirty="0">
              <a:solidFill>
                <a:srgbClr val="C00000"/>
              </a:solidFill>
              <a:latin typeface="IBM Plex Sans"/>
            </a:endParaRPr>
          </a:p>
        </p:txBody>
      </p:sp>
      <p:sp>
        <p:nvSpPr>
          <p:cNvPr id="22" name="TextBox 27">
            <a:extLst>
              <a:ext uri="{FF2B5EF4-FFF2-40B4-BE49-F238E27FC236}">
                <a16:creationId xmlns:a16="http://schemas.microsoft.com/office/drawing/2014/main" id="{C529932D-138F-4F33-86AB-00B8586251E8}"/>
              </a:ext>
            </a:extLst>
          </p:cNvPr>
          <p:cNvSpPr txBox="1">
            <a:spLocks noChangeArrowheads="1"/>
          </p:cNvSpPr>
          <p:nvPr/>
        </p:nvSpPr>
        <p:spPr bwMode="auto">
          <a:xfrm>
            <a:off x="1934085" y="5266146"/>
            <a:ext cx="8509326" cy="646331"/>
          </a:xfrm>
          <a:prstGeom prst="rect">
            <a:avLst/>
          </a:prstGeom>
          <a:noFill/>
          <a:ln>
            <a:noFill/>
          </a:ln>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eaLnBrk="1" hangingPunct="1"/>
            <a:r>
              <a:rPr lang="en-US" altLang="en-US" sz="3600" dirty="0">
                <a:solidFill>
                  <a:srgbClr val="C00000"/>
                </a:solidFill>
                <a:cs typeface="Arial" panose="020B0604020202020204" pitchFamily="34" charset="0"/>
              </a:rPr>
              <a:t>Responsible   </a:t>
            </a:r>
            <a:r>
              <a:rPr lang="en-US" altLang="en-US" sz="3200" b="0" dirty="0">
                <a:cs typeface="Arial" panose="020B0604020202020204" pitchFamily="34" charset="0"/>
              </a:rPr>
              <a:t>Arquitectura (SanTec)</a:t>
            </a:r>
          </a:p>
        </p:txBody>
      </p:sp>
      <p:sp>
        <p:nvSpPr>
          <p:cNvPr id="23" name="TextBox 27">
            <a:extLst>
              <a:ext uri="{FF2B5EF4-FFF2-40B4-BE49-F238E27FC236}">
                <a16:creationId xmlns:a16="http://schemas.microsoft.com/office/drawing/2014/main" id="{02D76486-C2F9-4108-8557-5AD0B02FA531}"/>
              </a:ext>
            </a:extLst>
          </p:cNvPr>
          <p:cNvSpPr txBox="1">
            <a:spLocks noChangeArrowheads="1"/>
          </p:cNvSpPr>
          <p:nvPr/>
        </p:nvSpPr>
        <p:spPr bwMode="auto">
          <a:xfrm>
            <a:off x="1140883" y="7935102"/>
            <a:ext cx="1851470" cy="34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a:r>
              <a:rPr lang="en-US" sz="2000" dirty="0">
                <a:solidFill>
                  <a:srgbClr val="C00000"/>
                </a:solidFill>
                <a:cs typeface="Arial" panose="020B0604020202020204" pitchFamily="34" charset="0"/>
              </a:rPr>
              <a:t>Informed</a:t>
            </a: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r>
              <a:rPr lang="en-US" sz="2000" dirty="0">
                <a:solidFill>
                  <a:srgbClr val="C00000"/>
                </a:solidFill>
                <a:cs typeface="Arial" panose="020B0604020202020204" pitchFamily="34" charset="0"/>
              </a:rPr>
              <a:t>Accountable</a:t>
            </a: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r>
              <a:rPr lang="en-US" altLang="en-US" sz="2000" dirty="0">
                <a:solidFill>
                  <a:srgbClr val="C00000"/>
                </a:solidFill>
                <a:cs typeface="Arial" panose="020B0604020202020204" pitchFamily="34" charset="0"/>
              </a:rPr>
              <a:t>Consulted</a:t>
            </a:r>
          </a:p>
        </p:txBody>
      </p:sp>
      <p:pic>
        <p:nvPicPr>
          <p:cNvPr id="25" name="Picture 25">
            <a:extLst>
              <a:ext uri="{FF2B5EF4-FFF2-40B4-BE49-F238E27FC236}">
                <a16:creationId xmlns:a16="http://schemas.microsoft.com/office/drawing/2014/main" id="{938228F8-C934-4023-A76D-19CF0EEA9EFC}"/>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2300"/>
                    </a14:imgEffect>
                  </a14:imgLayer>
                </a14:imgProps>
              </a:ext>
              <a:ext uri="{28A0092B-C50C-407E-A947-70E740481C1C}">
                <a14:useLocalDpi xmlns:a14="http://schemas.microsoft.com/office/drawing/2010/main" val="0"/>
              </a:ext>
            </a:extLst>
          </a:blip>
          <a:stretch>
            <a:fillRect/>
          </a:stretch>
        </p:blipFill>
        <p:spPr>
          <a:xfrm>
            <a:off x="255221" y="4554484"/>
            <a:ext cx="1817801" cy="1817801"/>
          </a:xfrm>
          <a:prstGeom prst="rect">
            <a:avLst/>
          </a:prstGeom>
        </p:spPr>
      </p:pic>
      <p:pic>
        <p:nvPicPr>
          <p:cNvPr id="26" name="Graphic 6" descr="Handshake">
            <a:extLst>
              <a:ext uri="{FF2B5EF4-FFF2-40B4-BE49-F238E27FC236}">
                <a16:creationId xmlns:a16="http://schemas.microsoft.com/office/drawing/2014/main" id="{34D8DC55-2F5F-4318-B822-F1C6A422038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7146" y="10546135"/>
            <a:ext cx="788947" cy="788947"/>
          </a:xfrm>
          <a:prstGeom prst="rect">
            <a:avLst/>
          </a:prstGeom>
        </p:spPr>
      </p:pic>
      <p:pic>
        <p:nvPicPr>
          <p:cNvPr id="27" name="Graphic 26" descr="Research">
            <a:extLst>
              <a:ext uri="{FF2B5EF4-FFF2-40B4-BE49-F238E27FC236}">
                <a16:creationId xmlns:a16="http://schemas.microsoft.com/office/drawing/2014/main" id="{9FE02CCD-1BBA-476F-81FD-6C5A1EFCA6F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0876" y="8982625"/>
            <a:ext cx="741219" cy="741219"/>
          </a:xfrm>
          <a:prstGeom prst="rect">
            <a:avLst/>
          </a:prstGeom>
        </p:spPr>
      </p:pic>
      <p:pic>
        <p:nvPicPr>
          <p:cNvPr id="28" name="Graphic 34" descr="Information">
            <a:extLst>
              <a:ext uri="{FF2B5EF4-FFF2-40B4-BE49-F238E27FC236}">
                <a16:creationId xmlns:a16="http://schemas.microsoft.com/office/drawing/2014/main" id="{42B265C0-B614-4138-A277-72E88D133C3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94255" y="7445529"/>
            <a:ext cx="747097" cy="747097"/>
          </a:xfrm>
          <a:prstGeom prst="rect">
            <a:avLst/>
          </a:prstGeom>
        </p:spPr>
      </p:pic>
      <p:sp>
        <p:nvSpPr>
          <p:cNvPr id="29" name="Rectángulo 28">
            <a:extLst>
              <a:ext uri="{FF2B5EF4-FFF2-40B4-BE49-F238E27FC236}">
                <a16:creationId xmlns:a16="http://schemas.microsoft.com/office/drawing/2014/main" id="{23C15D9C-F059-41D5-90CC-645BF4D4AF6F}"/>
              </a:ext>
            </a:extLst>
          </p:cNvPr>
          <p:cNvSpPr/>
          <p:nvPr/>
        </p:nvSpPr>
        <p:spPr>
          <a:xfrm>
            <a:off x="3386474" y="6876299"/>
            <a:ext cx="4831253" cy="2408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31" name="CuadroTexto 30">
            <a:extLst>
              <a:ext uri="{FF2B5EF4-FFF2-40B4-BE49-F238E27FC236}">
                <a16:creationId xmlns:a16="http://schemas.microsoft.com/office/drawing/2014/main" id="{04861924-33CC-4F35-AA97-EA584A97E162}"/>
              </a:ext>
            </a:extLst>
          </p:cNvPr>
          <p:cNvSpPr txBox="1"/>
          <p:nvPr/>
        </p:nvSpPr>
        <p:spPr>
          <a:xfrm>
            <a:off x="3361327" y="7329662"/>
            <a:ext cx="5654842" cy="3416320"/>
          </a:xfrm>
          <a:prstGeom prst="rect">
            <a:avLst/>
          </a:prstGeom>
          <a:noFill/>
        </p:spPr>
        <p:txBody>
          <a:bodyPr wrap="square" rtlCol="0">
            <a:spAutoFit/>
          </a:bodyPr>
          <a:lstStyle/>
          <a:p>
            <a:pPr algn="l"/>
            <a:r>
              <a:rPr lang="es-ES" sz="2400" dirty="0"/>
              <a:t>Dominio de negocio</a:t>
            </a:r>
          </a:p>
          <a:p>
            <a:pPr algn="l"/>
            <a:r>
              <a:rPr lang="es-ES" sz="2400" dirty="0"/>
              <a:t>Ingenieria (SanTec)</a:t>
            </a:r>
            <a:r>
              <a:rPr lang="en-US" altLang="en-US" sz="2400" dirty="0"/>
              <a:t> </a:t>
            </a:r>
          </a:p>
          <a:p>
            <a:pPr algn="l"/>
            <a:endParaRPr lang="en-US" altLang="en-US" sz="2400" dirty="0"/>
          </a:p>
          <a:p>
            <a:pPr algn="l"/>
            <a:endParaRPr lang="en-US" altLang="en-US" sz="2400" dirty="0"/>
          </a:p>
          <a:p>
            <a:pPr algn="l"/>
            <a:r>
              <a:rPr lang="es-ES" sz="2400" dirty="0"/>
              <a:t>Arquitectura (SanTec)</a:t>
            </a:r>
            <a:r>
              <a:rPr lang="en-US" altLang="en-US" sz="2400" dirty="0"/>
              <a:t> </a:t>
            </a:r>
          </a:p>
          <a:p>
            <a:pPr algn="l"/>
            <a:endParaRPr lang="en-US" altLang="en-US" sz="2400" dirty="0"/>
          </a:p>
          <a:p>
            <a:pPr algn="l"/>
            <a:endParaRPr lang="en-US" altLang="en-US" sz="2400" dirty="0"/>
          </a:p>
          <a:p>
            <a:pPr algn="l"/>
            <a:endParaRPr lang="en-US" altLang="en-US" sz="2400" dirty="0"/>
          </a:p>
          <a:p>
            <a:pPr algn="l"/>
            <a:r>
              <a:rPr lang="es-ES" sz="2400" dirty="0"/>
              <a:t>Infraestructura (SanTec) </a:t>
            </a:r>
            <a:r>
              <a:rPr lang="en-US" altLang="en-US" sz="2400" dirty="0"/>
              <a:t> </a:t>
            </a:r>
            <a:endParaRPr lang="es-ES" sz="2400" dirty="0"/>
          </a:p>
        </p:txBody>
      </p:sp>
      <p:cxnSp>
        <p:nvCxnSpPr>
          <p:cNvPr id="32" name="Conector recto 31">
            <a:extLst>
              <a:ext uri="{FF2B5EF4-FFF2-40B4-BE49-F238E27FC236}">
                <a16:creationId xmlns:a16="http://schemas.microsoft.com/office/drawing/2014/main" id="{2345F1EF-0CF9-492F-A917-7B6BBB41539D}"/>
              </a:ext>
            </a:extLst>
          </p:cNvPr>
          <p:cNvCxnSpPr/>
          <p:nvPr/>
        </p:nvCxnSpPr>
        <p:spPr>
          <a:xfrm>
            <a:off x="483686" y="8425282"/>
            <a:ext cx="19846064"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34" name="Conector recto 33">
            <a:extLst>
              <a:ext uri="{FF2B5EF4-FFF2-40B4-BE49-F238E27FC236}">
                <a16:creationId xmlns:a16="http://schemas.microsoft.com/office/drawing/2014/main" id="{8FF3F338-9649-4F19-A202-35BB26535BD2}"/>
              </a:ext>
            </a:extLst>
          </p:cNvPr>
          <p:cNvCxnSpPr/>
          <p:nvPr/>
        </p:nvCxnSpPr>
        <p:spPr>
          <a:xfrm>
            <a:off x="483686" y="9867955"/>
            <a:ext cx="19846064"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35" name="Conector recto 34">
            <a:extLst>
              <a:ext uri="{FF2B5EF4-FFF2-40B4-BE49-F238E27FC236}">
                <a16:creationId xmlns:a16="http://schemas.microsoft.com/office/drawing/2014/main" id="{22560B5B-D942-43AE-A2B1-E7680743C49F}"/>
              </a:ext>
            </a:extLst>
          </p:cNvPr>
          <p:cNvCxnSpPr/>
          <p:nvPr/>
        </p:nvCxnSpPr>
        <p:spPr>
          <a:xfrm>
            <a:off x="483686" y="11374029"/>
            <a:ext cx="19846064"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sp>
        <p:nvSpPr>
          <p:cNvPr id="18" name="CuadroTexto 17">
            <a:extLst>
              <a:ext uri="{FF2B5EF4-FFF2-40B4-BE49-F238E27FC236}">
                <a16:creationId xmlns:a16="http://schemas.microsoft.com/office/drawing/2014/main" id="{763C6535-EF16-49EB-A303-ED0A8E5F0418}"/>
              </a:ext>
            </a:extLst>
          </p:cNvPr>
          <p:cNvSpPr txBox="1"/>
          <p:nvPr/>
        </p:nvSpPr>
        <p:spPr>
          <a:xfrm>
            <a:off x="3386474" y="6260281"/>
            <a:ext cx="5029200" cy="461665"/>
          </a:xfrm>
          <a:prstGeom prst="rect">
            <a:avLst/>
          </a:prstGeom>
          <a:noFill/>
        </p:spPr>
        <p:txBody>
          <a:bodyPr wrap="square" rtlCol="0">
            <a:spAutoFit/>
          </a:bodyPr>
          <a:lstStyle/>
          <a:p>
            <a:pPr algn="l"/>
            <a:r>
              <a:rPr lang="es-ES" sz="2400" b="1" dirty="0">
                <a:solidFill>
                  <a:srgbClr val="C00000"/>
                </a:solidFill>
              </a:rPr>
              <a:t>Realizar DTI</a:t>
            </a:r>
            <a:endParaRPr lang="es-ES" b="1" dirty="0">
              <a:solidFill>
                <a:srgbClr val="C00000"/>
              </a:solidFill>
            </a:endParaRPr>
          </a:p>
        </p:txBody>
      </p:sp>
      <p:pic>
        <p:nvPicPr>
          <p:cNvPr id="19" name="New picture">
            <a:extLst>
              <a:ext uri="{FF2B5EF4-FFF2-40B4-BE49-F238E27FC236}">
                <a16:creationId xmlns:a16="http://schemas.microsoft.com/office/drawing/2014/main" id="{E8876167-02FF-461C-B010-7E5138E08FB3}"/>
              </a:ext>
            </a:extLst>
          </p:cNvPr>
          <p:cNvPicPr/>
          <p:nvPr/>
        </p:nvPicPr>
        <p:blipFill rotWithShape="1">
          <a:blip r:embed="rId11"/>
          <a:srcRect t="20978" b="70395"/>
          <a:stretch/>
        </p:blipFill>
        <p:spPr>
          <a:xfrm>
            <a:off x="1760888" y="2611026"/>
            <a:ext cx="20862223" cy="1162050"/>
          </a:xfrm>
          <a:prstGeom prst="rect">
            <a:avLst/>
          </a:prstGeom>
        </p:spPr>
      </p:pic>
    </p:spTree>
    <p:extLst>
      <p:ext uri="{BB962C8B-B14F-4D97-AF65-F5344CB8AC3E}">
        <p14:creationId xmlns:p14="http://schemas.microsoft.com/office/powerpoint/2010/main" val="12321600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162A749-145E-45A9-A608-94CDAC2EE459}"/>
              </a:ext>
            </a:extLst>
          </p:cNvPr>
          <p:cNvSpPr txBox="1"/>
          <p:nvPr/>
        </p:nvSpPr>
        <p:spPr>
          <a:xfrm>
            <a:off x="650240" y="541319"/>
            <a:ext cx="22611504" cy="2000548"/>
          </a:xfrm>
          <a:prstGeom prst="rect">
            <a:avLst/>
          </a:prstGeom>
          <a:noFill/>
        </p:spPr>
        <p:txBody>
          <a:bodyPr wrap="square" rtlCol="0" anchor="t">
            <a:spAutoFit/>
          </a:bodyPr>
          <a:lstStyle/>
          <a:p>
            <a:pPr algn="l"/>
            <a:r>
              <a:rPr lang="en-GB" sz="4000" b="1" kern="1200" dirty="0">
                <a:solidFill>
                  <a:srgbClr val="C00000"/>
                </a:solidFill>
              </a:rPr>
              <a:t>Aprovisionamiento &amp; Ejecución Automática</a:t>
            </a:r>
            <a:r>
              <a:rPr lang="en-US" sz="4000" b="1" kern="1200" dirty="0">
                <a:solidFill>
                  <a:srgbClr val="C00000"/>
                </a:solidFill>
              </a:rPr>
              <a:t> </a:t>
            </a:r>
            <a:r>
              <a:rPr lang="en-US" sz="2800" kern="1200" dirty="0">
                <a:solidFill>
                  <a:srgbClr val="C00000"/>
                </a:solidFill>
              </a:rPr>
              <a:t>Aprovisionamiento de Entornos de Plataforma</a:t>
            </a:r>
          </a:p>
          <a:p>
            <a:pPr algn="l"/>
            <a:r>
              <a:rPr lang="es-ES" altLang="en-US" sz="2800" kern="1200" dirty="0">
                <a:solidFill>
                  <a:schemeClr val="tx1"/>
                </a:solidFill>
              </a:rPr>
              <a:t>Vista de Procesos</a:t>
            </a:r>
            <a:endParaRPr lang="en-US" altLang="en-US" sz="2800" kern="1200" dirty="0">
              <a:solidFill>
                <a:schemeClr val="tx1"/>
              </a:solidFill>
            </a:endParaRPr>
          </a:p>
          <a:p>
            <a:pPr algn="l"/>
            <a:r>
              <a:rPr lang="en-US" sz="2800" kern="1200" dirty="0">
                <a:solidFill>
                  <a:srgbClr val="C00000"/>
                </a:solidFill>
                <a:latin typeface="IBM Plex Sans"/>
              </a:rPr>
              <a:t> </a:t>
            </a:r>
            <a:endParaRPr lang="en-US" altLang="en-US" sz="2800" kern="1200" dirty="0">
              <a:solidFill>
                <a:srgbClr val="C00000"/>
              </a:solidFill>
              <a:latin typeface="IBM Plex Sans"/>
            </a:endParaRPr>
          </a:p>
          <a:p>
            <a:pPr algn="l"/>
            <a:endParaRPr lang="en-US" sz="2800" kern="1200" dirty="0">
              <a:solidFill>
                <a:srgbClr val="C00000"/>
              </a:solidFill>
              <a:latin typeface="IBM Plex Sans"/>
            </a:endParaRPr>
          </a:p>
        </p:txBody>
      </p:sp>
      <p:sp>
        <p:nvSpPr>
          <p:cNvPr id="25" name="TextBox 27">
            <a:extLst>
              <a:ext uri="{FF2B5EF4-FFF2-40B4-BE49-F238E27FC236}">
                <a16:creationId xmlns:a16="http://schemas.microsoft.com/office/drawing/2014/main" id="{24738201-B6B2-4B2D-8E5D-168FE35ADD9F}"/>
              </a:ext>
            </a:extLst>
          </p:cNvPr>
          <p:cNvSpPr txBox="1">
            <a:spLocks noChangeArrowheads="1"/>
          </p:cNvSpPr>
          <p:nvPr/>
        </p:nvSpPr>
        <p:spPr bwMode="auto">
          <a:xfrm>
            <a:off x="1140883" y="7935102"/>
            <a:ext cx="1851470" cy="34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a:r>
              <a:rPr lang="en-US" sz="2000" dirty="0">
                <a:solidFill>
                  <a:srgbClr val="C00000"/>
                </a:solidFill>
                <a:cs typeface="Arial" panose="020B0604020202020204" pitchFamily="34" charset="0"/>
              </a:rPr>
              <a:t>Informed</a:t>
            </a: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r>
              <a:rPr lang="en-US" sz="2000" dirty="0">
                <a:solidFill>
                  <a:srgbClr val="C00000"/>
                </a:solidFill>
                <a:cs typeface="Arial" panose="020B0604020202020204" pitchFamily="34" charset="0"/>
              </a:rPr>
              <a:t>Accountable</a:t>
            </a: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r>
              <a:rPr lang="en-US" altLang="en-US" sz="2000" dirty="0">
                <a:solidFill>
                  <a:srgbClr val="C00000"/>
                </a:solidFill>
                <a:cs typeface="Arial" panose="020B0604020202020204" pitchFamily="34" charset="0"/>
              </a:rPr>
              <a:t>Consulted</a:t>
            </a:r>
          </a:p>
        </p:txBody>
      </p:sp>
      <p:pic>
        <p:nvPicPr>
          <p:cNvPr id="26" name="Graphic 6" descr="Handshake">
            <a:extLst>
              <a:ext uri="{FF2B5EF4-FFF2-40B4-BE49-F238E27FC236}">
                <a16:creationId xmlns:a16="http://schemas.microsoft.com/office/drawing/2014/main" id="{0E81DC43-AEDB-4693-9AD6-FAB0D80D2A9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7146" y="10546135"/>
            <a:ext cx="788947" cy="788947"/>
          </a:xfrm>
          <a:prstGeom prst="rect">
            <a:avLst/>
          </a:prstGeom>
        </p:spPr>
      </p:pic>
      <p:pic>
        <p:nvPicPr>
          <p:cNvPr id="27" name="Graphic 26" descr="Research">
            <a:extLst>
              <a:ext uri="{FF2B5EF4-FFF2-40B4-BE49-F238E27FC236}">
                <a16:creationId xmlns:a16="http://schemas.microsoft.com/office/drawing/2014/main" id="{5B9CFFB0-E3AA-445F-B22B-0E1B765B649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0876" y="8982625"/>
            <a:ext cx="741219" cy="741219"/>
          </a:xfrm>
          <a:prstGeom prst="rect">
            <a:avLst/>
          </a:prstGeom>
        </p:spPr>
      </p:pic>
      <p:pic>
        <p:nvPicPr>
          <p:cNvPr id="28" name="Graphic 34" descr="Information">
            <a:extLst>
              <a:ext uri="{FF2B5EF4-FFF2-40B4-BE49-F238E27FC236}">
                <a16:creationId xmlns:a16="http://schemas.microsoft.com/office/drawing/2014/main" id="{F80D6F76-C38A-4548-BE0D-E1876828EB4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94255" y="7445529"/>
            <a:ext cx="747097" cy="747097"/>
          </a:xfrm>
          <a:prstGeom prst="rect">
            <a:avLst/>
          </a:prstGeom>
        </p:spPr>
      </p:pic>
      <p:sp>
        <p:nvSpPr>
          <p:cNvPr id="29" name="Rectángulo 28">
            <a:extLst>
              <a:ext uri="{FF2B5EF4-FFF2-40B4-BE49-F238E27FC236}">
                <a16:creationId xmlns:a16="http://schemas.microsoft.com/office/drawing/2014/main" id="{9F812CFA-392E-4516-B9EC-A6A2CD387118}"/>
              </a:ext>
            </a:extLst>
          </p:cNvPr>
          <p:cNvSpPr/>
          <p:nvPr/>
        </p:nvSpPr>
        <p:spPr>
          <a:xfrm>
            <a:off x="3386475" y="6876299"/>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30" name="CuadroTexto 29">
            <a:extLst>
              <a:ext uri="{FF2B5EF4-FFF2-40B4-BE49-F238E27FC236}">
                <a16:creationId xmlns:a16="http://schemas.microsoft.com/office/drawing/2014/main" id="{1BA56A54-B0F1-42A1-BF50-D4C6B48186C3}"/>
              </a:ext>
            </a:extLst>
          </p:cNvPr>
          <p:cNvSpPr txBox="1"/>
          <p:nvPr/>
        </p:nvSpPr>
        <p:spPr>
          <a:xfrm>
            <a:off x="3386474" y="6284344"/>
            <a:ext cx="3880600" cy="369332"/>
          </a:xfrm>
          <a:prstGeom prst="rect">
            <a:avLst/>
          </a:prstGeom>
          <a:noFill/>
        </p:spPr>
        <p:txBody>
          <a:bodyPr wrap="square" rtlCol="0">
            <a:spAutoFit/>
          </a:bodyPr>
          <a:lstStyle/>
          <a:p>
            <a:pPr algn="l"/>
            <a:r>
              <a:rPr lang="es-ES" sz="1800" b="1" dirty="0">
                <a:solidFill>
                  <a:srgbClr val="C00000"/>
                </a:solidFill>
              </a:rPr>
              <a:t>Creación oferta SGT</a:t>
            </a:r>
            <a:endParaRPr lang="es-ES" sz="2400" b="1" dirty="0">
              <a:solidFill>
                <a:srgbClr val="C00000"/>
              </a:solidFill>
            </a:endParaRPr>
          </a:p>
        </p:txBody>
      </p:sp>
      <p:sp>
        <p:nvSpPr>
          <p:cNvPr id="31" name="CuadroTexto 30">
            <a:extLst>
              <a:ext uri="{FF2B5EF4-FFF2-40B4-BE49-F238E27FC236}">
                <a16:creationId xmlns:a16="http://schemas.microsoft.com/office/drawing/2014/main" id="{65FB64E5-14C3-488A-A765-14B69329C558}"/>
              </a:ext>
            </a:extLst>
          </p:cNvPr>
          <p:cNvSpPr txBox="1"/>
          <p:nvPr/>
        </p:nvSpPr>
        <p:spPr>
          <a:xfrm>
            <a:off x="3316252" y="7353970"/>
            <a:ext cx="5654842" cy="3416320"/>
          </a:xfrm>
          <a:prstGeom prst="rect">
            <a:avLst/>
          </a:prstGeom>
          <a:noFill/>
        </p:spPr>
        <p:txBody>
          <a:bodyPr wrap="square" rtlCol="0">
            <a:spAutoFit/>
          </a:bodyPr>
          <a:lstStyle/>
          <a:p>
            <a:pPr algn="l"/>
            <a:r>
              <a:rPr lang="en-US" altLang="en-US" sz="2400" dirty="0"/>
              <a:t>Ingenieria (SanTec)</a:t>
            </a:r>
          </a:p>
          <a:p>
            <a:pPr algn="l"/>
            <a:endParaRPr lang="en-US" altLang="en-US" sz="2400" dirty="0"/>
          </a:p>
          <a:p>
            <a:pPr algn="l"/>
            <a:endParaRPr lang="en-US" altLang="en-US" sz="2400" dirty="0"/>
          </a:p>
          <a:p>
            <a:pPr algn="l"/>
            <a:endParaRPr lang="en-US" altLang="en-US" sz="2400" dirty="0"/>
          </a:p>
          <a:p>
            <a:pPr algn="l"/>
            <a:r>
              <a:rPr lang="es-ES" sz="2400" dirty="0"/>
              <a:t>Infraestructura (SanTec)</a:t>
            </a:r>
            <a:r>
              <a:rPr lang="en-US" altLang="en-US" sz="2400" dirty="0"/>
              <a:t> </a:t>
            </a:r>
          </a:p>
          <a:p>
            <a:pPr algn="l"/>
            <a:endParaRPr lang="en-US" altLang="en-US" sz="2400" dirty="0"/>
          </a:p>
          <a:p>
            <a:pPr algn="l"/>
            <a:endParaRPr lang="en-US" altLang="en-US" sz="2400" dirty="0"/>
          </a:p>
          <a:p>
            <a:pPr algn="l"/>
            <a:endParaRPr lang="en-US" altLang="en-US" sz="2400" dirty="0"/>
          </a:p>
          <a:p>
            <a:pPr algn="l"/>
            <a:r>
              <a:rPr lang="es-ES" sz="2400" dirty="0"/>
              <a:t>Infraestructura (SanTec) </a:t>
            </a:r>
            <a:r>
              <a:rPr lang="en-US" altLang="en-US" sz="2400" dirty="0"/>
              <a:t> </a:t>
            </a:r>
            <a:endParaRPr lang="es-ES" sz="2400" dirty="0"/>
          </a:p>
        </p:txBody>
      </p:sp>
      <p:cxnSp>
        <p:nvCxnSpPr>
          <p:cNvPr id="32" name="Conector recto 31">
            <a:extLst>
              <a:ext uri="{FF2B5EF4-FFF2-40B4-BE49-F238E27FC236}">
                <a16:creationId xmlns:a16="http://schemas.microsoft.com/office/drawing/2014/main" id="{592B5894-E39F-406F-9BF6-ED7BB1B2CF99}"/>
              </a:ext>
            </a:extLst>
          </p:cNvPr>
          <p:cNvCxnSpPr>
            <a:cxnSpLocks/>
          </p:cNvCxnSpPr>
          <p:nvPr/>
        </p:nvCxnSpPr>
        <p:spPr>
          <a:xfrm>
            <a:off x="483686" y="8425282"/>
            <a:ext cx="22915389"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34" name="Conector recto 33">
            <a:extLst>
              <a:ext uri="{FF2B5EF4-FFF2-40B4-BE49-F238E27FC236}">
                <a16:creationId xmlns:a16="http://schemas.microsoft.com/office/drawing/2014/main" id="{BD77BD8E-96BD-48B1-97EB-2ED66920087C}"/>
              </a:ext>
            </a:extLst>
          </p:cNvPr>
          <p:cNvCxnSpPr>
            <a:cxnSpLocks/>
          </p:cNvCxnSpPr>
          <p:nvPr/>
        </p:nvCxnSpPr>
        <p:spPr>
          <a:xfrm>
            <a:off x="483686" y="9867955"/>
            <a:ext cx="22778058"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35" name="Conector recto 34">
            <a:extLst>
              <a:ext uri="{FF2B5EF4-FFF2-40B4-BE49-F238E27FC236}">
                <a16:creationId xmlns:a16="http://schemas.microsoft.com/office/drawing/2014/main" id="{47606E63-1FCD-4CF2-90C9-169D7EF6F9E2}"/>
              </a:ext>
            </a:extLst>
          </p:cNvPr>
          <p:cNvCxnSpPr>
            <a:cxnSpLocks/>
          </p:cNvCxnSpPr>
          <p:nvPr/>
        </p:nvCxnSpPr>
        <p:spPr>
          <a:xfrm flipV="1">
            <a:off x="483686" y="11335082"/>
            <a:ext cx="22915389" cy="38947"/>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sp>
        <p:nvSpPr>
          <p:cNvPr id="40" name="CuadroTexto 39">
            <a:extLst>
              <a:ext uri="{FF2B5EF4-FFF2-40B4-BE49-F238E27FC236}">
                <a16:creationId xmlns:a16="http://schemas.microsoft.com/office/drawing/2014/main" id="{1AD743A4-3041-4821-87B6-744A7AB5A0F8}"/>
              </a:ext>
            </a:extLst>
          </p:cNvPr>
          <p:cNvSpPr txBox="1"/>
          <p:nvPr/>
        </p:nvSpPr>
        <p:spPr>
          <a:xfrm>
            <a:off x="7419475" y="6260281"/>
            <a:ext cx="5029200" cy="369332"/>
          </a:xfrm>
          <a:prstGeom prst="rect">
            <a:avLst/>
          </a:prstGeom>
          <a:noFill/>
        </p:spPr>
        <p:txBody>
          <a:bodyPr wrap="square" rtlCol="0">
            <a:spAutoFit/>
          </a:bodyPr>
          <a:lstStyle/>
          <a:p>
            <a:pPr algn="l"/>
            <a:r>
              <a:rPr lang="es-ES" sz="1600" b="1" dirty="0">
                <a:solidFill>
                  <a:srgbClr val="C00000"/>
                </a:solidFill>
              </a:rPr>
              <a:t>Aprovisionar Entornos (</a:t>
            </a:r>
            <a:r>
              <a:rPr lang="es-ES" sz="1800" b="1" dirty="0">
                <a:solidFill>
                  <a:srgbClr val="C00000"/>
                </a:solidFill>
              </a:rPr>
              <a:t>On-premise</a:t>
            </a:r>
            <a:r>
              <a:rPr lang="es-ES" sz="1600" b="1" dirty="0">
                <a:solidFill>
                  <a:srgbClr val="C00000"/>
                </a:solidFill>
              </a:rPr>
              <a:t>)</a:t>
            </a:r>
            <a:endParaRPr lang="es-ES" sz="2000" b="1" dirty="0">
              <a:solidFill>
                <a:srgbClr val="C00000"/>
              </a:solidFill>
            </a:endParaRPr>
          </a:p>
        </p:txBody>
      </p:sp>
      <p:sp>
        <p:nvSpPr>
          <p:cNvPr id="41" name="CuadroTexto 40">
            <a:extLst>
              <a:ext uri="{FF2B5EF4-FFF2-40B4-BE49-F238E27FC236}">
                <a16:creationId xmlns:a16="http://schemas.microsoft.com/office/drawing/2014/main" id="{F9C8B312-1DBD-44F7-8A1A-A92C9941097A}"/>
              </a:ext>
            </a:extLst>
          </p:cNvPr>
          <p:cNvSpPr txBox="1"/>
          <p:nvPr/>
        </p:nvSpPr>
        <p:spPr>
          <a:xfrm>
            <a:off x="7380527" y="7355657"/>
            <a:ext cx="5654842" cy="2677656"/>
          </a:xfrm>
          <a:prstGeom prst="rect">
            <a:avLst/>
          </a:prstGeom>
          <a:noFill/>
        </p:spPr>
        <p:txBody>
          <a:bodyPr wrap="square" rtlCol="0">
            <a:spAutoFit/>
          </a:bodyPr>
          <a:lstStyle/>
          <a:p>
            <a:pPr algn="l"/>
            <a:endParaRPr lang="en-US" altLang="en-US" sz="2400" dirty="0"/>
          </a:p>
          <a:p>
            <a:pPr algn="l"/>
            <a:endParaRPr lang="en-US" altLang="en-US" sz="2400" dirty="0"/>
          </a:p>
          <a:p>
            <a:pPr algn="l"/>
            <a:endParaRPr lang="en-US" altLang="en-US" sz="2400" dirty="0"/>
          </a:p>
          <a:p>
            <a:pPr algn="l"/>
            <a:endParaRPr lang="en-US" altLang="en-US" sz="2400" dirty="0"/>
          </a:p>
          <a:p>
            <a:pPr algn="l"/>
            <a:r>
              <a:rPr lang="es-ES" sz="2400" dirty="0"/>
              <a:t>Infraestructura (SanTec)</a:t>
            </a:r>
            <a:endParaRPr lang="en-US" altLang="en-US" sz="2400" dirty="0"/>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p:txBody>
      </p:sp>
      <p:sp>
        <p:nvSpPr>
          <p:cNvPr id="43" name="CuadroTexto 42">
            <a:extLst>
              <a:ext uri="{FF2B5EF4-FFF2-40B4-BE49-F238E27FC236}">
                <a16:creationId xmlns:a16="http://schemas.microsoft.com/office/drawing/2014/main" id="{D0EA2174-2A26-41B8-91D5-6624F417342B}"/>
              </a:ext>
            </a:extLst>
          </p:cNvPr>
          <p:cNvSpPr txBox="1"/>
          <p:nvPr/>
        </p:nvSpPr>
        <p:spPr>
          <a:xfrm>
            <a:off x="11389925" y="6261968"/>
            <a:ext cx="5029200" cy="369332"/>
          </a:xfrm>
          <a:prstGeom prst="rect">
            <a:avLst/>
          </a:prstGeom>
          <a:noFill/>
        </p:spPr>
        <p:txBody>
          <a:bodyPr wrap="square" rtlCol="0">
            <a:spAutoFit/>
          </a:bodyPr>
          <a:lstStyle/>
          <a:p>
            <a:pPr algn="l"/>
            <a:r>
              <a:rPr lang="es-ES" sz="1800" b="1" dirty="0">
                <a:solidFill>
                  <a:srgbClr val="C00000"/>
                </a:solidFill>
              </a:rPr>
              <a:t>Registrar Entornos (On-premise)</a:t>
            </a:r>
            <a:endParaRPr lang="es-ES" sz="2400" b="1" dirty="0">
              <a:solidFill>
                <a:srgbClr val="C00000"/>
              </a:solidFill>
            </a:endParaRPr>
          </a:p>
        </p:txBody>
      </p:sp>
      <p:sp>
        <p:nvSpPr>
          <p:cNvPr id="48" name="CuadroTexto 47">
            <a:extLst>
              <a:ext uri="{FF2B5EF4-FFF2-40B4-BE49-F238E27FC236}">
                <a16:creationId xmlns:a16="http://schemas.microsoft.com/office/drawing/2014/main" id="{FF5EB115-519D-4F87-807D-CFDE6251026F}"/>
              </a:ext>
            </a:extLst>
          </p:cNvPr>
          <p:cNvSpPr txBox="1"/>
          <p:nvPr/>
        </p:nvSpPr>
        <p:spPr>
          <a:xfrm>
            <a:off x="11389925" y="7332911"/>
            <a:ext cx="5654842" cy="3046988"/>
          </a:xfrm>
          <a:prstGeom prst="rect">
            <a:avLst/>
          </a:prstGeom>
          <a:noFill/>
        </p:spPr>
        <p:txBody>
          <a:bodyPr wrap="square" rtlCol="0">
            <a:spAutoFit/>
          </a:bodyPr>
          <a:lstStyle/>
          <a:p>
            <a:pPr algn="l"/>
            <a:r>
              <a:rPr lang="es-ES" sz="2400" dirty="0"/>
              <a:t>Monitorización (SanTec)</a:t>
            </a:r>
          </a:p>
          <a:p>
            <a:pPr algn="l"/>
            <a:r>
              <a:rPr lang="es-ES" sz="2400" dirty="0"/>
              <a:t>Nivel de Servicio (SanTec)</a:t>
            </a:r>
          </a:p>
          <a:p>
            <a:pPr algn="l"/>
            <a:endParaRPr lang="en-US" altLang="en-US" sz="2400" dirty="0"/>
          </a:p>
          <a:p>
            <a:pPr algn="l"/>
            <a:endParaRPr lang="en-US" altLang="en-US" sz="2400" dirty="0"/>
          </a:p>
          <a:p>
            <a:pPr algn="l"/>
            <a:r>
              <a:rPr lang="es-ES" sz="2400" dirty="0"/>
              <a:t>Infraestructura (SanTec)</a:t>
            </a:r>
            <a:r>
              <a:rPr lang="en-US" altLang="en-US" sz="2400" dirty="0"/>
              <a:t> </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endParaRPr lang="en-US" altLang="en-US" sz="2400" dirty="0"/>
          </a:p>
        </p:txBody>
      </p:sp>
      <p:sp>
        <p:nvSpPr>
          <p:cNvPr id="49" name="TextBox 27">
            <a:extLst>
              <a:ext uri="{FF2B5EF4-FFF2-40B4-BE49-F238E27FC236}">
                <a16:creationId xmlns:a16="http://schemas.microsoft.com/office/drawing/2014/main" id="{86643CDD-FE19-46A5-AACB-31D4DAB005F2}"/>
              </a:ext>
            </a:extLst>
          </p:cNvPr>
          <p:cNvSpPr txBox="1">
            <a:spLocks noChangeArrowheads="1"/>
          </p:cNvSpPr>
          <p:nvPr/>
        </p:nvSpPr>
        <p:spPr bwMode="auto">
          <a:xfrm>
            <a:off x="1934085" y="5266146"/>
            <a:ext cx="9455840" cy="646331"/>
          </a:xfrm>
          <a:prstGeom prst="rect">
            <a:avLst/>
          </a:prstGeom>
          <a:noFill/>
          <a:ln>
            <a:noFill/>
          </a:ln>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eaLnBrk="1" hangingPunct="1"/>
            <a:r>
              <a:rPr lang="en-US" altLang="en-US" sz="3600" dirty="0">
                <a:solidFill>
                  <a:srgbClr val="C00000"/>
                </a:solidFill>
                <a:cs typeface="Arial" panose="020B0604020202020204" pitchFamily="34" charset="0"/>
              </a:rPr>
              <a:t>Responsible   </a:t>
            </a:r>
            <a:r>
              <a:rPr lang="en-US" altLang="en-US" sz="3200" b="0" dirty="0">
                <a:cs typeface="Arial" panose="020B0604020202020204" pitchFamily="34" charset="0"/>
              </a:rPr>
              <a:t>Gestión de la demanda (SGT)</a:t>
            </a:r>
          </a:p>
        </p:txBody>
      </p:sp>
      <p:pic>
        <p:nvPicPr>
          <p:cNvPr id="50" name="Picture 25">
            <a:extLst>
              <a:ext uri="{FF2B5EF4-FFF2-40B4-BE49-F238E27FC236}">
                <a16:creationId xmlns:a16="http://schemas.microsoft.com/office/drawing/2014/main" id="{8C0A00FE-818F-41E6-859A-645B338F5D35}"/>
              </a:ext>
            </a:extLst>
          </p:cNvPr>
          <p:cNvPicPr>
            <a:picLocks noChangeAspect="1"/>
          </p:cNvPicPr>
          <p:nvPr/>
        </p:nvPicPr>
        <p:blipFill>
          <a:blip r:embed="rId9">
            <a:extLst>
              <a:ext uri="{BEBA8EAE-BF5A-486C-A8C5-ECC9F3942E4B}">
                <a14:imgProps xmlns:a14="http://schemas.microsoft.com/office/drawing/2010/main">
                  <a14:imgLayer r:embed="rId10">
                    <a14:imgEffect>
                      <a14:colorTemperature colorTemp="2300"/>
                    </a14:imgEffect>
                  </a14:imgLayer>
                </a14:imgProps>
              </a:ext>
              <a:ext uri="{28A0092B-C50C-407E-A947-70E740481C1C}">
                <a14:useLocalDpi xmlns:a14="http://schemas.microsoft.com/office/drawing/2010/main" val="0"/>
              </a:ext>
            </a:extLst>
          </a:blip>
          <a:stretch>
            <a:fillRect/>
          </a:stretch>
        </p:blipFill>
        <p:spPr>
          <a:xfrm>
            <a:off x="255221" y="4554484"/>
            <a:ext cx="1817801" cy="1817801"/>
          </a:xfrm>
          <a:prstGeom prst="rect">
            <a:avLst/>
          </a:prstGeom>
        </p:spPr>
      </p:pic>
      <p:sp>
        <p:nvSpPr>
          <p:cNvPr id="55" name="Rectángulo 54">
            <a:extLst>
              <a:ext uri="{FF2B5EF4-FFF2-40B4-BE49-F238E27FC236}">
                <a16:creationId xmlns:a16="http://schemas.microsoft.com/office/drawing/2014/main" id="{973863A9-88D9-43BE-BBD6-8D283B291663}"/>
              </a:ext>
            </a:extLst>
          </p:cNvPr>
          <p:cNvSpPr/>
          <p:nvPr/>
        </p:nvSpPr>
        <p:spPr>
          <a:xfrm>
            <a:off x="19518475" y="6851179"/>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8" name="Rectángulo 57">
            <a:extLst>
              <a:ext uri="{FF2B5EF4-FFF2-40B4-BE49-F238E27FC236}">
                <a16:creationId xmlns:a16="http://schemas.microsoft.com/office/drawing/2014/main" id="{035797FA-9F57-4177-932A-7A20E345EE98}"/>
              </a:ext>
            </a:extLst>
          </p:cNvPr>
          <p:cNvSpPr/>
          <p:nvPr/>
        </p:nvSpPr>
        <p:spPr>
          <a:xfrm>
            <a:off x="15485475" y="6892180"/>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63" name="Rectángulo 62">
            <a:extLst>
              <a:ext uri="{FF2B5EF4-FFF2-40B4-BE49-F238E27FC236}">
                <a16:creationId xmlns:a16="http://schemas.microsoft.com/office/drawing/2014/main" id="{A9723F52-0204-4030-BE59-15275E889D60}"/>
              </a:ext>
            </a:extLst>
          </p:cNvPr>
          <p:cNvSpPr/>
          <p:nvPr/>
        </p:nvSpPr>
        <p:spPr>
          <a:xfrm>
            <a:off x="11452475" y="6876299"/>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64" name="Rectángulo 63">
            <a:extLst>
              <a:ext uri="{FF2B5EF4-FFF2-40B4-BE49-F238E27FC236}">
                <a16:creationId xmlns:a16="http://schemas.microsoft.com/office/drawing/2014/main" id="{F6D8C325-F79B-40EB-AC81-AE521AF39363}"/>
              </a:ext>
            </a:extLst>
          </p:cNvPr>
          <p:cNvSpPr/>
          <p:nvPr/>
        </p:nvSpPr>
        <p:spPr>
          <a:xfrm>
            <a:off x="7419475" y="6882281"/>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65" name="CuadroTexto 64">
            <a:extLst>
              <a:ext uri="{FF2B5EF4-FFF2-40B4-BE49-F238E27FC236}">
                <a16:creationId xmlns:a16="http://schemas.microsoft.com/office/drawing/2014/main" id="{71FDBE16-0DA9-4562-ABA9-70FA9898A378}"/>
              </a:ext>
            </a:extLst>
          </p:cNvPr>
          <p:cNvSpPr txBox="1"/>
          <p:nvPr/>
        </p:nvSpPr>
        <p:spPr>
          <a:xfrm>
            <a:off x="15485475" y="6294816"/>
            <a:ext cx="5029200" cy="369332"/>
          </a:xfrm>
          <a:prstGeom prst="rect">
            <a:avLst/>
          </a:prstGeom>
          <a:noFill/>
        </p:spPr>
        <p:txBody>
          <a:bodyPr wrap="square" rtlCol="0">
            <a:spAutoFit/>
          </a:bodyPr>
          <a:lstStyle/>
          <a:p>
            <a:pPr algn="l"/>
            <a:r>
              <a:rPr lang="es-ES" sz="1800" b="1" dirty="0">
                <a:solidFill>
                  <a:srgbClr val="C00000"/>
                </a:solidFill>
              </a:rPr>
              <a:t>Configuración (On-premise)</a:t>
            </a:r>
            <a:endParaRPr lang="es-ES" sz="2400" b="1" dirty="0">
              <a:solidFill>
                <a:srgbClr val="C00000"/>
              </a:solidFill>
            </a:endParaRPr>
          </a:p>
        </p:txBody>
      </p:sp>
      <p:sp>
        <p:nvSpPr>
          <p:cNvPr id="66" name="CuadroTexto 65">
            <a:extLst>
              <a:ext uri="{FF2B5EF4-FFF2-40B4-BE49-F238E27FC236}">
                <a16:creationId xmlns:a16="http://schemas.microsoft.com/office/drawing/2014/main" id="{D20F0A53-6604-482F-9D25-5A51C8D6E05D}"/>
              </a:ext>
            </a:extLst>
          </p:cNvPr>
          <p:cNvSpPr txBox="1"/>
          <p:nvPr/>
        </p:nvSpPr>
        <p:spPr>
          <a:xfrm>
            <a:off x="19518475" y="6327664"/>
            <a:ext cx="5029200" cy="369332"/>
          </a:xfrm>
          <a:prstGeom prst="rect">
            <a:avLst/>
          </a:prstGeom>
          <a:noFill/>
        </p:spPr>
        <p:txBody>
          <a:bodyPr wrap="square" rtlCol="0">
            <a:spAutoFit/>
          </a:bodyPr>
          <a:lstStyle/>
          <a:p>
            <a:pPr algn="l"/>
            <a:r>
              <a:rPr lang="es-ES" sz="1800" b="1" dirty="0">
                <a:solidFill>
                  <a:srgbClr val="C00000"/>
                </a:solidFill>
              </a:rPr>
              <a:t>Desaprovisionar Entornos (On-premise)</a:t>
            </a:r>
            <a:endParaRPr lang="es-ES" sz="2400" b="1" dirty="0">
              <a:solidFill>
                <a:srgbClr val="C00000"/>
              </a:solidFill>
            </a:endParaRPr>
          </a:p>
        </p:txBody>
      </p:sp>
      <p:sp>
        <p:nvSpPr>
          <p:cNvPr id="67" name="CuadroTexto 66">
            <a:extLst>
              <a:ext uri="{FF2B5EF4-FFF2-40B4-BE49-F238E27FC236}">
                <a16:creationId xmlns:a16="http://schemas.microsoft.com/office/drawing/2014/main" id="{9B435933-1F5F-41CF-AD6C-2F62CA8E9F0E}"/>
              </a:ext>
            </a:extLst>
          </p:cNvPr>
          <p:cNvSpPr txBox="1"/>
          <p:nvPr/>
        </p:nvSpPr>
        <p:spPr>
          <a:xfrm>
            <a:off x="15509077" y="7327163"/>
            <a:ext cx="5654842" cy="3046988"/>
          </a:xfrm>
          <a:prstGeom prst="rect">
            <a:avLst/>
          </a:prstGeom>
          <a:noFill/>
        </p:spPr>
        <p:txBody>
          <a:bodyPr wrap="square" rtlCol="0">
            <a:spAutoFit/>
          </a:bodyPr>
          <a:lstStyle/>
          <a:p>
            <a:pPr algn="l"/>
            <a:r>
              <a:rPr lang="es-ES" sz="2400" dirty="0"/>
              <a:t>Monitorización (SanTec)</a:t>
            </a:r>
          </a:p>
          <a:p>
            <a:pPr algn="l"/>
            <a:endParaRPr lang="en-US" altLang="en-US" sz="2400" dirty="0"/>
          </a:p>
          <a:p>
            <a:pPr algn="l"/>
            <a:endParaRPr lang="en-US" altLang="en-US" sz="2400" dirty="0"/>
          </a:p>
          <a:p>
            <a:pPr algn="l"/>
            <a:endParaRPr lang="en-US" altLang="en-US" sz="2400" dirty="0"/>
          </a:p>
          <a:p>
            <a:pPr algn="l"/>
            <a:r>
              <a:rPr lang="es-ES" sz="2400" dirty="0"/>
              <a:t>Infraestructura (SanTec)</a:t>
            </a:r>
            <a:endParaRPr lang="en-US" altLang="en-US" sz="2400" dirty="0"/>
          </a:p>
          <a:p>
            <a:pPr algn="l"/>
            <a:endParaRPr lang="en-US" altLang="en-US" sz="2400" dirty="0"/>
          </a:p>
          <a:p>
            <a:pPr algn="l"/>
            <a:endParaRPr lang="en-US" altLang="en-US" sz="2400" dirty="0"/>
          </a:p>
          <a:p>
            <a:pPr algn="l"/>
            <a:endParaRPr lang="en-US" altLang="en-US" sz="2400" dirty="0"/>
          </a:p>
        </p:txBody>
      </p:sp>
      <p:sp>
        <p:nvSpPr>
          <p:cNvPr id="68" name="CuadroTexto 67">
            <a:extLst>
              <a:ext uri="{FF2B5EF4-FFF2-40B4-BE49-F238E27FC236}">
                <a16:creationId xmlns:a16="http://schemas.microsoft.com/office/drawing/2014/main" id="{A11A8EA2-53E7-44C4-A088-350079721F00}"/>
              </a:ext>
            </a:extLst>
          </p:cNvPr>
          <p:cNvSpPr txBox="1"/>
          <p:nvPr/>
        </p:nvSpPr>
        <p:spPr>
          <a:xfrm>
            <a:off x="19518475" y="7327163"/>
            <a:ext cx="5654842" cy="3416320"/>
          </a:xfrm>
          <a:prstGeom prst="rect">
            <a:avLst/>
          </a:prstGeom>
          <a:noFill/>
        </p:spPr>
        <p:txBody>
          <a:bodyPr wrap="square" rtlCol="0">
            <a:spAutoFit/>
          </a:bodyPr>
          <a:lstStyle/>
          <a:p>
            <a:pPr algn="l"/>
            <a:r>
              <a:rPr lang="es-ES" sz="2400" dirty="0"/>
              <a:t>Monitorización (SanTec)</a:t>
            </a:r>
          </a:p>
          <a:p>
            <a:pPr algn="l"/>
            <a:r>
              <a:rPr lang="es-ES" sz="2400" dirty="0"/>
              <a:t>Nivel de Servicio (SanTec)</a:t>
            </a:r>
            <a:endParaRPr lang="en-US" altLang="en-US" sz="2400" dirty="0"/>
          </a:p>
          <a:p>
            <a:pPr algn="l"/>
            <a:endParaRPr lang="en-US" altLang="en-US" sz="2400" dirty="0"/>
          </a:p>
          <a:p>
            <a:pPr algn="l"/>
            <a:endParaRPr lang="en-US" altLang="en-US" sz="2400" dirty="0"/>
          </a:p>
          <a:p>
            <a:pPr algn="l"/>
            <a:r>
              <a:rPr lang="es-ES" sz="2400" dirty="0"/>
              <a:t>Infraestructura (SanTec)</a:t>
            </a:r>
          </a:p>
          <a:p>
            <a:pPr algn="l"/>
            <a:r>
              <a:rPr lang="es-ES" altLang="en-US" sz="2400" dirty="0"/>
              <a:t>Dominio de Negocio</a:t>
            </a:r>
            <a:endParaRPr lang="en-US" altLang="en-US" sz="2400" dirty="0"/>
          </a:p>
          <a:p>
            <a:pPr algn="l"/>
            <a:endParaRPr lang="en-US" altLang="en-US" sz="2400" dirty="0"/>
          </a:p>
          <a:p>
            <a:pPr algn="l"/>
            <a:endParaRPr lang="en-US" altLang="en-US" sz="2400" dirty="0"/>
          </a:p>
          <a:p>
            <a:pPr algn="l"/>
            <a:r>
              <a:rPr lang="en-US" altLang="en-US" sz="2400" dirty="0"/>
              <a:t>Nivel de Servicio (SanTec)</a:t>
            </a:r>
          </a:p>
        </p:txBody>
      </p:sp>
      <p:pic>
        <p:nvPicPr>
          <p:cNvPr id="37" name="New picture">
            <a:extLst>
              <a:ext uri="{FF2B5EF4-FFF2-40B4-BE49-F238E27FC236}">
                <a16:creationId xmlns:a16="http://schemas.microsoft.com/office/drawing/2014/main" id="{516191CD-D213-4283-A953-5AA8BA1D9CBE}"/>
              </a:ext>
            </a:extLst>
          </p:cNvPr>
          <p:cNvPicPr/>
          <p:nvPr/>
        </p:nvPicPr>
        <p:blipFill rotWithShape="1">
          <a:blip r:embed="rId11"/>
          <a:srcRect t="28615" b="56533"/>
          <a:stretch/>
        </p:blipFill>
        <p:spPr>
          <a:xfrm>
            <a:off x="1934085" y="2190914"/>
            <a:ext cx="20862223" cy="2000548"/>
          </a:xfrm>
          <a:prstGeom prst="rect">
            <a:avLst/>
          </a:prstGeom>
        </p:spPr>
      </p:pic>
    </p:spTree>
    <p:extLst>
      <p:ext uri="{BB962C8B-B14F-4D97-AF65-F5344CB8AC3E}">
        <p14:creationId xmlns:p14="http://schemas.microsoft.com/office/powerpoint/2010/main" val="19458206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162A749-145E-45A9-A608-94CDAC2EE459}"/>
              </a:ext>
            </a:extLst>
          </p:cNvPr>
          <p:cNvSpPr txBox="1"/>
          <p:nvPr/>
        </p:nvSpPr>
        <p:spPr>
          <a:xfrm>
            <a:off x="650240" y="541319"/>
            <a:ext cx="22611504" cy="2000548"/>
          </a:xfrm>
          <a:prstGeom prst="rect">
            <a:avLst/>
          </a:prstGeom>
          <a:noFill/>
        </p:spPr>
        <p:txBody>
          <a:bodyPr wrap="square" rtlCol="0" anchor="t">
            <a:spAutoFit/>
          </a:bodyPr>
          <a:lstStyle/>
          <a:p>
            <a:pPr algn="l"/>
            <a:r>
              <a:rPr lang="en-GB" sz="4000" b="1" kern="1200" dirty="0">
                <a:solidFill>
                  <a:srgbClr val="C00000"/>
                </a:solidFill>
              </a:rPr>
              <a:t>Aprovisionamiento &amp; Ejecución Automática</a:t>
            </a:r>
            <a:r>
              <a:rPr lang="en-US" sz="4000" b="1" kern="1200" dirty="0">
                <a:solidFill>
                  <a:srgbClr val="C00000"/>
                </a:solidFill>
              </a:rPr>
              <a:t> </a:t>
            </a:r>
            <a:r>
              <a:rPr lang="en-US" sz="2800" kern="1200" dirty="0">
                <a:solidFill>
                  <a:srgbClr val="C00000"/>
                </a:solidFill>
              </a:rPr>
              <a:t>Aprovisionamiento de Entornos de Plataforma</a:t>
            </a:r>
          </a:p>
          <a:p>
            <a:pPr algn="l"/>
            <a:r>
              <a:rPr lang="es-ES" altLang="en-US" sz="2800" kern="1200" dirty="0">
                <a:solidFill>
                  <a:schemeClr val="tx1"/>
                </a:solidFill>
              </a:rPr>
              <a:t>Vista de Procesos</a:t>
            </a:r>
            <a:endParaRPr lang="en-US" altLang="en-US" sz="2800" kern="1200" dirty="0">
              <a:solidFill>
                <a:schemeClr val="tx1"/>
              </a:solidFill>
            </a:endParaRPr>
          </a:p>
          <a:p>
            <a:pPr algn="l"/>
            <a:r>
              <a:rPr lang="en-US" sz="2800" kern="1200" dirty="0">
                <a:solidFill>
                  <a:srgbClr val="C00000"/>
                </a:solidFill>
                <a:latin typeface="IBM Plex Sans"/>
              </a:rPr>
              <a:t> </a:t>
            </a:r>
            <a:endParaRPr lang="en-US" altLang="en-US" sz="2800" kern="1200" dirty="0">
              <a:solidFill>
                <a:srgbClr val="C00000"/>
              </a:solidFill>
              <a:latin typeface="IBM Plex Sans"/>
            </a:endParaRPr>
          </a:p>
          <a:p>
            <a:pPr algn="l"/>
            <a:endParaRPr lang="en-US" sz="2800" kern="1200" dirty="0">
              <a:solidFill>
                <a:srgbClr val="C00000"/>
              </a:solidFill>
              <a:latin typeface="IBM Plex Sans"/>
            </a:endParaRPr>
          </a:p>
        </p:txBody>
      </p:sp>
      <p:sp>
        <p:nvSpPr>
          <p:cNvPr id="25" name="TextBox 27">
            <a:extLst>
              <a:ext uri="{FF2B5EF4-FFF2-40B4-BE49-F238E27FC236}">
                <a16:creationId xmlns:a16="http://schemas.microsoft.com/office/drawing/2014/main" id="{24738201-B6B2-4B2D-8E5D-168FE35ADD9F}"/>
              </a:ext>
            </a:extLst>
          </p:cNvPr>
          <p:cNvSpPr txBox="1">
            <a:spLocks noChangeArrowheads="1"/>
          </p:cNvSpPr>
          <p:nvPr/>
        </p:nvSpPr>
        <p:spPr bwMode="auto">
          <a:xfrm>
            <a:off x="1140883" y="7935102"/>
            <a:ext cx="1851470" cy="34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a:r>
              <a:rPr lang="en-US" sz="2000" dirty="0">
                <a:solidFill>
                  <a:srgbClr val="C00000"/>
                </a:solidFill>
                <a:cs typeface="Arial" panose="020B0604020202020204" pitchFamily="34" charset="0"/>
              </a:rPr>
              <a:t>Informed</a:t>
            </a: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r>
              <a:rPr lang="en-US" sz="2000" dirty="0">
                <a:solidFill>
                  <a:srgbClr val="C00000"/>
                </a:solidFill>
                <a:cs typeface="Arial" panose="020B0604020202020204" pitchFamily="34" charset="0"/>
              </a:rPr>
              <a:t>Accountable</a:t>
            </a: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r>
              <a:rPr lang="en-US" altLang="en-US" sz="2000" dirty="0">
                <a:solidFill>
                  <a:srgbClr val="C00000"/>
                </a:solidFill>
                <a:cs typeface="Arial" panose="020B0604020202020204" pitchFamily="34" charset="0"/>
              </a:rPr>
              <a:t>Consulted</a:t>
            </a:r>
          </a:p>
        </p:txBody>
      </p:sp>
      <p:pic>
        <p:nvPicPr>
          <p:cNvPr id="26" name="Graphic 6" descr="Handshake">
            <a:extLst>
              <a:ext uri="{FF2B5EF4-FFF2-40B4-BE49-F238E27FC236}">
                <a16:creationId xmlns:a16="http://schemas.microsoft.com/office/drawing/2014/main" id="{0E81DC43-AEDB-4693-9AD6-FAB0D80D2A9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7146" y="10546135"/>
            <a:ext cx="788947" cy="788947"/>
          </a:xfrm>
          <a:prstGeom prst="rect">
            <a:avLst/>
          </a:prstGeom>
        </p:spPr>
      </p:pic>
      <p:pic>
        <p:nvPicPr>
          <p:cNvPr id="27" name="Graphic 26" descr="Research">
            <a:extLst>
              <a:ext uri="{FF2B5EF4-FFF2-40B4-BE49-F238E27FC236}">
                <a16:creationId xmlns:a16="http://schemas.microsoft.com/office/drawing/2014/main" id="{5B9CFFB0-E3AA-445F-B22B-0E1B765B649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0876" y="8982625"/>
            <a:ext cx="741219" cy="741219"/>
          </a:xfrm>
          <a:prstGeom prst="rect">
            <a:avLst/>
          </a:prstGeom>
        </p:spPr>
      </p:pic>
      <p:pic>
        <p:nvPicPr>
          <p:cNvPr id="28" name="Graphic 34" descr="Information">
            <a:extLst>
              <a:ext uri="{FF2B5EF4-FFF2-40B4-BE49-F238E27FC236}">
                <a16:creationId xmlns:a16="http://schemas.microsoft.com/office/drawing/2014/main" id="{F80D6F76-C38A-4548-BE0D-E1876828EB4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94255" y="7445529"/>
            <a:ext cx="747097" cy="747097"/>
          </a:xfrm>
          <a:prstGeom prst="rect">
            <a:avLst/>
          </a:prstGeom>
        </p:spPr>
      </p:pic>
      <p:sp>
        <p:nvSpPr>
          <p:cNvPr id="29" name="Rectángulo 28">
            <a:extLst>
              <a:ext uri="{FF2B5EF4-FFF2-40B4-BE49-F238E27FC236}">
                <a16:creationId xmlns:a16="http://schemas.microsoft.com/office/drawing/2014/main" id="{9F812CFA-392E-4516-B9EC-A6A2CD387118}"/>
              </a:ext>
            </a:extLst>
          </p:cNvPr>
          <p:cNvSpPr/>
          <p:nvPr/>
        </p:nvSpPr>
        <p:spPr>
          <a:xfrm>
            <a:off x="3386475" y="6876299"/>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30" name="CuadroTexto 29">
            <a:extLst>
              <a:ext uri="{FF2B5EF4-FFF2-40B4-BE49-F238E27FC236}">
                <a16:creationId xmlns:a16="http://schemas.microsoft.com/office/drawing/2014/main" id="{1BA56A54-B0F1-42A1-BF50-D4C6B48186C3}"/>
              </a:ext>
            </a:extLst>
          </p:cNvPr>
          <p:cNvSpPr txBox="1"/>
          <p:nvPr/>
        </p:nvSpPr>
        <p:spPr>
          <a:xfrm>
            <a:off x="3386474" y="6212154"/>
            <a:ext cx="3880600" cy="646331"/>
          </a:xfrm>
          <a:prstGeom prst="rect">
            <a:avLst/>
          </a:prstGeom>
          <a:noFill/>
        </p:spPr>
        <p:txBody>
          <a:bodyPr wrap="square" rtlCol="0">
            <a:spAutoFit/>
          </a:bodyPr>
          <a:lstStyle/>
          <a:p>
            <a:pPr algn="l"/>
            <a:r>
              <a:rPr lang="es-ES" sz="1800" b="1" dirty="0">
                <a:solidFill>
                  <a:srgbClr val="C00000"/>
                </a:solidFill>
              </a:rPr>
              <a:t>Aprovisionar Entornos Cloud Privada (IaaS)</a:t>
            </a:r>
            <a:endParaRPr lang="es-ES" sz="2400" b="1" dirty="0">
              <a:solidFill>
                <a:srgbClr val="C00000"/>
              </a:solidFill>
            </a:endParaRPr>
          </a:p>
        </p:txBody>
      </p:sp>
      <p:sp>
        <p:nvSpPr>
          <p:cNvPr id="31" name="CuadroTexto 30">
            <a:extLst>
              <a:ext uri="{FF2B5EF4-FFF2-40B4-BE49-F238E27FC236}">
                <a16:creationId xmlns:a16="http://schemas.microsoft.com/office/drawing/2014/main" id="{65FB64E5-14C3-488A-A765-14B69329C558}"/>
              </a:ext>
            </a:extLst>
          </p:cNvPr>
          <p:cNvSpPr txBox="1"/>
          <p:nvPr/>
        </p:nvSpPr>
        <p:spPr>
          <a:xfrm>
            <a:off x="3316252" y="7353970"/>
            <a:ext cx="5654842" cy="2308324"/>
          </a:xfrm>
          <a:prstGeom prst="rect">
            <a:avLst/>
          </a:prstGeom>
          <a:noFill/>
        </p:spPr>
        <p:txBody>
          <a:bodyPr wrap="square" rtlCol="0">
            <a:spAutoFit/>
          </a:bodyPr>
          <a:lstStyle/>
          <a:p>
            <a:pPr algn="l"/>
            <a:endParaRPr lang="es-ES" sz="2400" dirty="0"/>
          </a:p>
          <a:p>
            <a:pPr algn="l"/>
            <a:endParaRPr lang="es-ES" sz="2400" dirty="0"/>
          </a:p>
          <a:p>
            <a:pPr algn="l"/>
            <a:endParaRPr lang="es-ES" sz="2400" dirty="0"/>
          </a:p>
          <a:p>
            <a:pPr algn="l"/>
            <a:endParaRPr lang="es-ES" sz="2400" dirty="0"/>
          </a:p>
          <a:p>
            <a:pPr algn="l"/>
            <a:r>
              <a:rPr lang="es-ES" sz="2400" dirty="0"/>
              <a:t>Infraestructura (SanTec)</a:t>
            </a:r>
            <a:endParaRPr lang="en-US" altLang="en-US" sz="2400" dirty="0"/>
          </a:p>
          <a:p>
            <a:pPr algn="l"/>
            <a:r>
              <a:rPr lang="en-US" altLang="en-US" sz="2400" dirty="0"/>
              <a:t> </a:t>
            </a:r>
            <a:endParaRPr lang="es-ES" sz="2400" dirty="0"/>
          </a:p>
        </p:txBody>
      </p:sp>
      <p:cxnSp>
        <p:nvCxnSpPr>
          <p:cNvPr id="32" name="Conector recto 31">
            <a:extLst>
              <a:ext uri="{FF2B5EF4-FFF2-40B4-BE49-F238E27FC236}">
                <a16:creationId xmlns:a16="http://schemas.microsoft.com/office/drawing/2014/main" id="{592B5894-E39F-406F-9BF6-ED7BB1B2CF99}"/>
              </a:ext>
            </a:extLst>
          </p:cNvPr>
          <p:cNvCxnSpPr>
            <a:cxnSpLocks/>
          </p:cNvCxnSpPr>
          <p:nvPr/>
        </p:nvCxnSpPr>
        <p:spPr>
          <a:xfrm>
            <a:off x="483686" y="8425282"/>
            <a:ext cx="19320293"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34" name="Conector recto 33">
            <a:extLst>
              <a:ext uri="{FF2B5EF4-FFF2-40B4-BE49-F238E27FC236}">
                <a16:creationId xmlns:a16="http://schemas.microsoft.com/office/drawing/2014/main" id="{BD77BD8E-96BD-48B1-97EB-2ED66920087C}"/>
              </a:ext>
            </a:extLst>
          </p:cNvPr>
          <p:cNvCxnSpPr>
            <a:cxnSpLocks/>
          </p:cNvCxnSpPr>
          <p:nvPr/>
        </p:nvCxnSpPr>
        <p:spPr>
          <a:xfrm>
            <a:off x="483686" y="9867955"/>
            <a:ext cx="19320293"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35" name="Conector recto 34">
            <a:extLst>
              <a:ext uri="{FF2B5EF4-FFF2-40B4-BE49-F238E27FC236}">
                <a16:creationId xmlns:a16="http://schemas.microsoft.com/office/drawing/2014/main" id="{47606E63-1FCD-4CF2-90C9-169D7EF6F9E2}"/>
              </a:ext>
            </a:extLst>
          </p:cNvPr>
          <p:cNvCxnSpPr>
            <a:cxnSpLocks/>
          </p:cNvCxnSpPr>
          <p:nvPr/>
        </p:nvCxnSpPr>
        <p:spPr>
          <a:xfrm flipV="1">
            <a:off x="483686" y="11335082"/>
            <a:ext cx="19320293" cy="38948"/>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sp>
        <p:nvSpPr>
          <p:cNvPr id="40" name="CuadroTexto 39">
            <a:extLst>
              <a:ext uri="{FF2B5EF4-FFF2-40B4-BE49-F238E27FC236}">
                <a16:creationId xmlns:a16="http://schemas.microsoft.com/office/drawing/2014/main" id="{1AD743A4-3041-4821-87B6-744A7AB5A0F8}"/>
              </a:ext>
            </a:extLst>
          </p:cNvPr>
          <p:cNvSpPr txBox="1"/>
          <p:nvPr/>
        </p:nvSpPr>
        <p:spPr>
          <a:xfrm>
            <a:off x="7419475" y="6188091"/>
            <a:ext cx="3505199" cy="646331"/>
          </a:xfrm>
          <a:prstGeom prst="rect">
            <a:avLst/>
          </a:prstGeom>
          <a:noFill/>
        </p:spPr>
        <p:txBody>
          <a:bodyPr wrap="square" rtlCol="0">
            <a:spAutoFit/>
          </a:bodyPr>
          <a:lstStyle/>
          <a:p>
            <a:pPr algn="l"/>
            <a:r>
              <a:rPr lang="es-ES" sz="1800" b="1" dirty="0">
                <a:solidFill>
                  <a:srgbClr val="C00000"/>
                </a:solidFill>
              </a:rPr>
              <a:t>Registrar Entornos Cloud Privada (IaaS)</a:t>
            </a:r>
            <a:endParaRPr lang="es-ES" sz="2000" b="1" dirty="0">
              <a:solidFill>
                <a:srgbClr val="C00000"/>
              </a:solidFill>
            </a:endParaRPr>
          </a:p>
        </p:txBody>
      </p:sp>
      <p:sp>
        <p:nvSpPr>
          <p:cNvPr id="41" name="CuadroTexto 40">
            <a:extLst>
              <a:ext uri="{FF2B5EF4-FFF2-40B4-BE49-F238E27FC236}">
                <a16:creationId xmlns:a16="http://schemas.microsoft.com/office/drawing/2014/main" id="{F9C8B312-1DBD-44F7-8A1A-A92C9941097A}"/>
              </a:ext>
            </a:extLst>
          </p:cNvPr>
          <p:cNvSpPr txBox="1"/>
          <p:nvPr/>
        </p:nvSpPr>
        <p:spPr>
          <a:xfrm>
            <a:off x="7380527" y="7355657"/>
            <a:ext cx="5654842" cy="2308324"/>
          </a:xfrm>
          <a:prstGeom prst="rect">
            <a:avLst/>
          </a:prstGeom>
          <a:noFill/>
        </p:spPr>
        <p:txBody>
          <a:bodyPr wrap="square" rtlCol="0">
            <a:spAutoFit/>
          </a:bodyPr>
          <a:lstStyle/>
          <a:p>
            <a:pPr algn="l"/>
            <a:r>
              <a:rPr lang="es-ES" sz="2400" dirty="0"/>
              <a:t>Monitorización (SanTec)</a:t>
            </a:r>
          </a:p>
          <a:p>
            <a:pPr algn="l"/>
            <a:r>
              <a:rPr lang="es-ES" sz="2400" dirty="0"/>
              <a:t>Nivel de Servicio (SanTec)</a:t>
            </a:r>
          </a:p>
          <a:p>
            <a:pPr algn="l"/>
            <a:endParaRPr lang="en-US" altLang="en-US" sz="2400" dirty="0"/>
          </a:p>
          <a:p>
            <a:pPr algn="l"/>
            <a:endParaRPr lang="en-US" altLang="en-US" sz="2400" dirty="0"/>
          </a:p>
          <a:p>
            <a:pPr algn="l"/>
            <a:r>
              <a:rPr lang="es-ES" sz="2400" dirty="0"/>
              <a:t>Infraestructura (SanTec)</a:t>
            </a:r>
            <a:r>
              <a:rPr lang="en-US" altLang="en-US" sz="2400" dirty="0"/>
              <a:t> </a:t>
            </a:r>
          </a:p>
          <a:p>
            <a:pPr marL="457200" indent="-457200" algn="l">
              <a:buFont typeface="Arial" panose="020B0604020202020204" pitchFamily="34" charset="0"/>
              <a:buChar char="•"/>
            </a:pPr>
            <a:endParaRPr lang="en-US" altLang="en-US" sz="2400" dirty="0"/>
          </a:p>
        </p:txBody>
      </p:sp>
      <p:sp>
        <p:nvSpPr>
          <p:cNvPr id="43" name="CuadroTexto 42">
            <a:extLst>
              <a:ext uri="{FF2B5EF4-FFF2-40B4-BE49-F238E27FC236}">
                <a16:creationId xmlns:a16="http://schemas.microsoft.com/office/drawing/2014/main" id="{D0EA2174-2A26-41B8-91D5-6624F417342B}"/>
              </a:ext>
            </a:extLst>
          </p:cNvPr>
          <p:cNvSpPr txBox="1"/>
          <p:nvPr/>
        </p:nvSpPr>
        <p:spPr>
          <a:xfrm>
            <a:off x="11389925" y="6189779"/>
            <a:ext cx="3880600" cy="646331"/>
          </a:xfrm>
          <a:prstGeom prst="rect">
            <a:avLst/>
          </a:prstGeom>
          <a:noFill/>
        </p:spPr>
        <p:txBody>
          <a:bodyPr wrap="square" rtlCol="0">
            <a:spAutoFit/>
          </a:bodyPr>
          <a:lstStyle/>
          <a:p>
            <a:pPr algn="l"/>
            <a:r>
              <a:rPr lang="es-ES" sz="1800" b="1" dirty="0">
                <a:solidFill>
                  <a:srgbClr val="C00000"/>
                </a:solidFill>
              </a:rPr>
              <a:t>Configuración Cloud Privada (IaaS)</a:t>
            </a:r>
            <a:endParaRPr lang="es-ES" sz="2400" b="1" dirty="0">
              <a:solidFill>
                <a:srgbClr val="C00000"/>
              </a:solidFill>
            </a:endParaRPr>
          </a:p>
        </p:txBody>
      </p:sp>
      <p:sp>
        <p:nvSpPr>
          <p:cNvPr id="48" name="CuadroTexto 47">
            <a:extLst>
              <a:ext uri="{FF2B5EF4-FFF2-40B4-BE49-F238E27FC236}">
                <a16:creationId xmlns:a16="http://schemas.microsoft.com/office/drawing/2014/main" id="{FF5EB115-519D-4F87-807D-CFDE6251026F}"/>
              </a:ext>
            </a:extLst>
          </p:cNvPr>
          <p:cNvSpPr txBox="1"/>
          <p:nvPr/>
        </p:nvSpPr>
        <p:spPr>
          <a:xfrm>
            <a:off x="11389925" y="7332911"/>
            <a:ext cx="5654842" cy="4893647"/>
          </a:xfrm>
          <a:prstGeom prst="rect">
            <a:avLst/>
          </a:prstGeom>
          <a:noFill/>
        </p:spPr>
        <p:txBody>
          <a:bodyPr wrap="square" rtlCol="0">
            <a:spAutoFit/>
          </a:bodyPr>
          <a:lstStyle/>
          <a:p>
            <a:pPr algn="l"/>
            <a:r>
              <a:rPr lang="es-ES" sz="2400" dirty="0"/>
              <a:t>Monitorización (SanTec)</a:t>
            </a:r>
          </a:p>
          <a:p>
            <a:pPr algn="l"/>
            <a:endParaRPr lang="en-US" altLang="en-US" sz="2400" dirty="0"/>
          </a:p>
          <a:p>
            <a:pPr algn="l"/>
            <a:endParaRPr lang="en-US" altLang="en-US" sz="2400" dirty="0"/>
          </a:p>
          <a:p>
            <a:pPr algn="l"/>
            <a:endParaRPr lang="en-US" altLang="en-US" sz="2400" dirty="0"/>
          </a:p>
          <a:p>
            <a:pPr algn="l"/>
            <a:r>
              <a:rPr lang="es-ES" sz="2400" dirty="0"/>
              <a:t>Infraestructura (SanTec)</a:t>
            </a:r>
            <a:endParaRPr lang="en-US" altLang="en-US" sz="2400" dirty="0"/>
          </a:p>
          <a:p>
            <a:pPr algn="l"/>
            <a:endParaRPr lang="en-US" altLang="en-US" sz="2400" dirty="0"/>
          </a:p>
          <a:p>
            <a:pPr algn="l"/>
            <a:endParaRPr lang="en-US" altLang="en-US" sz="2400" dirty="0"/>
          </a:p>
          <a:p>
            <a:pPr algn="l"/>
            <a:endParaRPr lang="en-US" altLang="en-US" sz="2400" dirty="0"/>
          </a:p>
          <a:p>
            <a:pPr algn="l"/>
            <a:r>
              <a:rPr lang="en-US" altLang="en-US" sz="2400" dirty="0"/>
              <a:t>Dominio de Negocio</a:t>
            </a:r>
          </a:p>
          <a:p>
            <a:pPr algn="l"/>
            <a:r>
              <a:rPr lang="en-US" altLang="en-US" sz="2400" dirty="0"/>
              <a:t> </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endParaRPr lang="en-US" altLang="en-US" sz="2400" dirty="0"/>
          </a:p>
        </p:txBody>
      </p:sp>
      <p:sp>
        <p:nvSpPr>
          <p:cNvPr id="49" name="TextBox 27">
            <a:extLst>
              <a:ext uri="{FF2B5EF4-FFF2-40B4-BE49-F238E27FC236}">
                <a16:creationId xmlns:a16="http://schemas.microsoft.com/office/drawing/2014/main" id="{86643CDD-FE19-46A5-AACB-31D4DAB005F2}"/>
              </a:ext>
            </a:extLst>
          </p:cNvPr>
          <p:cNvSpPr txBox="1">
            <a:spLocks noChangeArrowheads="1"/>
          </p:cNvSpPr>
          <p:nvPr/>
        </p:nvSpPr>
        <p:spPr bwMode="auto">
          <a:xfrm>
            <a:off x="1934085" y="5266146"/>
            <a:ext cx="9455840" cy="646331"/>
          </a:xfrm>
          <a:prstGeom prst="rect">
            <a:avLst/>
          </a:prstGeom>
          <a:noFill/>
          <a:ln>
            <a:noFill/>
          </a:ln>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eaLnBrk="1" hangingPunct="1"/>
            <a:r>
              <a:rPr lang="en-US" altLang="en-US" sz="3600" dirty="0">
                <a:solidFill>
                  <a:srgbClr val="C00000"/>
                </a:solidFill>
                <a:cs typeface="Arial" panose="020B0604020202020204" pitchFamily="34" charset="0"/>
              </a:rPr>
              <a:t>Responsible   </a:t>
            </a:r>
            <a:r>
              <a:rPr lang="en-US" altLang="en-US" sz="3200" b="0" dirty="0">
                <a:cs typeface="Arial" panose="020B0604020202020204" pitchFamily="34" charset="0"/>
              </a:rPr>
              <a:t>Gestión de la demanda (SGT)</a:t>
            </a:r>
          </a:p>
        </p:txBody>
      </p:sp>
      <p:pic>
        <p:nvPicPr>
          <p:cNvPr id="50" name="Picture 25">
            <a:extLst>
              <a:ext uri="{FF2B5EF4-FFF2-40B4-BE49-F238E27FC236}">
                <a16:creationId xmlns:a16="http://schemas.microsoft.com/office/drawing/2014/main" id="{8C0A00FE-818F-41E6-859A-645B338F5D35}"/>
              </a:ext>
            </a:extLst>
          </p:cNvPr>
          <p:cNvPicPr>
            <a:picLocks noChangeAspect="1"/>
          </p:cNvPicPr>
          <p:nvPr/>
        </p:nvPicPr>
        <p:blipFill>
          <a:blip r:embed="rId9">
            <a:extLst>
              <a:ext uri="{BEBA8EAE-BF5A-486C-A8C5-ECC9F3942E4B}">
                <a14:imgProps xmlns:a14="http://schemas.microsoft.com/office/drawing/2010/main">
                  <a14:imgLayer r:embed="rId10">
                    <a14:imgEffect>
                      <a14:colorTemperature colorTemp="2300"/>
                    </a14:imgEffect>
                  </a14:imgLayer>
                </a14:imgProps>
              </a:ext>
              <a:ext uri="{28A0092B-C50C-407E-A947-70E740481C1C}">
                <a14:useLocalDpi xmlns:a14="http://schemas.microsoft.com/office/drawing/2010/main" val="0"/>
              </a:ext>
            </a:extLst>
          </a:blip>
          <a:stretch>
            <a:fillRect/>
          </a:stretch>
        </p:blipFill>
        <p:spPr>
          <a:xfrm>
            <a:off x="255221" y="4554484"/>
            <a:ext cx="1817801" cy="1817801"/>
          </a:xfrm>
          <a:prstGeom prst="rect">
            <a:avLst/>
          </a:prstGeom>
        </p:spPr>
      </p:pic>
      <p:sp>
        <p:nvSpPr>
          <p:cNvPr id="58" name="Rectángulo 57">
            <a:extLst>
              <a:ext uri="{FF2B5EF4-FFF2-40B4-BE49-F238E27FC236}">
                <a16:creationId xmlns:a16="http://schemas.microsoft.com/office/drawing/2014/main" id="{035797FA-9F57-4177-932A-7A20E345EE98}"/>
              </a:ext>
            </a:extLst>
          </p:cNvPr>
          <p:cNvSpPr/>
          <p:nvPr/>
        </p:nvSpPr>
        <p:spPr>
          <a:xfrm>
            <a:off x="15485475" y="6892180"/>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63" name="Rectángulo 62">
            <a:extLst>
              <a:ext uri="{FF2B5EF4-FFF2-40B4-BE49-F238E27FC236}">
                <a16:creationId xmlns:a16="http://schemas.microsoft.com/office/drawing/2014/main" id="{A9723F52-0204-4030-BE59-15275E889D60}"/>
              </a:ext>
            </a:extLst>
          </p:cNvPr>
          <p:cNvSpPr/>
          <p:nvPr/>
        </p:nvSpPr>
        <p:spPr>
          <a:xfrm>
            <a:off x="11452475" y="6876299"/>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64" name="Rectángulo 63">
            <a:extLst>
              <a:ext uri="{FF2B5EF4-FFF2-40B4-BE49-F238E27FC236}">
                <a16:creationId xmlns:a16="http://schemas.microsoft.com/office/drawing/2014/main" id="{F6D8C325-F79B-40EB-AC81-AE521AF39363}"/>
              </a:ext>
            </a:extLst>
          </p:cNvPr>
          <p:cNvSpPr/>
          <p:nvPr/>
        </p:nvSpPr>
        <p:spPr>
          <a:xfrm>
            <a:off x="7419475" y="6882281"/>
            <a:ext cx="3880600" cy="2398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65" name="CuadroTexto 64">
            <a:extLst>
              <a:ext uri="{FF2B5EF4-FFF2-40B4-BE49-F238E27FC236}">
                <a16:creationId xmlns:a16="http://schemas.microsoft.com/office/drawing/2014/main" id="{71FDBE16-0DA9-4562-ABA9-70FA9898A378}"/>
              </a:ext>
            </a:extLst>
          </p:cNvPr>
          <p:cNvSpPr txBox="1"/>
          <p:nvPr/>
        </p:nvSpPr>
        <p:spPr>
          <a:xfrm>
            <a:off x="15485475" y="6222627"/>
            <a:ext cx="3657599" cy="646331"/>
          </a:xfrm>
          <a:prstGeom prst="rect">
            <a:avLst/>
          </a:prstGeom>
          <a:noFill/>
        </p:spPr>
        <p:txBody>
          <a:bodyPr wrap="square" rtlCol="0">
            <a:spAutoFit/>
          </a:bodyPr>
          <a:lstStyle/>
          <a:p>
            <a:pPr algn="l"/>
            <a:r>
              <a:rPr lang="es-ES" sz="1800" b="1" dirty="0">
                <a:solidFill>
                  <a:srgbClr val="C00000"/>
                </a:solidFill>
              </a:rPr>
              <a:t>Desaprovisionar Entorno Cloud Privada (IaaS)</a:t>
            </a:r>
            <a:endParaRPr lang="es-ES" sz="2400" b="1" dirty="0">
              <a:solidFill>
                <a:srgbClr val="C00000"/>
              </a:solidFill>
            </a:endParaRPr>
          </a:p>
        </p:txBody>
      </p:sp>
      <p:sp>
        <p:nvSpPr>
          <p:cNvPr id="67" name="CuadroTexto 66">
            <a:extLst>
              <a:ext uri="{FF2B5EF4-FFF2-40B4-BE49-F238E27FC236}">
                <a16:creationId xmlns:a16="http://schemas.microsoft.com/office/drawing/2014/main" id="{9B435933-1F5F-41CF-AD6C-2F62CA8E9F0E}"/>
              </a:ext>
            </a:extLst>
          </p:cNvPr>
          <p:cNvSpPr txBox="1"/>
          <p:nvPr/>
        </p:nvSpPr>
        <p:spPr>
          <a:xfrm>
            <a:off x="15509077" y="7327163"/>
            <a:ext cx="5654842" cy="3416320"/>
          </a:xfrm>
          <a:prstGeom prst="rect">
            <a:avLst/>
          </a:prstGeom>
          <a:noFill/>
        </p:spPr>
        <p:txBody>
          <a:bodyPr wrap="square" rtlCol="0">
            <a:spAutoFit/>
          </a:bodyPr>
          <a:lstStyle/>
          <a:p>
            <a:pPr algn="l"/>
            <a:r>
              <a:rPr lang="es-ES" sz="2400" dirty="0"/>
              <a:t>Monitorización (SanTec)</a:t>
            </a:r>
          </a:p>
          <a:p>
            <a:pPr algn="l"/>
            <a:r>
              <a:rPr lang="es-ES" sz="2400" dirty="0"/>
              <a:t>Nivel de Servicio (SanTec)</a:t>
            </a:r>
            <a:endParaRPr lang="en-US" altLang="en-US" sz="2400" dirty="0"/>
          </a:p>
          <a:p>
            <a:pPr algn="l"/>
            <a:endParaRPr lang="en-US" altLang="en-US" sz="2400" dirty="0"/>
          </a:p>
          <a:p>
            <a:pPr algn="l"/>
            <a:endParaRPr lang="en-US" altLang="en-US" sz="2400" dirty="0"/>
          </a:p>
          <a:p>
            <a:pPr algn="l"/>
            <a:r>
              <a:rPr lang="es-ES" sz="2400" dirty="0"/>
              <a:t>Infraestructura (SanTec)</a:t>
            </a:r>
          </a:p>
          <a:p>
            <a:pPr algn="l"/>
            <a:r>
              <a:rPr lang="es-ES" altLang="en-US" sz="2400" dirty="0"/>
              <a:t>Dominio de Negocio</a:t>
            </a:r>
            <a:endParaRPr lang="en-US" altLang="en-US" sz="2400" dirty="0"/>
          </a:p>
          <a:p>
            <a:pPr algn="l"/>
            <a:endParaRPr lang="en-US" altLang="en-US" sz="2400" dirty="0"/>
          </a:p>
          <a:p>
            <a:pPr algn="l"/>
            <a:endParaRPr lang="en-US" altLang="en-US" sz="2400" dirty="0"/>
          </a:p>
          <a:p>
            <a:pPr algn="l"/>
            <a:r>
              <a:rPr lang="en-US" altLang="en-US" sz="2400" dirty="0"/>
              <a:t>Nivel de Servicio (SanTec)</a:t>
            </a:r>
          </a:p>
        </p:txBody>
      </p:sp>
      <p:pic>
        <p:nvPicPr>
          <p:cNvPr id="37" name="New picture">
            <a:extLst>
              <a:ext uri="{FF2B5EF4-FFF2-40B4-BE49-F238E27FC236}">
                <a16:creationId xmlns:a16="http://schemas.microsoft.com/office/drawing/2014/main" id="{09A640BE-D9C3-4117-A657-2F38ED0000D2}"/>
              </a:ext>
            </a:extLst>
          </p:cNvPr>
          <p:cNvPicPr/>
          <p:nvPr/>
        </p:nvPicPr>
        <p:blipFill rotWithShape="1">
          <a:blip r:embed="rId11"/>
          <a:srcRect t="28615" b="56533"/>
          <a:stretch/>
        </p:blipFill>
        <p:spPr>
          <a:xfrm>
            <a:off x="1934085" y="2190914"/>
            <a:ext cx="20862223" cy="2000548"/>
          </a:xfrm>
          <a:prstGeom prst="rect">
            <a:avLst/>
          </a:prstGeom>
        </p:spPr>
      </p:pic>
    </p:spTree>
    <p:extLst>
      <p:ext uri="{BB962C8B-B14F-4D97-AF65-F5344CB8AC3E}">
        <p14:creationId xmlns:p14="http://schemas.microsoft.com/office/powerpoint/2010/main" val="13887930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43D98EF2-D46E-4459-A7A6-F3EDA2FD1F18}"/>
              </a:ext>
            </a:extLst>
          </p:cNvPr>
          <p:cNvSpPr/>
          <p:nvPr/>
        </p:nvSpPr>
        <p:spPr>
          <a:xfrm>
            <a:off x="483686" y="4361543"/>
            <a:ext cx="22944611" cy="84647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Arquitectura</a:t>
            </a:r>
          </a:p>
        </p:txBody>
      </p:sp>
      <p:sp>
        <p:nvSpPr>
          <p:cNvPr id="2" name="TextBox 1">
            <a:extLst>
              <a:ext uri="{FF2B5EF4-FFF2-40B4-BE49-F238E27FC236}">
                <a16:creationId xmlns:a16="http://schemas.microsoft.com/office/drawing/2014/main" id="{6162A749-145E-45A9-A608-94CDAC2EE459}"/>
              </a:ext>
            </a:extLst>
          </p:cNvPr>
          <p:cNvSpPr txBox="1"/>
          <p:nvPr/>
        </p:nvSpPr>
        <p:spPr>
          <a:xfrm>
            <a:off x="650240" y="541319"/>
            <a:ext cx="22611504" cy="2000548"/>
          </a:xfrm>
          <a:prstGeom prst="rect">
            <a:avLst/>
          </a:prstGeom>
          <a:noFill/>
        </p:spPr>
        <p:txBody>
          <a:bodyPr wrap="square" rtlCol="0" anchor="t">
            <a:spAutoFit/>
          </a:bodyPr>
          <a:lstStyle/>
          <a:p>
            <a:pPr algn="l"/>
            <a:r>
              <a:rPr lang="en-GB" sz="4000" b="1" kern="1200" dirty="0">
                <a:solidFill>
                  <a:srgbClr val="C00000"/>
                </a:solidFill>
              </a:rPr>
              <a:t>Aprovisionamiento &amp; Ejecución Automática</a:t>
            </a:r>
            <a:r>
              <a:rPr lang="en-US" sz="4000" b="1" kern="1200" dirty="0">
                <a:solidFill>
                  <a:srgbClr val="C00000"/>
                </a:solidFill>
              </a:rPr>
              <a:t> </a:t>
            </a:r>
            <a:r>
              <a:rPr lang="en-US" sz="2800" kern="1200" dirty="0">
                <a:solidFill>
                  <a:srgbClr val="C00000"/>
                </a:solidFill>
              </a:rPr>
              <a:t>Aprovisionamiento de Entornos de Plataforma</a:t>
            </a:r>
          </a:p>
          <a:p>
            <a:pPr algn="l"/>
            <a:r>
              <a:rPr lang="es-ES" altLang="en-US" sz="2800" kern="1200" dirty="0">
                <a:solidFill>
                  <a:schemeClr val="tx1"/>
                </a:solidFill>
              </a:rPr>
              <a:t>Vista de Procesos</a:t>
            </a:r>
            <a:endParaRPr lang="en-US" altLang="en-US" sz="2800" kern="1200" dirty="0">
              <a:solidFill>
                <a:schemeClr val="tx1"/>
              </a:solidFill>
            </a:endParaRPr>
          </a:p>
          <a:p>
            <a:pPr algn="l"/>
            <a:r>
              <a:rPr lang="en-US" sz="2800" kern="1200" dirty="0">
                <a:solidFill>
                  <a:srgbClr val="C00000"/>
                </a:solidFill>
                <a:latin typeface="IBM Plex Sans"/>
              </a:rPr>
              <a:t> </a:t>
            </a:r>
            <a:endParaRPr lang="en-US" altLang="en-US" sz="2800" kern="1200" dirty="0">
              <a:solidFill>
                <a:srgbClr val="C00000"/>
              </a:solidFill>
              <a:latin typeface="IBM Plex Sans"/>
            </a:endParaRPr>
          </a:p>
          <a:p>
            <a:pPr algn="l"/>
            <a:endParaRPr lang="en-US" sz="2800" kern="1200" dirty="0">
              <a:solidFill>
                <a:srgbClr val="C00000"/>
              </a:solidFill>
              <a:latin typeface="IBM Plex Sans"/>
            </a:endParaRPr>
          </a:p>
        </p:txBody>
      </p:sp>
      <p:sp>
        <p:nvSpPr>
          <p:cNvPr id="33" name="TextBox 27">
            <a:extLst>
              <a:ext uri="{FF2B5EF4-FFF2-40B4-BE49-F238E27FC236}">
                <a16:creationId xmlns:a16="http://schemas.microsoft.com/office/drawing/2014/main" id="{5F7CA834-FAFB-4475-98EA-B5B24B1B9ACA}"/>
              </a:ext>
            </a:extLst>
          </p:cNvPr>
          <p:cNvSpPr txBox="1">
            <a:spLocks noChangeArrowheads="1"/>
          </p:cNvSpPr>
          <p:nvPr/>
        </p:nvSpPr>
        <p:spPr bwMode="auto">
          <a:xfrm>
            <a:off x="1934085" y="5266146"/>
            <a:ext cx="7162518" cy="646331"/>
          </a:xfrm>
          <a:prstGeom prst="rect">
            <a:avLst/>
          </a:prstGeom>
          <a:noFill/>
          <a:ln>
            <a:noFill/>
          </a:ln>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eaLnBrk="1" hangingPunct="1"/>
            <a:r>
              <a:rPr lang="en-US" altLang="en-US" sz="3600" dirty="0">
                <a:solidFill>
                  <a:srgbClr val="C00000"/>
                </a:solidFill>
                <a:cs typeface="Arial" panose="020B0604020202020204" pitchFamily="34" charset="0"/>
              </a:rPr>
              <a:t>Responsible   </a:t>
            </a:r>
            <a:r>
              <a:rPr lang="en-US" altLang="en-US" sz="3200" b="0" dirty="0">
                <a:cs typeface="Arial" panose="020B0604020202020204" pitchFamily="34" charset="0"/>
              </a:rPr>
              <a:t>Dominio de Negocio</a:t>
            </a:r>
          </a:p>
        </p:txBody>
      </p:sp>
      <p:sp>
        <p:nvSpPr>
          <p:cNvPr id="37" name="TextBox 27">
            <a:extLst>
              <a:ext uri="{FF2B5EF4-FFF2-40B4-BE49-F238E27FC236}">
                <a16:creationId xmlns:a16="http://schemas.microsoft.com/office/drawing/2014/main" id="{FB642CBA-7B42-427A-BDC9-6EF281856AF5}"/>
              </a:ext>
            </a:extLst>
          </p:cNvPr>
          <p:cNvSpPr txBox="1">
            <a:spLocks noChangeArrowheads="1"/>
          </p:cNvSpPr>
          <p:nvPr/>
        </p:nvSpPr>
        <p:spPr bwMode="auto">
          <a:xfrm>
            <a:off x="1140883" y="7935102"/>
            <a:ext cx="1851470" cy="34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a:r>
              <a:rPr lang="en-US" sz="2000" dirty="0">
                <a:solidFill>
                  <a:srgbClr val="C00000"/>
                </a:solidFill>
                <a:cs typeface="Arial" panose="020B0604020202020204" pitchFamily="34" charset="0"/>
              </a:rPr>
              <a:t>Informed</a:t>
            </a: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r>
              <a:rPr lang="en-US" sz="2000" dirty="0">
                <a:solidFill>
                  <a:srgbClr val="C00000"/>
                </a:solidFill>
                <a:cs typeface="Arial" panose="020B0604020202020204" pitchFamily="34" charset="0"/>
              </a:rPr>
              <a:t>Accountable</a:t>
            </a: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r>
              <a:rPr lang="en-US" altLang="en-US" sz="2000" dirty="0">
                <a:solidFill>
                  <a:srgbClr val="C00000"/>
                </a:solidFill>
                <a:cs typeface="Arial" panose="020B0604020202020204" pitchFamily="34" charset="0"/>
              </a:rPr>
              <a:t>Consulted</a:t>
            </a:r>
          </a:p>
        </p:txBody>
      </p:sp>
      <p:pic>
        <p:nvPicPr>
          <p:cNvPr id="44" name="Picture 25">
            <a:extLst>
              <a:ext uri="{FF2B5EF4-FFF2-40B4-BE49-F238E27FC236}">
                <a16:creationId xmlns:a16="http://schemas.microsoft.com/office/drawing/2014/main" id="{D72724ED-7B48-4488-B887-5833733403C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2300"/>
                    </a14:imgEffect>
                  </a14:imgLayer>
                </a14:imgProps>
              </a:ext>
              <a:ext uri="{28A0092B-C50C-407E-A947-70E740481C1C}">
                <a14:useLocalDpi xmlns:a14="http://schemas.microsoft.com/office/drawing/2010/main" val="0"/>
              </a:ext>
            </a:extLst>
          </a:blip>
          <a:stretch>
            <a:fillRect/>
          </a:stretch>
        </p:blipFill>
        <p:spPr>
          <a:xfrm>
            <a:off x="255221" y="4554484"/>
            <a:ext cx="1817801" cy="1817801"/>
          </a:xfrm>
          <a:prstGeom prst="rect">
            <a:avLst/>
          </a:prstGeom>
        </p:spPr>
      </p:pic>
      <p:pic>
        <p:nvPicPr>
          <p:cNvPr id="45" name="Graphic 6" descr="Handshake">
            <a:extLst>
              <a:ext uri="{FF2B5EF4-FFF2-40B4-BE49-F238E27FC236}">
                <a16:creationId xmlns:a16="http://schemas.microsoft.com/office/drawing/2014/main" id="{1CEDBCFD-0F2B-486C-95CC-C39ACBF1545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7146" y="10546135"/>
            <a:ext cx="788947" cy="788947"/>
          </a:xfrm>
          <a:prstGeom prst="rect">
            <a:avLst/>
          </a:prstGeom>
        </p:spPr>
      </p:pic>
      <p:pic>
        <p:nvPicPr>
          <p:cNvPr id="46" name="Graphic 26" descr="Research">
            <a:extLst>
              <a:ext uri="{FF2B5EF4-FFF2-40B4-BE49-F238E27FC236}">
                <a16:creationId xmlns:a16="http://schemas.microsoft.com/office/drawing/2014/main" id="{792414B5-258C-4791-AF8F-05CCAD981FC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0876" y="8982625"/>
            <a:ext cx="741219" cy="741219"/>
          </a:xfrm>
          <a:prstGeom prst="rect">
            <a:avLst/>
          </a:prstGeom>
        </p:spPr>
      </p:pic>
      <p:pic>
        <p:nvPicPr>
          <p:cNvPr id="47" name="Graphic 34" descr="Information">
            <a:extLst>
              <a:ext uri="{FF2B5EF4-FFF2-40B4-BE49-F238E27FC236}">
                <a16:creationId xmlns:a16="http://schemas.microsoft.com/office/drawing/2014/main" id="{5001615A-0993-464C-96E9-2539D97517E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94255" y="7445529"/>
            <a:ext cx="747097" cy="747097"/>
          </a:xfrm>
          <a:prstGeom prst="rect">
            <a:avLst/>
          </a:prstGeom>
        </p:spPr>
      </p:pic>
      <p:sp>
        <p:nvSpPr>
          <p:cNvPr id="51" name="Rectángulo 50">
            <a:extLst>
              <a:ext uri="{FF2B5EF4-FFF2-40B4-BE49-F238E27FC236}">
                <a16:creationId xmlns:a16="http://schemas.microsoft.com/office/drawing/2014/main" id="{B0184B83-E13F-4D4F-8AF9-5F0DDC7C818E}"/>
              </a:ext>
            </a:extLst>
          </p:cNvPr>
          <p:cNvSpPr/>
          <p:nvPr/>
        </p:nvSpPr>
        <p:spPr>
          <a:xfrm>
            <a:off x="3386474" y="6876299"/>
            <a:ext cx="4831253" cy="2408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3" name="CuadroTexto 52">
            <a:extLst>
              <a:ext uri="{FF2B5EF4-FFF2-40B4-BE49-F238E27FC236}">
                <a16:creationId xmlns:a16="http://schemas.microsoft.com/office/drawing/2014/main" id="{D2D193C5-050E-4531-B4AF-D77A8F3165C6}"/>
              </a:ext>
            </a:extLst>
          </p:cNvPr>
          <p:cNvSpPr txBox="1"/>
          <p:nvPr/>
        </p:nvSpPr>
        <p:spPr>
          <a:xfrm>
            <a:off x="3386474" y="6260281"/>
            <a:ext cx="5029200" cy="553998"/>
          </a:xfrm>
          <a:prstGeom prst="rect">
            <a:avLst/>
          </a:prstGeom>
          <a:noFill/>
        </p:spPr>
        <p:txBody>
          <a:bodyPr wrap="square" rtlCol="0">
            <a:spAutoFit/>
          </a:bodyPr>
          <a:lstStyle/>
          <a:p>
            <a:pPr algn="l"/>
            <a:r>
              <a:rPr lang="es-ES" sz="2400" b="1" dirty="0">
                <a:solidFill>
                  <a:srgbClr val="C00000"/>
                </a:solidFill>
              </a:rPr>
              <a:t>Demandar</a:t>
            </a:r>
            <a:r>
              <a:rPr lang="es-ES" b="1" dirty="0">
                <a:solidFill>
                  <a:srgbClr val="C00000"/>
                </a:solidFill>
              </a:rPr>
              <a:t> </a:t>
            </a:r>
            <a:r>
              <a:rPr lang="es-ES" sz="2400" b="1" dirty="0">
                <a:solidFill>
                  <a:srgbClr val="C00000"/>
                </a:solidFill>
              </a:rPr>
              <a:t>Infraestructura</a:t>
            </a:r>
            <a:endParaRPr lang="es-ES" b="1" dirty="0">
              <a:solidFill>
                <a:srgbClr val="C00000"/>
              </a:solidFill>
            </a:endParaRPr>
          </a:p>
        </p:txBody>
      </p:sp>
      <p:sp>
        <p:nvSpPr>
          <p:cNvPr id="56" name="CuadroTexto 55">
            <a:extLst>
              <a:ext uri="{FF2B5EF4-FFF2-40B4-BE49-F238E27FC236}">
                <a16:creationId xmlns:a16="http://schemas.microsoft.com/office/drawing/2014/main" id="{FB042710-CEC7-4AB7-8589-BFC8F05E8577}"/>
              </a:ext>
            </a:extLst>
          </p:cNvPr>
          <p:cNvSpPr txBox="1"/>
          <p:nvPr/>
        </p:nvSpPr>
        <p:spPr>
          <a:xfrm>
            <a:off x="3386474" y="7377473"/>
            <a:ext cx="5654842" cy="830997"/>
          </a:xfrm>
          <a:prstGeom prst="rect">
            <a:avLst/>
          </a:prstGeom>
          <a:noFill/>
        </p:spPr>
        <p:txBody>
          <a:bodyPr wrap="square" rtlCol="0">
            <a:spAutoFit/>
          </a:bodyPr>
          <a:lstStyle/>
          <a:p>
            <a:pPr algn="l"/>
            <a:r>
              <a:rPr lang="es-ES" sz="2400" dirty="0"/>
              <a:t>Arquitectura (SanTec)</a:t>
            </a:r>
          </a:p>
          <a:p>
            <a:pPr algn="l"/>
            <a:r>
              <a:rPr lang="es-ES" sz="2400" dirty="0"/>
              <a:t>Ingenieria (SanTec)</a:t>
            </a:r>
          </a:p>
        </p:txBody>
      </p:sp>
      <p:cxnSp>
        <p:nvCxnSpPr>
          <p:cNvPr id="59" name="Conector recto 58">
            <a:extLst>
              <a:ext uri="{FF2B5EF4-FFF2-40B4-BE49-F238E27FC236}">
                <a16:creationId xmlns:a16="http://schemas.microsoft.com/office/drawing/2014/main" id="{3FBEC719-2758-4AB4-90E3-703B4EE281EB}"/>
              </a:ext>
            </a:extLst>
          </p:cNvPr>
          <p:cNvCxnSpPr>
            <a:cxnSpLocks/>
          </p:cNvCxnSpPr>
          <p:nvPr/>
        </p:nvCxnSpPr>
        <p:spPr>
          <a:xfrm>
            <a:off x="483686" y="8425282"/>
            <a:ext cx="22931515"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60" name="Conector recto 59">
            <a:extLst>
              <a:ext uri="{FF2B5EF4-FFF2-40B4-BE49-F238E27FC236}">
                <a16:creationId xmlns:a16="http://schemas.microsoft.com/office/drawing/2014/main" id="{C0D1CF2D-A964-417A-B998-5AA259630957}"/>
              </a:ext>
            </a:extLst>
          </p:cNvPr>
          <p:cNvCxnSpPr>
            <a:cxnSpLocks/>
          </p:cNvCxnSpPr>
          <p:nvPr/>
        </p:nvCxnSpPr>
        <p:spPr>
          <a:xfrm>
            <a:off x="483686" y="9867955"/>
            <a:ext cx="22796051"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24" name="Conector recto 23">
            <a:extLst>
              <a:ext uri="{FF2B5EF4-FFF2-40B4-BE49-F238E27FC236}">
                <a16:creationId xmlns:a16="http://schemas.microsoft.com/office/drawing/2014/main" id="{472E8580-85BE-49E8-9BBD-3F4628CEF649}"/>
              </a:ext>
            </a:extLst>
          </p:cNvPr>
          <p:cNvCxnSpPr>
            <a:cxnSpLocks/>
          </p:cNvCxnSpPr>
          <p:nvPr/>
        </p:nvCxnSpPr>
        <p:spPr>
          <a:xfrm>
            <a:off x="483686" y="11374029"/>
            <a:ext cx="22796051" cy="38948"/>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sp>
        <p:nvSpPr>
          <p:cNvPr id="26" name="Rectángulo 25">
            <a:extLst>
              <a:ext uri="{FF2B5EF4-FFF2-40B4-BE49-F238E27FC236}">
                <a16:creationId xmlns:a16="http://schemas.microsoft.com/office/drawing/2014/main" id="{CD459232-7CCC-4BA9-8EAE-7B8B185E373E}"/>
              </a:ext>
            </a:extLst>
          </p:cNvPr>
          <p:cNvSpPr/>
          <p:nvPr/>
        </p:nvSpPr>
        <p:spPr>
          <a:xfrm>
            <a:off x="8427572" y="6876299"/>
            <a:ext cx="4831253" cy="2408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7" name="CuadroTexto 26">
            <a:extLst>
              <a:ext uri="{FF2B5EF4-FFF2-40B4-BE49-F238E27FC236}">
                <a16:creationId xmlns:a16="http://schemas.microsoft.com/office/drawing/2014/main" id="{436231A9-247A-4695-837B-98D08F812FE1}"/>
              </a:ext>
            </a:extLst>
          </p:cNvPr>
          <p:cNvSpPr txBox="1"/>
          <p:nvPr/>
        </p:nvSpPr>
        <p:spPr>
          <a:xfrm>
            <a:off x="8427572" y="6260281"/>
            <a:ext cx="5029200" cy="461665"/>
          </a:xfrm>
          <a:prstGeom prst="rect">
            <a:avLst/>
          </a:prstGeom>
          <a:noFill/>
        </p:spPr>
        <p:txBody>
          <a:bodyPr wrap="square" rtlCol="0">
            <a:spAutoFit/>
          </a:bodyPr>
          <a:lstStyle/>
          <a:p>
            <a:pPr algn="l"/>
            <a:r>
              <a:rPr lang="es-ES" sz="2400" b="1" dirty="0">
                <a:solidFill>
                  <a:srgbClr val="C00000"/>
                </a:solidFill>
              </a:rPr>
              <a:t>Crear NameSpace (Paas)</a:t>
            </a:r>
            <a:endParaRPr lang="es-ES" b="1" dirty="0">
              <a:solidFill>
                <a:srgbClr val="C00000"/>
              </a:solidFill>
            </a:endParaRPr>
          </a:p>
        </p:txBody>
      </p:sp>
      <p:sp>
        <p:nvSpPr>
          <p:cNvPr id="28" name="CuadroTexto 27">
            <a:extLst>
              <a:ext uri="{FF2B5EF4-FFF2-40B4-BE49-F238E27FC236}">
                <a16:creationId xmlns:a16="http://schemas.microsoft.com/office/drawing/2014/main" id="{6C7B1C7B-CDBC-4EDA-9D5E-6BE24916F749}"/>
              </a:ext>
            </a:extLst>
          </p:cNvPr>
          <p:cNvSpPr txBox="1"/>
          <p:nvPr/>
        </p:nvSpPr>
        <p:spPr>
          <a:xfrm>
            <a:off x="8427572" y="8903494"/>
            <a:ext cx="5654842" cy="461665"/>
          </a:xfrm>
          <a:prstGeom prst="rect">
            <a:avLst/>
          </a:prstGeom>
          <a:noFill/>
        </p:spPr>
        <p:txBody>
          <a:bodyPr wrap="square" rtlCol="0">
            <a:spAutoFit/>
          </a:bodyPr>
          <a:lstStyle/>
          <a:p>
            <a:pPr algn="l"/>
            <a:r>
              <a:rPr lang="es-ES" sz="2400" dirty="0"/>
              <a:t>Ingenieria (SanTec)</a:t>
            </a:r>
            <a:r>
              <a:rPr lang="en-US" altLang="en-US" sz="2400" dirty="0"/>
              <a:t>  </a:t>
            </a:r>
            <a:endParaRPr lang="es-ES" sz="2400" dirty="0"/>
          </a:p>
        </p:txBody>
      </p:sp>
      <p:sp>
        <p:nvSpPr>
          <p:cNvPr id="22" name="Rectángulo 21">
            <a:extLst>
              <a:ext uri="{FF2B5EF4-FFF2-40B4-BE49-F238E27FC236}">
                <a16:creationId xmlns:a16="http://schemas.microsoft.com/office/drawing/2014/main" id="{4FEE9B4F-AAF4-48F5-91B1-1EA5A943913F}"/>
              </a:ext>
            </a:extLst>
          </p:cNvPr>
          <p:cNvSpPr/>
          <p:nvPr/>
        </p:nvSpPr>
        <p:spPr>
          <a:xfrm>
            <a:off x="13407386" y="6892463"/>
            <a:ext cx="4831253" cy="2408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3" name="CuadroTexto 22">
            <a:extLst>
              <a:ext uri="{FF2B5EF4-FFF2-40B4-BE49-F238E27FC236}">
                <a16:creationId xmlns:a16="http://schemas.microsoft.com/office/drawing/2014/main" id="{03A09F81-61CE-40D1-829A-4A5D3905EC4B}"/>
              </a:ext>
            </a:extLst>
          </p:cNvPr>
          <p:cNvSpPr txBox="1"/>
          <p:nvPr/>
        </p:nvSpPr>
        <p:spPr>
          <a:xfrm>
            <a:off x="13407385" y="6154995"/>
            <a:ext cx="5029200" cy="707886"/>
          </a:xfrm>
          <a:prstGeom prst="rect">
            <a:avLst/>
          </a:prstGeom>
          <a:noFill/>
        </p:spPr>
        <p:txBody>
          <a:bodyPr wrap="square" rtlCol="0">
            <a:spAutoFit/>
          </a:bodyPr>
          <a:lstStyle/>
          <a:p>
            <a:pPr algn="l"/>
            <a:r>
              <a:rPr lang="es-ES" sz="2000" b="1" dirty="0">
                <a:solidFill>
                  <a:srgbClr val="C00000"/>
                </a:solidFill>
              </a:rPr>
              <a:t>Definir Scripts autoprovisión (Cloud Pública)</a:t>
            </a:r>
            <a:endParaRPr lang="es-ES" sz="2800" b="1" dirty="0">
              <a:solidFill>
                <a:srgbClr val="C00000"/>
              </a:solidFill>
            </a:endParaRPr>
          </a:p>
        </p:txBody>
      </p:sp>
      <p:sp>
        <p:nvSpPr>
          <p:cNvPr id="25" name="CuadroTexto 24">
            <a:extLst>
              <a:ext uri="{FF2B5EF4-FFF2-40B4-BE49-F238E27FC236}">
                <a16:creationId xmlns:a16="http://schemas.microsoft.com/office/drawing/2014/main" id="{A5721547-0F13-45B5-90FF-14F20CFADF92}"/>
              </a:ext>
            </a:extLst>
          </p:cNvPr>
          <p:cNvSpPr txBox="1"/>
          <p:nvPr/>
        </p:nvSpPr>
        <p:spPr>
          <a:xfrm>
            <a:off x="13407386" y="7393637"/>
            <a:ext cx="5654842" cy="3785652"/>
          </a:xfrm>
          <a:prstGeom prst="rect">
            <a:avLst/>
          </a:prstGeom>
          <a:noFill/>
        </p:spPr>
        <p:txBody>
          <a:bodyPr wrap="square" rtlCol="0">
            <a:spAutoFit/>
          </a:bodyPr>
          <a:lstStyle/>
          <a:p>
            <a:pPr algn="l"/>
            <a:endParaRPr lang="es-ES" sz="2400" dirty="0"/>
          </a:p>
          <a:p>
            <a:pPr algn="l"/>
            <a:endParaRPr lang="es-ES" sz="2400" dirty="0"/>
          </a:p>
          <a:p>
            <a:pPr algn="l"/>
            <a:endParaRPr lang="es-ES" sz="2400" dirty="0"/>
          </a:p>
          <a:p>
            <a:pPr algn="l"/>
            <a:endParaRPr lang="es-ES" sz="2400" dirty="0"/>
          </a:p>
          <a:p>
            <a:pPr algn="l"/>
            <a:r>
              <a:rPr lang="es-ES" sz="2400" dirty="0"/>
              <a:t>Ingenieria (SanTec)</a:t>
            </a:r>
          </a:p>
          <a:p>
            <a:pPr algn="l"/>
            <a:endParaRPr lang="es-ES" sz="2400" dirty="0"/>
          </a:p>
          <a:p>
            <a:pPr algn="l"/>
            <a:endParaRPr lang="es-ES" sz="2400" dirty="0"/>
          </a:p>
          <a:p>
            <a:pPr algn="l"/>
            <a:endParaRPr lang="es-ES" sz="2400" dirty="0"/>
          </a:p>
          <a:p>
            <a:pPr algn="l"/>
            <a:r>
              <a:rPr lang="es-ES" sz="2400" dirty="0"/>
              <a:t>Arquitectura (SanTec)</a:t>
            </a:r>
          </a:p>
          <a:p>
            <a:pPr algn="l"/>
            <a:endParaRPr lang="es-ES" sz="2400" dirty="0"/>
          </a:p>
        </p:txBody>
      </p:sp>
      <p:sp>
        <p:nvSpPr>
          <p:cNvPr id="29" name="Rectángulo 28">
            <a:extLst>
              <a:ext uri="{FF2B5EF4-FFF2-40B4-BE49-F238E27FC236}">
                <a16:creationId xmlns:a16="http://schemas.microsoft.com/office/drawing/2014/main" id="{9BB7BA92-6042-4758-9E38-C5130C13C8E7}"/>
              </a:ext>
            </a:extLst>
          </p:cNvPr>
          <p:cNvSpPr/>
          <p:nvPr/>
        </p:nvSpPr>
        <p:spPr>
          <a:xfrm>
            <a:off x="18448484" y="6892463"/>
            <a:ext cx="4831253" cy="2408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30" name="CuadroTexto 29">
            <a:extLst>
              <a:ext uri="{FF2B5EF4-FFF2-40B4-BE49-F238E27FC236}">
                <a16:creationId xmlns:a16="http://schemas.microsoft.com/office/drawing/2014/main" id="{E4083CF5-4111-43D6-B10B-BDFB543B0EB4}"/>
              </a:ext>
            </a:extLst>
          </p:cNvPr>
          <p:cNvSpPr txBox="1"/>
          <p:nvPr/>
        </p:nvSpPr>
        <p:spPr>
          <a:xfrm>
            <a:off x="18448484" y="6106393"/>
            <a:ext cx="5208278" cy="707886"/>
          </a:xfrm>
          <a:prstGeom prst="rect">
            <a:avLst/>
          </a:prstGeom>
          <a:noFill/>
        </p:spPr>
        <p:txBody>
          <a:bodyPr wrap="square" rtlCol="0">
            <a:spAutoFit/>
          </a:bodyPr>
          <a:lstStyle/>
          <a:p>
            <a:pPr algn="l"/>
            <a:r>
              <a:rPr lang="es-ES" sz="2000" b="1" dirty="0">
                <a:solidFill>
                  <a:srgbClr val="C00000"/>
                </a:solidFill>
              </a:rPr>
              <a:t>Ejecutar Scripts Autoprovisión Automáticamente (Cloud Pública)</a:t>
            </a:r>
            <a:endParaRPr lang="es-ES" sz="2800" b="1" dirty="0">
              <a:solidFill>
                <a:srgbClr val="C00000"/>
              </a:solidFill>
            </a:endParaRPr>
          </a:p>
        </p:txBody>
      </p:sp>
      <p:sp>
        <p:nvSpPr>
          <p:cNvPr id="31" name="CuadroTexto 30">
            <a:extLst>
              <a:ext uri="{FF2B5EF4-FFF2-40B4-BE49-F238E27FC236}">
                <a16:creationId xmlns:a16="http://schemas.microsoft.com/office/drawing/2014/main" id="{F857532A-AF73-4DBD-940B-73FD8EE6650B}"/>
              </a:ext>
            </a:extLst>
          </p:cNvPr>
          <p:cNvSpPr txBox="1"/>
          <p:nvPr/>
        </p:nvSpPr>
        <p:spPr>
          <a:xfrm>
            <a:off x="18448484" y="8919658"/>
            <a:ext cx="5654842" cy="2308324"/>
          </a:xfrm>
          <a:prstGeom prst="rect">
            <a:avLst/>
          </a:prstGeom>
          <a:noFill/>
        </p:spPr>
        <p:txBody>
          <a:bodyPr wrap="square" rtlCol="0">
            <a:spAutoFit/>
          </a:bodyPr>
          <a:lstStyle/>
          <a:p>
            <a:pPr algn="l"/>
            <a:r>
              <a:rPr lang="es-ES" sz="2400" dirty="0"/>
              <a:t>Ingenieria (SanTec)</a:t>
            </a:r>
          </a:p>
          <a:p>
            <a:pPr algn="l"/>
            <a:endParaRPr lang="es-ES" altLang="en-US" sz="2400" dirty="0"/>
          </a:p>
          <a:p>
            <a:pPr algn="l"/>
            <a:endParaRPr lang="es-ES" altLang="en-US" sz="2400" dirty="0"/>
          </a:p>
          <a:p>
            <a:pPr algn="l"/>
            <a:endParaRPr lang="es-ES" altLang="en-US" sz="2400" dirty="0"/>
          </a:p>
          <a:p>
            <a:pPr algn="l"/>
            <a:r>
              <a:rPr lang="es-ES" sz="2400" dirty="0"/>
              <a:t>Arquitectura (SanTec)</a:t>
            </a:r>
          </a:p>
          <a:p>
            <a:pPr algn="l"/>
            <a:r>
              <a:rPr lang="en-US" altLang="en-US" sz="2400" dirty="0"/>
              <a:t>  </a:t>
            </a:r>
            <a:endParaRPr lang="es-ES" sz="2400" dirty="0"/>
          </a:p>
        </p:txBody>
      </p:sp>
      <p:pic>
        <p:nvPicPr>
          <p:cNvPr id="32" name="New picture">
            <a:extLst>
              <a:ext uri="{FF2B5EF4-FFF2-40B4-BE49-F238E27FC236}">
                <a16:creationId xmlns:a16="http://schemas.microsoft.com/office/drawing/2014/main" id="{C095DD00-5C3E-490E-A6A1-C1931CF33E7A}"/>
              </a:ext>
            </a:extLst>
          </p:cNvPr>
          <p:cNvPicPr/>
          <p:nvPr/>
        </p:nvPicPr>
        <p:blipFill rotWithShape="1">
          <a:blip r:embed="rId11"/>
          <a:srcRect t="43464" b="42676"/>
          <a:stretch/>
        </p:blipFill>
        <p:spPr>
          <a:xfrm>
            <a:off x="1760888" y="2419817"/>
            <a:ext cx="20862223" cy="1866900"/>
          </a:xfrm>
          <a:prstGeom prst="rect">
            <a:avLst/>
          </a:prstGeom>
        </p:spPr>
      </p:pic>
    </p:spTree>
    <p:extLst>
      <p:ext uri="{BB962C8B-B14F-4D97-AF65-F5344CB8AC3E}">
        <p14:creationId xmlns:p14="http://schemas.microsoft.com/office/powerpoint/2010/main" val="21131619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162A749-145E-45A9-A608-94CDAC2EE459}"/>
              </a:ext>
            </a:extLst>
          </p:cNvPr>
          <p:cNvSpPr txBox="1"/>
          <p:nvPr/>
        </p:nvSpPr>
        <p:spPr>
          <a:xfrm>
            <a:off x="650240" y="541319"/>
            <a:ext cx="22611504" cy="2000548"/>
          </a:xfrm>
          <a:prstGeom prst="rect">
            <a:avLst/>
          </a:prstGeom>
          <a:noFill/>
        </p:spPr>
        <p:txBody>
          <a:bodyPr wrap="square" rtlCol="0" anchor="t">
            <a:spAutoFit/>
          </a:bodyPr>
          <a:lstStyle/>
          <a:p>
            <a:pPr algn="l"/>
            <a:r>
              <a:rPr lang="en-GB" sz="4000" b="1" kern="1200" dirty="0">
                <a:solidFill>
                  <a:srgbClr val="C00000"/>
                </a:solidFill>
              </a:rPr>
              <a:t>Aprovisionamiento &amp; Ejecución Automática</a:t>
            </a:r>
            <a:r>
              <a:rPr lang="en-US" sz="4000" b="1" kern="1200" dirty="0">
                <a:solidFill>
                  <a:srgbClr val="C00000"/>
                </a:solidFill>
              </a:rPr>
              <a:t> </a:t>
            </a:r>
            <a:r>
              <a:rPr lang="en-US" sz="2800" kern="1200" dirty="0">
                <a:solidFill>
                  <a:srgbClr val="C00000"/>
                </a:solidFill>
              </a:rPr>
              <a:t>Aprovisionamiento de Entornos de Plataforma</a:t>
            </a:r>
          </a:p>
          <a:p>
            <a:pPr algn="l"/>
            <a:r>
              <a:rPr lang="es-ES" altLang="en-US" sz="2800" kern="1200" dirty="0">
                <a:solidFill>
                  <a:schemeClr val="tx1"/>
                </a:solidFill>
              </a:rPr>
              <a:t>Vista de Procesos</a:t>
            </a:r>
            <a:endParaRPr lang="en-US" altLang="en-US" sz="2800" kern="1200" dirty="0">
              <a:solidFill>
                <a:schemeClr val="tx1"/>
              </a:solidFill>
            </a:endParaRPr>
          </a:p>
          <a:p>
            <a:pPr algn="l"/>
            <a:r>
              <a:rPr lang="en-US" sz="2800" kern="1200" dirty="0">
                <a:solidFill>
                  <a:srgbClr val="C00000"/>
                </a:solidFill>
                <a:latin typeface="IBM Plex Sans"/>
              </a:rPr>
              <a:t> </a:t>
            </a:r>
            <a:endParaRPr lang="en-US" altLang="en-US" sz="2800" kern="1200" dirty="0">
              <a:solidFill>
                <a:srgbClr val="C00000"/>
              </a:solidFill>
              <a:latin typeface="IBM Plex Sans"/>
            </a:endParaRPr>
          </a:p>
          <a:p>
            <a:pPr algn="l"/>
            <a:endParaRPr lang="en-US" sz="2800" kern="1200" dirty="0">
              <a:solidFill>
                <a:srgbClr val="C00000"/>
              </a:solidFill>
              <a:latin typeface="IBM Plex Sans"/>
            </a:endParaRPr>
          </a:p>
        </p:txBody>
      </p:sp>
      <p:sp>
        <p:nvSpPr>
          <p:cNvPr id="22" name="TextBox 27">
            <a:extLst>
              <a:ext uri="{FF2B5EF4-FFF2-40B4-BE49-F238E27FC236}">
                <a16:creationId xmlns:a16="http://schemas.microsoft.com/office/drawing/2014/main" id="{82C5C477-E5BF-4BDE-890D-48B53289BB51}"/>
              </a:ext>
            </a:extLst>
          </p:cNvPr>
          <p:cNvSpPr txBox="1">
            <a:spLocks noChangeArrowheads="1"/>
          </p:cNvSpPr>
          <p:nvPr/>
        </p:nvSpPr>
        <p:spPr bwMode="auto">
          <a:xfrm>
            <a:off x="1140883" y="7935102"/>
            <a:ext cx="1851470" cy="34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a:r>
              <a:rPr lang="en-US" sz="2000" dirty="0">
                <a:solidFill>
                  <a:srgbClr val="C00000"/>
                </a:solidFill>
                <a:cs typeface="Arial" panose="020B0604020202020204" pitchFamily="34" charset="0"/>
              </a:rPr>
              <a:t>Informed</a:t>
            </a: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r>
              <a:rPr lang="en-US" sz="2000" dirty="0">
                <a:solidFill>
                  <a:srgbClr val="C00000"/>
                </a:solidFill>
                <a:cs typeface="Arial" panose="020B0604020202020204" pitchFamily="34" charset="0"/>
              </a:rPr>
              <a:t>Accountable</a:t>
            </a: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r>
              <a:rPr lang="en-US" altLang="en-US" sz="2000" dirty="0">
                <a:solidFill>
                  <a:srgbClr val="C00000"/>
                </a:solidFill>
                <a:cs typeface="Arial" panose="020B0604020202020204" pitchFamily="34" charset="0"/>
              </a:rPr>
              <a:t>Consulted</a:t>
            </a:r>
          </a:p>
        </p:txBody>
      </p:sp>
      <p:pic>
        <p:nvPicPr>
          <p:cNvPr id="24" name="Graphic 6" descr="Handshake">
            <a:extLst>
              <a:ext uri="{FF2B5EF4-FFF2-40B4-BE49-F238E27FC236}">
                <a16:creationId xmlns:a16="http://schemas.microsoft.com/office/drawing/2014/main" id="{B932541B-6821-4C62-9425-7783143AA28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7146" y="10546135"/>
            <a:ext cx="788947" cy="788947"/>
          </a:xfrm>
          <a:prstGeom prst="rect">
            <a:avLst/>
          </a:prstGeom>
        </p:spPr>
      </p:pic>
      <p:pic>
        <p:nvPicPr>
          <p:cNvPr id="25" name="Graphic 26" descr="Research">
            <a:extLst>
              <a:ext uri="{FF2B5EF4-FFF2-40B4-BE49-F238E27FC236}">
                <a16:creationId xmlns:a16="http://schemas.microsoft.com/office/drawing/2014/main" id="{9796D44A-E02B-4E15-9ED8-1799679A51D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0876" y="8982625"/>
            <a:ext cx="741219" cy="741219"/>
          </a:xfrm>
          <a:prstGeom prst="rect">
            <a:avLst/>
          </a:prstGeom>
        </p:spPr>
      </p:pic>
      <p:pic>
        <p:nvPicPr>
          <p:cNvPr id="26" name="Graphic 34" descr="Information">
            <a:extLst>
              <a:ext uri="{FF2B5EF4-FFF2-40B4-BE49-F238E27FC236}">
                <a16:creationId xmlns:a16="http://schemas.microsoft.com/office/drawing/2014/main" id="{B8A7F582-9324-43EC-9428-5095B4C65C3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94255" y="7445529"/>
            <a:ext cx="747097" cy="747097"/>
          </a:xfrm>
          <a:prstGeom prst="rect">
            <a:avLst/>
          </a:prstGeom>
        </p:spPr>
      </p:pic>
      <p:sp>
        <p:nvSpPr>
          <p:cNvPr id="27" name="Rectángulo 26">
            <a:extLst>
              <a:ext uri="{FF2B5EF4-FFF2-40B4-BE49-F238E27FC236}">
                <a16:creationId xmlns:a16="http://schemas.microsoft.com/office/drawing/2014/main" id="{C931EFBD-7F8C-4C4E-A451-C541D014CCF8}"/>
              </a:ext>
            </a:extLst>
          </p:cNvPr>
          <p:cNvSpPr/>
          <p:nvPr/>
        </p:nvSpPr>
        <p:spPr>
          <a:xfrm>
            <a:off x="3386474" y="6876299"/>
            <a:ext cx="4831253" cy="2408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8" name="CuadroTexto 27">
            <a:extLst>
              <a:ext uri="{FF2B5EF4-FFF2-40B4-BE49-F238E27FC236}">
                <a16:creationId xmlns:a16="http://schemas.microsoft.com/office/drawing/2014/main" id="{7E35124F-FBE5-4C5D-8F08-2A038C2AB4A5}"/>
              </a:ext>
            </a:extLst>
          </p:cNvPr>
          <p:cNvSpPr txBox="1"/>
          <p:nvPr/>
        </p:nvSpPr>
        <p:spPr>
          <a:xfrm>
            <a:off x="3386474" y="6182840"/>
            <a:ext cx="5029200" cy="707886"/>
          </a:xfrm>
          <a:prstGeom prst="rect">
            <a:avLst/>
          </a:prstGeom>
          <a:noFill/>
        </p:spPr>
        <p:txBody>
          <a:bodyPr wrap="square" rtlCol="0">
            <a:spAutoFit/>
          </a:bodyPr>
          <a:lstStyle/>
          <a:p>
            <a:pPr algn="l"/>
            <a:r>
              <a:rPr lang="es-ES" sz="2000" b="1" dirty="0">
                <a:solidFill>
                  <a:srgbClr val="C00000"/>
                </a:solidFill>
              </a:rPr>
              <a:t>Ejecutar Scripts autoprovision manualmente (Cloud Publica)</a:t>
            </a:r>
            <a:endParaRPr lang="es-ES" sz="2800" b="1" dirty="0">
              <a:solidFill>
                <a:srgbClr val="C00000"/>
              </a:solidFill>
            </a:endParaRPr>
          </a:p>
        </p:txBody>
      </p:sp>
      <p:sp>
        <p:nvSpPr>
          <p:cNvPr id="29" name="CuadroTexto 28">
            <a:extLst>
              <a:ext uri="{FF2B5EF4-FFF2-40B4-BE49-F238E27FC236}">
                <a16:creationId xmlns:a16="http://schemas.microsoft.com/office/drawing/2014/main" id="{62D73DFC-7E17-42B9-8BC0-F17C4FD4042B}"/>
              </a:ext>
            </a:extLst>
          </p:cNvPr>
          <p:cNvSpPr txBox="1"/>
          <p:nvPr/>
        </p:nvSpPr>
        <p:spPr>
          <a:xfrm>
            <a:off x="3361327" y="7352283"/>
            <a:ext cx="5654842" cy="3785652"/>
          </a:xfrm>
          <a:prstGeom prst="rect">
            <a:avLst/>
          </a:prstGeom>
          <a:noFill/>
        </p:spPr>
        <p:txBody>
          <a:bodyPr wrap="square" rtlCol="0">
            <a:spAutoFit/>
          </a:bodyPr>
          <a:lstStyle/>
          <a:p>
            <a:pPr algn="l"/>
            <a:endParaRPr lang="en-US" altLang="en-US" sz="2400" dirty="0"/>
          </a:p>
          <a:p>
            <a:pPr algn="l"/>
            <a:endParaRPr lang="en-US" altLang="en-US" sz="2400" dirty="0"/>
          </a:p>
          <a:p>
            <a:pPr algn="l"/>
            <a:endParaRPr lang="en-US" altLang="en-US" sz="2400" dirty="0"/>
          </a:p>
          <a:p>
            <a:pPr algn="l"/>
            <a:endParaRPr lang="en-US" altLang="en-US" sz="2400" dirty="0"/>
          </a:p>
          <a:p>
            <a:pPr algn="l"/>
            <a:r>
              <a:rPr lang="es-ES" sz="2400" dirty="0"/>
              <a:t>Ingeniería (SanTec)</a:t>
            </a:r>
            <a:r>
              <a:rPr lang="en-US" altLang="en-US" sz="2400" dirty="0"/>
              <a:t> </a:t>
            </a:r>
          </a:p>
          <a:p>
            <a:pPr algn="l"/>
            <a:endParaRPr lang="en-US" altLang="en-US" sz="2400" dirty="0"/>
          </a:p>
          <a:p>
            <a:pPr algn="l"/>
            <a:endParaRPr lang="en-US" altLang="en-US" sz="2400" dirty="0"/>
          </a:p>
          <a:p>
            <a:pPr algn="l"/>
            <a:endParaRPr lang="en-US" altLang="en-US" sz="2400" dirty="0"/>
          </a:p>
          <a:p>
            <a:pPr algn="l"/>
            <a:r>
              <a:rPr lang="en-US" altLang="en-US" sz="2400" dirty="0"/>
              <a:t>Arquitectura (SanTec)</a:t>
            </a:r>
          </a:p>
          <a:p>
            <a:pPr algn="l"/>
            <a:r>
              <a:rPr lang="es-ES" sz="2400" dirty="0"/>
              <a:t> </a:t>
            </a:r>
            <a:r>
              <a:rPr lang="en-US" altLang="en-US" sz="2400" dirty="0"/>
              <a:t> </a:t>
            </a:r>
            <a:endParaRPr lang="es-ES" sz="2400" dirty="0"/>
          </a:p>
        </p:txBody>
      </p:sp>
      <p:cxnSp>
        <p:nvCxnSpPr>
          <p:cNvPr id="30" name="Conector recto 29">
            <a:extLst>
              <a:ext uri="{FF2B5EF4-FFF2-40B4-BE49-F238E27FC236}">
                <a16:creationId xmlns:a16="http://schemas.microsoft.com/office/drawing/2014/main" id="{8D730FF9-ED70-480D-BC84-4FABE11DEFC9}"/>
              </a:ext>
            </a:extLst>
          </p:cNvPr>
          <p:cNvCxnSpPr/>
          <p:nvPr/>
        </p:nvCxnSpPr>
        <p:spPr>
          <a:xfrm>
            <a:off x="483686" y="8425282"/>
            <a:ext cx="19846064"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31" name="Conector recto 30">
            <a:extLst>
              <a:ext uri="{FF2B5EF4-FFF2-40B4-BE49-F238E27FC236}">
                <a16:creationId xmlns:a16="http://schemas.microsoft.com/office/drawing/2014/main" id="{56953FCA-38AD-41B7-8807-E201A0742669}"/>
              </a:ext>
            </a:extLst>
          </p:cNvPr>
          <p:cNvCxnSpPr/>
          <p:nvPr/>
        </p:nvCxnSpPr>
        <p:spPr>
          <a:xfrm>
            <a:off x="483686" y="9867955"/>
            <a:ext cx="19846064"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32" name="Conector recto 31">
            <a:extLst>
              <a:ext uri="{FF2B5EF4-FFF2-40B4-BE49-F238E27FC236}">
                <a16:creationId xmlns:a16="http://schemas.microsoft.com/office/drawing/2014/main" id="{5A417CFA-C439-4155-B95B-CF4A909E4D15}"/>
              </a:ext>
            </a:extLst>
          </p:cNvPr>
          <p:cNvCxnSpPr/>
          <p:nvPr/>
        </p:nvCxnSpPr>
        <p:spPr>
          <a:xfrm>
            <a:off x="483686" y="11374029"/>
            <a:ext cx="19846064"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sp>
        <p:nvSpPr>
          <p:cNvPr id="34" name="Rectángulo 33">
            <a:extLst>
              <a:ext uri="{FF2B5EF4-FFF2-40B4-BE49-F238E27FC236}">
                <a16:creationId xmlns:a16="http://schemas.microsoft.com/office/drawing/2014/main" id="{EF8B119C-ADB7-4A4F-8B53-404EE58A6AFD}"/>
              </a:ext>
            </a:extLst>
          </p:cNvPr>
          <p:cNvSpPr/>
          <p:nvPr/>
        </p:nvSpPr>
        <p:spPr>
          <a:xfrm>
            <a:off x="8457369" y="6876299"/>
            <a:ext cx="4831253" cy="2408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35" name="CuadroTexto 34">
            <a:extLst>
              <a:ext uri="{FF2B5EF4-FFF2-40B4-BE49-F238E27FC236}">
                <a16:creationId xmlns:a16="http://schemas.microsoft.com/office/drawing/2014/main" id="{B4AA83F7-8196-48B3-BB58-67C729820D5D}"/>
              </a:ext>
            </a:extLst>
          </p:cNvPr>
          <p:cNvSpPr txBox="1"/>
          <p:nvPr/>
        </p:nvSpPr>
        <p:spPr>
          <a:xfrm>
            <a:off x="8415674" y="6166886"/>
            <a:ext cx="5029200" cy="707886"/>
          </a:xfrm>
          <a:prstGeom prst="rect">
            <a:avLst/>
          </a:prstGeom>
          <a:noFill/>
        </p:spPr>
        <p:txBody>
          <a:bodyPr wrap="square" rtlCol="0">
            <a:spAutoFit/>
          </a:bodyPr>
          <a:lstStyle/>
          <a:p>
            <a:pPr algn="l"/>
            <a:r>
              <a:rPr lang="es-ES" sz="2000" b="1" dirty="0">
                <a:solidFill>
                  <a:srgbClr val="C00000"/>
                </a:solidFill>
              </a:rPr>
              <a:t>Gestionar Scripts Autoprovision </a:t>
            </a:r>
          </a:p>
          <a:p>
            <a:pPr algn="l"/>
            <a:r>
              <a:rPr lang="es-ES" sz="2000" b="1" dirty="0">
                <a:solidFill>
                  <a:srgbClr val="C00000"/>
                </a:solidFill>
              </a:rPr>
              <a:t>(Cloud Publica)</a:t>
            </a:r>
            <a:endParaRPr lang="es-ES" sz="2800" b="1" dirty="0">
              <a:solidFill>
                <a:srgbClr val="C00000"/>
              </a:solidFill>
            </a:endParaRPr>
          </a:p>
        </p:txBody>
      </p:sp>
      <p:sp>
        <p:nvSpPr>
          <p:cNvPr id="38" name="CuadroTexto 37">
            <a:extLst>
              <a:ext uri="{FF2B5EF4-FFF2-40B4-BE49-F238E27FC236}">
                <a16:creationId xmlns:a16="http://schemas.microsoft.com/office/drawing/2014/main" id="{38FAAE53-344E-4F84-A316-5CDCB50411AD}"/>
              </a:ext>
            </a:extLst>
          </p:cNvPr>
          <p:cNvSpPr txBox="1"/>
          <p:nvPr/>
        </p:nvSpPr>
        <p:spPr>
          <a:xfrm>
            <a:off x="8457369" y="7341240"/>
            <a:ext cx="5654842" cy="3785652"/>
          </a:xfrm>
          <a:prstGeom prst="rect">
            <a:avLst/>
          </a:prstGeom>
          <a:noFill/>
        </p:spPr>
        <p:txBody>
          <a:bodyPr wrap="square" rtlCol="0">
            <a:spAutoFit/>
          </a:bodyPr>
          <a:lstStyle/>
          <a:p>
            <a:pPr algn="l"/>
            <a:endParaRPr lang="en-US" altLang="en-US" sz="2400" dirty="0"/>
          </a:p>
          <a:p>
            <a:pPr algn="l"/>
            <a:endParaRPr lang="en-US" altLang="en-US" sz="2400" dirty="0"/>
          </a:p>
          <a:p>
            <a:pPr algn="l"/>
            <a:endParaRPr lang="en-US" altLang="en-US" sz="2400" dirty="0"/>
          </a:p>
          <a:p>
            <a:pPr algn="l"/>
            <a:endParaRPr lang="en-US" altLang="en-US" sz="2400" dirty="0"/>
          </a:p>
          <a:p>
            <a:pPr algn="l"/>
            <a:r>
              <a:rPr lang="es-ES" sz="2400" dirty="0"/>
              <a:t>Ingeniería (SanTec)</a:t>
            </a:r>
            <a:r>
              <a:rPr lang="en-US" altLang="en-US" sz="2400" dirty="0"/>
              <a:t>  </a:t>
            </a:r>
          </a:p>
          <a:p>
            <a:pPr algn="l"/>
            <a:endParaRPr lang="en-US" altLang="en-US" sz="2400" dirty="0"/>
          </a:p>
          <a:p>
            <a:pPr algn="l"/>
            <a:endParaRPr lang="en-US" altLang="en-US" sz="2400" dirty="0"/>
          </a:p>
          <a:p>
            <a:pPr algn="l"/>
            <a:endParaRPr lang="en-US" altLang="en-US" sz="2400" dirty="0"/>
          </a:p>
          <a:p>
            <a:pPr algn="l"/>
            <a:r>
              <a:rPr lang="en-US" altLang="en-US" sz="2400" dirty="0"/>
              <a:t>Arquitectura (SanTec)</a:t>
            </a:r>
          </a:p>
          <a:p>
            <a:pPr algn="l"/>
            <a:r>
              <a:rPr lang="en-US" altLang="en-US" sz="2400" dirty="0"/>
              <a:t> </a:t>
            </a:r>
            <a:endParaRPr lang="es-ES" sz="2400" dirty="0"/>
          </a:p>
        </p:txBody>
      </p:sp>
      <p:sp>
        <p:nvSpPr>
          <p:cNvPr id="43" name="TextBox 27">
            <a:extLst>
              <a:ext uri="{FF2B5EF4-FFF2-40B4-BE49-F238E27FC236}">
                <a16:creationId xmlns:a16="http://schemas.microsoft.com/office/drawing/2014/main" id="{FB16320C-1FEB-4019-8898-F7FF30BDC885}"/>
              </a:ext>
            </a:extLst>
          </p:cNvPr>
          <p:cNvSpPr txBox="1">
            <a:spLocks noChangeArrowheads="1"/>
          </p:cNvSpPr>
          <p:nvPr/>
        </p:nvSpPr>
        <p:spPr bwMode="auto">
          <a:xfrm>
            <a:off x="1934085" y="5266146"/>
            <a:ext cx="8509326" cy="646331"/>
          </a:xfrm>
          <a:prstGeom prst="rect">
            <a:avLst/>
          </a:prstGeom>
          <a:noFill/>
          <a:ln>
            <a:noFill/>
          </a:ln>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eaLnBrk="1" hangingPunct="1"/>
            <a:r>
              <a:rPr lang="en-US" altLang="en-US" sz="3600" dirty="0">
                <a:solidFill>
                  <a:srgbClr val="C00000"/>
                </a:solidFill>
                <a:cs typeface="Arial" panose="020B0604020202020204" pitchFamily="34" charset="0"/>
              </a:rPr>
              <a:t>Responsible   </a:t>
            </a:r>
            <a:r>
              <a:rPr lang="en-US" altLang="en-US" sz="3200" b="0" dirty="0">
                <a:cs typeface="Arial" panose="020B0604020202020204" pitchFamily="34" charset="0"/>
              </a:rPr>
              <a:t>Ingeniería (SanTec)</a:t>
            </a:r>
          </a:p>
        </p:txBody>
      </p:sp>
      <p:pic>
        <p:nvPicPr>
          <p:cNvPr id="48" name="Picture 25">
            <a:extLst>
              <a:ext uri="{FF2B5EF4-FFF2-40B4-BE49-F238E27FC236}">
                <a16:creationId xmlns:a16="http://schemas.microsoft.com/office/drawing/2014/main" id="{397CD83B-3CB2-48B8-A5A8-283E6207891C}"/>
              </a:ext>
            </a:extLst>
          </p:cNvPr>
          <p:cNvPicPr>
            <a:picLocks noChangeAspect="1"/>
          </p:cNvPicPr>
          <p:nvPr/>
        </p:nvPicPr>
        <p:blipFill>
          <a:blip r:embed="rId9">
            <a:extLst>
              <a:ext uri="{BEBA8EAE-BF5A-486C-A8C5-ECC9F3942E4B}">
                <a14:imgProps xmlns:a14="http://schemas.microsoft.com/office/drawing/2010/main">
                  <a14:imgLayer r:embed="rId10">
                    <a14:imgEffect>
                      <a14:colorTemperature colorTemp="2300"/>
                    </a14:imgEffect>
                  </a14:imgLayer>
                </a14:imgProps>
              </a:ext>
              <a:ext uri="{28A0092B-C50C-407E-A947-70E740481C1C}">
                <a14:useLocalDpi xmlns:a14="http://schemas.microsoft.com/office/drawing/2010/main" val="0"/>
              </a:ext>
            </a:extLst>
          </a:blip>
          <a:stretch>
            <a:fillRect/>
          </a:stretch>
        </p:blipFill>
        <p:spPr>
          <a:xfrm>
            <a:off x="255221" y="4554484"/>
            <a:ext cx="1817801" cy="1817801"/>
          </a:xfrm>
          <a:prstGeom prst="rect">
            <a:avLst/>
          </a:prstGeom>
        </p:spPr>
      </p:pic>
      <p:pic>
        <p:nvPicPr>
          <p:cNvPr id="23" name="New picture">
            <a:extLst>
              <a:ext uri="{FF2B5EF4-FFF2-40B4-BE49-F238E27FC236}">
                <a16:creationId xmlns:a16="http://schemas.microsoft.com/office/drawing/2014/main" id="{BCE26150-850A-46D8-9C52-D47EEF2440F3}"/>
              </a:ext>
            </a:extLst>
          </p:cNvPr>
          <p:cNvPicPr/>
          <p:nvPr/>
        </p:nvPicPr>
        <p:blipFill rotWithShape="1">
          <a:blip r:embed="rId11"/>
          <a:srcRect t="56899" b="35040"/>
          <a:stretch/>
        </p:blipFill>
        <p:spPr>
          <a:xfrm>
            <a:off x="1241352" y="2741580"/>
            <a:ext cx="20862223" cy="1085850"/>
          </a:xfrm>
          <a:prstGeom prst="rect">
            <a:avLst/>
          </a:prstGeom>
        </p:spPr>
      </p:pic>
    </p:spTree>
    <p:extLst>
      <p:ext uri="{BB962C8B-B14F-4D97-AF65-F5344CB8AC3E}">
        <p14:creationId xmlns:p14="http://schemas.microsoft.com/office/powerpoint/2010/main" val="23741349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162A749-145E-45A9-A608-94CDAC2EE459}"/>
              </a:ext>
            </a:extLst>
          </p:cNvPr>
          <p:cNvSpPr txBox="1"/>
          <p:nvPr/>
        </p:nvSpPr>
        <p:spPr>
          <a:xfrm>
            <a:off x="650240" y="541319"/>
            <a:ext cx="22611504" cy="2000548"/>
          </a:xfrm>
          <a:prstGeom prst="rect">
            <a:avLst/>
          </a:prstGeom>
          <a:noFill/>
        </p:spPr>
        <p:txBody>
          <a:bodyPr wrap="square" rtlCol="0" anchor="t">
            <a:spAutoFit/>
          </a:bodyPr>
          <a:lstStyle/>
          <a:p>
            <a:pPr algn="l"/>
            <a:r>
              <a:rPr lang="en-GB" sz="4000" b="1" kern="1200" dirty="0">
                <a:solidFill>
                  <a:srgbClr val="C00000"/>
                </a:solidFill>
              </a:rPr>
              <a:t>Aprovisionamiento &amp; Ejecución Automática</a:t>
            </a:r>
            <a:r>
              <a:rPr lang="en-US" sz="4000" b="1" kern="1200" dirty="0">
                <a:solidFill>
                  <a:srgbClr val="C00000"/>
                </a:solidFill>
              </a:rPr>
              <a:t> </a:t>
            </a:r>
            <a:r>
              <a:rPr lang="en-US" sz="2800" kern="1200" dirty="0">
                <a:solidFill>
                  <a:srgbClr val="C00000"/>
                </a:solidFill>
              </a:rPr>
              <a:t>Aprovisionamiento de Entornos de Plataforma</a:t>
            </a:r>
          </a:p>
          <a:p>
            <a:pPr algn="l"/>
            <a:r>
              <a:rPr lang="es-ES" altLang="en-US" sz="2800" kern="1200" dirty="0">
                <a:solidFill>
                  <a:schemeClr val="tx1"/>
                </a:solidFill>
              </a:rPr>
              <a:t>Vista de Procesos</a:t>
            </a:r>
            <a:endParaRPr lang="en-US" altLang="en-US" sz="2800" kern="1200" dirty="0">
              <a:solidFill>
                <a:schemeClr val="tx1"/>
              </a:solidFill>
            </a:endParaRPr>
          </a:p>
          <a:p>
            <a:pPr algn="l"/>
            <a:r>
              <a:rPr lang="en-US" sz="2800" kern="1200" dirty="0">
                <a:solidFill>
                  <a:srgbClr val="C00000"/>
                </a:solidFill>
                <a:latin typeface="IBM Plex Sans"/>
              </a:rPr>
              <a:t> </a:t>
            </a:r>
            <a:endParaRPr lang="en-US" altLang="en-US" sz="2800" kern="1200" dirty="0">
              <a:solidFill>
                <a:srgbClr val="C00000"/>
              </a:solidFill>
              <a:latin typeface="IBM Plex Sans"/>
            </a:endParaRPr>
          </a:p>
          <a:p>
            <a:pPr algn="l"/>
            <a:endParaRPr lang="en-US" sz="2800" kern="1200" dirty="0">
              <a:solidFill>
                <a:srgbClr val="C00000"/>
              </a:solidFill>
              <a:latin typeface="IBM Plex Sans"/>
            </a:endParaRPr>
          </a:p>
        </p:txBody>
      </p:sp>
      <p:sp>
        <p:nvSpPr>
          <p:cNvPr id="23" name="TextBox 27">
            <a:extLst>
              <a:ext uri="{FF2B5EF4-FFF2-40B4-BE49-F238E27FC236}">
                <a16:creationId xmlns:a16="http://schemas.microsoft.com/office/drawing/2014/main" id="{7FF5AF89-08B4-4DF4-B1C8-7B5FC001CBD0}"/>
              </a:ext>
            </a:extLst>
          </p:cNvPr>
          <p:cNvSpPr txBox="1">
            <a:spLocks noChangeArrowheads="1"/>
          </p:cNvSpPr>
          <p:nvPr/>
        </p:nvSpPr>
        <p:spPr bwMode="auto">
          <a:xfrm>
            <a:off x="1140883" y="7935102"/>
            <a:ext cx="1851470" cy="34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a:r>
              <a:rPr lang="en-US" sz="2000" dirty="0">
                <a:solidFill>
                  <a:srgbClr val="C00000"/>
                </a:solidFill>
                <a:cs typeface="Arial" panose="020B0604020202020204" pitchFamily="34" charset="0"/>
              </a:rPr>
              <a:t>Informed</a:t>
            </a: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r>
              <a:rPr lang="en-US" sz="2000" dirty="0">
                <a:solidFill>
                  <a:srgbClr val="C00000"/>
                </a:solidFill>
                <a:cs typeface="Arial" panose="020B0604020202020204" pitchFamily="34" charset="0"/>
              </a:rPr>
              <a:t>Accountable</a:t>
            </a: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r>
              <a:rPr lang="en-US" altLang="en-US" sz="2000" dirty="0">
                <a:solidFill>
                  <a:srgbClr val="C00000"/>
                </a:solidFill>
                <a:cs typeface="Arial" panose="020B0604020202020204" pitchFamily="34" charset="0"/>
              </a:rPr>
              <a:t>Consulted</a:t>
            </a:r>
          </a:p>
        </p:txBody>
      </p:sp>
      <p:pic>
        <p:nvPicPr>
          <p:cNvPr id="24" name="Graphic 6" descr="Handshake">
            <a:extLst>
              <a:ext uri="{FF2B5EF4-FFF2-40B4-BE49-F238E27FC236}">
                <a16:creationId xmlns:a16="http://schemas.microsoft.com/office/drawing/2014/main" id="{4F89CF19-B983-4DD5-BEBD-26B8C1AE4A6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7146" y="10546135"/>
            <a:ext cx="788947" cy="788947"/>
          </a:xfrm>
          <a:prstGeom prst="rect">
            <a:avLst/>
          </a:prstGeom>
        </p:spPr>
      </p:pic>
      <p:pic>
        <p:nvPicPr>
          <p:cNvPr id="25" name="Graphic 26" descr="Research">
            <a:extLst>
              <a:ext uri="{FF2B5EF4-FFF2-40B4-BE49-F238E27FC236}">
                <a16:creationId xmlns:a16="http://schemas.microsoft.com/office/drawing/2014/main" id="{7B5DD557-29C4-448B-91D7-A6D2E321FF0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0876" y="8982625"/>
            <a:ext cx="741219" cy="741219"/>
          </a:xfrm>
          <a:prstGeom prst="rect">
            <a:avLst/>
          </a:prstGeom>
        </p:spPr>
      </p:pic>
      <p:pic>
        <p:nvPicPr>
          <p:cNvPr id="26" name="Graphic 34" descr="Information">
            <a:extLst>
              <a:ext uri="{FF2B5EF4-FFF2-40B4-BE49-F238E27FC236}">
                <a16:creationId xmlns:a16="http://schemas.microsoft.com/office/drawing/2014/main" id="{A47FE55D-8B1F-4D9D-9E70-C0AA44895AE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94255" y="7445529"/>
            <a:ext cx="747097" cy="747097"/>
          </a:xfrm>
          <a:prstGeom prst="rect">
            <a:avLst/>
          </a:prstGeom>
        </p:spPr>
      </p:pic>
      <p:sp>
        <p:nvSpPr>
          <p:cNvPr id="27" name="Rectángulo 26">
            <a:extLst>
              <a:ext uri="{FF2B5EF4-FFF2-40B4-BE49-F238E27FC236}">
                <a16:creationId xmlns:a16="http://schemas.microsoft.com/office/drawing/2014/main" id="{2988E777-DAB2-4987-80AB-2245AB3F6ED0}"/>
              </a:ext>
            </a:extLst>
          </p:cNvPr>
          <p:cNvSpPr/>
          <p:nvPr/>
        </p:nvSpPr>
        <p:spPr>
          <a:xfrm>
            <a:off x="3386474" y="6876299"/>
            <a:ext cx="4831253" cy="2408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8" name="CuadroTexto 27">
            <a:extLst>
              <a:ext uri="{FF2B5EF4-FFF2-40B4-BE49-F238E27FC236}">
                <a16:creationId xmlns:a16="http://schemas.microsoft.com/office/drawing/2014/main" id="{9C942CC1-180A-433A-B468-5CBDB152C29A}"/>
              </a:ext>
            </a:extLst>
          </p:cNvPr>
          <p:cNvSpPr txBox="1"/>
          <p:nvPr/>
        </p:nvSpPr>
        <p:spPr>
          <a:xfrm>
            <a:off x="3386474" y="6260281"/>
            <a:ext cx="5029200" cy="461665"/>
          </a:xfrm>
          <a:prstGeom prst="rect">
            <a:avLst/>
          </a:prstGeom>
          <a:noFill/>
        </p:spPr>
        <p:txBody>
          <a:bodyPr wrap="square" rtlCol="0">
            <a:spAutoFit/>
          </a:bodyPr>
          <a:lstStyle/>
          <a:p>
            <a:pPr algn="l"/>
            <a:r>
              <a:rPr lang="es-ES" sz="2400" b="1" dirty="0">
                <a:solidFill>
                  <a:srgbClr val="C00000"/>
                </a:solidFill>
              </a:rPr>
              <a:t>Registrar Namespace (Paas)</a:t>
            </a:r>
            <a:endParaRPr lang="es-ES" b="1" dirty="0">
              <a:solidFill>
                <a:srgbClr val="C00000"/>
              </a:solidFill>
            </a:endParaRPr>
          </a:p>
        </p:txBody>
      </p:sp>
      <p:sp>
        <p:nvSpPr>
          <p:cNvPr id="29" name="CuadroTexto 28">
            <a:extLst>
              <a:ext uri="{FF2B5EF4-FFF2-40B4-BE49-F238E27FC236}">
                <a16:creationId xmlns:a16="http://schemas.microsoft.com/office/drawing/2014/main" id="{8C82C39B-156A-4970-851A-B78C1D6DF1B0}"/>
              </a:ext>
            </a:extLst>
          </p:cNvPr>
          <p:cNvSpPr txBox="1"/>
          <p:nvPr/>
        </p:nvSpPr>
        <p:spPr>
          <a:xfrm>
            <a:off x="3386474" y="7352283"/>
            <a:ext cx="5654842" cy="3416320"/>
          </a:xfrm>
          <a:prstGeom prst="rect">
            <a:avLst/>
          </a:prstGeom>
          <a:noFill/>
        </p:spPr>
        <p:txBody>
          <a:bodyPr wrap="square" rtlCol="0">
            <a:spAutoFit/>
          </a:bodyPr>
          <a:lstStyle/>
          <a:p>
            <a:pPr marL="457200" indent="-457200" algn="l">
              <a:buFont typeface="Arial" panose="020B0604020202020204" pitchFamily="34" charset="0"/>
              <a:buChar char="•"/>
            </a:pPr>
            <a:endParaRPr lang="en-US" altLang="en-US" sz="2400" dirty="0"/>
          </a:p>
          <a:p>
            <a:pPr algn="l"/>
            <a:r>
              <a:rPr lang="en-US" altLang="en-US" sz="2400" dirty="0"/>
              <a:t>Nivel de Servicio (SanTec)</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r>
              <a:rPr lang="es-ES" sz="2400" dirty="0"/>
              <a:t>Ingenieria (SanTec)</a:t>
            </a:r>
            <a:r>
              <a:rPr lang="en-US" altLang="en-US" sz="2400" dirty="0"/>
              <a:t> </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r>
              <a:rPr lang="es-ES" sz="2400" dirty="0"/>
              <a:t> </a:t>
            </a:r>
            <a:r>
              <a:rPr lang="en-US" altLang="en-US" sz="2400" dirty="0"/>
              <a:t> </a:t>
            </a:r>
            <a:endParaRPr lang="es-ES" sz="2400" dirty="0"/>
          </a:p>
        </p:txBody>
      </p:sp>
      <p:cxnSp>
        <p:nvCxnSpPr>
          <p:cNvPr id="30" name="Conector recto 29">
            <a:extLst>
              <a:ext uri="{FF2B5EF4-FFF2-40B4-BE49-F238E27FC236}">
                <a16:creationId xmlns:a16="http://schemas.microsoft.com/office/drawing/2014/main" id="{825744B9-D269-4972-82B0-42C6E9562F3A}"/>
              </a:ext>
            </a:extLst>
          </p:cNvPr>
          <p:cNvCxnSpPr/>
          <p:nvPr/>
        </p:nvCxnSpPr>
        <p:spPr>
          <a:xfrm>
            <a:off x="483686" y="8425282"/>
            <a:ext cx="19846064"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31" name="Conector recto 30">
            <a:extLst>
              <a:ext uri="{FF2B5EF4-FFF2-40B4-BE49-F238E27FC236}">
                <a16:creationId xmlns:a16="http://schemas.microsoft.com/office/drawing/2014/main" id="{0FE732A9-2AF0-452E-ABC8-05D32BB85225}"/>
              </a:ext>
            </a:extLst>
          </p:cNvPr>
          <p:cNvCxnSpPr/>
          <p:nvPr/>
        </p:nvCxnSpPr>
        <p:spPr>
          <a:xfrm>
            <a:off x="483686" y="9867955"/>
            <a:ext cx="19846064"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32" name="Conector recto 31">
            <a:extLst>
              <a:ext uri="{FF2B5EF4-FFF2-40B4-BE49-F238E27FC236}">
                <a16:creationId xmlns:a16="http://schemas.microsoft.com/office/drawing/2014/main" id="{74961751-4B55-45B2-9A5E-DCCDCDB24CB6}"/>
              </a:ext>
            </a:extLst>
          </p:cNvPr>
          <p:cNvCxnSpPr/>
          <p:nvPr/>
        </p:nvCxnSpPr>
        <p:spPr>
          <a:xfrm>
            <a:off x="483686" y="11374029"/>
            <a:ext cx="19846064"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sp>
        <p:nvSpPr>
          <p:cNvPr id="43" name="TextBox 27">
            <a:extLst>
              <a:ext uri="{FF2B5EF4-FFF2-40B4-BE49-F238E27FC236}">
                <a16:creationId xmlns:a16="http://schemas.microsoft.com/office/drawing/2014/main" id="{AF58E6B0-2B21-4522-B867-18895D7E3185}"/>
              </a:ext>
            </a:extLst>
          </p:cNvPr>
          <p:cNvSpPr txBox="1">
            <a:spLocks noChangeArrowheads="1"/>
          </p:cNvSpPr>
          <p:nvPr/>
        </p:nvSpPr>
        <p:spPr bwMode="auto">
          <a:xfrm>
            <a:off x="1934085" y="5266146"/>
            <a:ext cx="8509326" cy="646331"/>
          </a:xfrm>
          <a:prstGeom prst="rect">
            <a:avLst/>
          </a:prstGeom>
          <a:noFill/>
          <a:ln>
            <a:noFill/>
          </a:ln>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eaLnBrk="1" hangingPunct="1"/>
            <a:r>
              <a:rPr lang="en-US" altLang="en-US" sz="3600" dirty="0">
                <a:solidFill>
                  <a:srgbClr val="C00000"/>
                </a:solidFill>
                <a:cs typeface="Arial" panose="020B0604020202020204" pitchFamily="34" charset="0"/>
              </a:rPr>
              <a:t>Responsible   </a:t>
            </a:r>
            <a:r>
              <a:rPr lang="en-US" altLang="en-US" sz="3200" b="0" dirty="0">
                <a:cs typeface="Arial" panose="020B0604020202020204" pitchFamily="34" charset="0"/>
              </a:rPr>
              <a:t>Nuevas Tecnologías (SGT)</a:t>
            </a:r>
          </a:p>
        </p:txBody>
      </p:sp>
      <p:pic>
        <p:nvPicPr>
          <p:cNvPr id="48" name="Picture 25">
            <a:extLst>
              <a:ext uri="{FF2B5EF4-FFF2-40B4-BE49-F238E27FC236}">
                <a16:creationId xmlns:a16="http://schemas.microsoft.com/office/drawing/2014/main" id="{369017B4-C5F7-4EB0-B5E4-F79E41D0F7E4}"/>
              </a:ext>
            </a:extLst>
          </p:cNvPr>
          <p:cNvPicPr>
            <a:picLocks noChangeAspect="1"/>
          </p:cNvPicPr>
          <p:nvPr/>
        </p:nvPicPr>
        <p:blipFill>
          <a:blip r:embed="rId9">
            <a:extLst>
              <a:ext uri="{BEBA8EAE-BF5A-486C-A8C5-ECC9F3942E4B}">
                <a14:imgProps xmlns:a14="http://schemas.microsoft.com/office/drawing/2010/main">
                  <a14:imgLayer r:embed="rId10">
                    <a14:imgEffect>
                      <a14:colorTemperature colorTemp="2300"/>
                    </a14:imgEffect>
                  </a14:imgLayer>
                </a14:imgProps>
              </a:ext>
              <a:ext uri="{28A0092B-C50C-407E-A947-70E740481C1C}">
                <a14:useLocalDpi xmlns:a14="http://schemas.microsoft.com/office/drawing/2010/main" val="0"/>
              </a:ext>
            </a:extLst>
          </a:blip>
          <a:stretch>
            <a:fillRect/>
          </a:stretch>
        </p:blipFill>
        <p:spPr>
          <a:xfrm>
            <a:off x="255221" y="4554484"/>
            <a:ext cx="1817801" cy="1817801"/>
          </a:xfrm>
          <a:prstGeom prst="rect">
            <a:avLst/>
          </a:prstGeom>
        </p:spPr>
      </p:pic>
      <p:pic>
        <p:nvPicPr>
          <p:cNvPr id="16" name="New picture">
            <a:extLst>
              <a:ext uri="{FF2B5EF4-FFF2-40B4-BE49-F238E27FC236}">
                <a16:creationId xmlns:a16="http://schemas.microsoft.com/office/drawing/2014/main" id="{EA785996-D8BE-481A-BCA9-EB9F34394918}"/>
              </a:ext>
            </a:extLst>
          </p:cNvPr>
          <p:cNvPicPr/>
          <p:nvPr/>
        </p:nvPicPr>
        <p:blipFill rotWithShape="1">
          <a:blip r:embed="rId11"/>
          <a:srcRect t="63613" b="27685"/>
          <a:stretch/>
        </p:blipFill>
        <p:spPr>
          <a:xfrm>
            <a:off x="1336093" y="2694803"/>
            <a:ext cx="20862223" cy="1172124"/>
          </a:xfrm>
          <a:prstGeom prst="rect">
            <a:avLst/>
          </a:prstGeom>
        </p:spPr>
      </p:pic>
    </p:spTree>
    <p:extLst>
      <p:ext uri="{BB962C8B-B14F-4D97-AF65-F5344CB8AC3E}">
        <p14:creationId xmlns:p14="http://schemas.microsoft.com/office/powerpoint/2010/main" val="36860403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162A749-145E-45A9-A608-94CDAC2EE459}"/>
              </a:ext>
            </a:extLst>
          </p:cNvPr>
          <p:cNvSpPr txBox="1"/>
          <p:nvPr/>
        </p:nvSpPr>
        <p:spPr>
          <a:xfrm>
            <a:off x="650240" y="541319"/>
            <a:ext cx="22611504" cy="2000548"/>
          </a:xfrm>
          <a:prstGeom prst="rect">
            <a:avLst/>
          </a:prstGeom>
          <a:noFill/>
        </p:spPr>
        <p:txBody>
          <a:bodyPr wrap="square" rtlCol="0" anchor="t">
            <a:spAutoFit/>
          </a:bodyPr>
          <a:lstStyle/>
          <a:p>
            <a:pPr algn="l"/>
            <a:r>
              <a:rPr lang="en-GB" sz="4000" b="1" kern="1200" dirty="0">
                <a:solidFill>
                  <a:srgbClr val="C00000"/>
                </a:solidFill>
              </a:rPr>
              <a:t>Aprovisionamiento &amp; Ejecución Automática</a:t>
            </a:r>
            <a:r>
              <a:rPr lang="en-US" sz="4000" b="1" kern="1200" dirty="0">
                <a:solidFill>
                  <a:srgbClr val="C00000"/>
                </a:solidFill>
              </a:rPr>
              <a:t> </a:t>
            </a:r>
            <a:r>
              <a:rPr lang="en-US" sz="2800" kern="1200" dirty="0">
                <a:solidFill>
                  <a:srgbClr val="C00000"/>
                </a:solidFill>
              </a:rPr>
              <a:t>Aprovisionamiento de Entornos de Plataforma</a:t>
            </a:r>
          </a:p>
          <a:p>
            <a:pPr algn="l"/>
            <a:r>
              <a:rPr lang="es-ES" altLang="en-US" sz="2800" kern="1200" dirty="0">
                <a:solidFill>
                  <a:schemeClr val="tx1"/>
                </a:solidFill>
              </a:rPr>
              <a:t>Vista de Procesos</a:t>
            </a:r>
            <a:endParaRPr lang="en-US" altLang="en-US" sz="2800" kern="1200" dirty="0">
              <a:solidFill>
                <a:schemeClr val="tx1"/>
              </a:solidFill>
            </a:endParaRPr>
          </a:p>
          <a:p>
            <a:pPr algn="l"/>
            <a:r>
              <a:rPr lang="en-US" sz="2800" kern="1200" dirty="0">
                <a:solidFill>
                  <a:srgbClr val="C00000"/>
                </a:solidFill>
                <a:latin typeface="IBM Plex Sans"/>
              </a:rPr>
              <a:t> </a:t>
            </a:r>
            <a:endParaRPr lang="en-US" altLang="en-US" sz="2800" kern="1200" dirty="0">
              <a:solidFill>
                <a:srgbClr val="C00000"/>
              </a:solidFill>
              <a:latin typeface="IBM Plex Sans"/>
            </a:endParaRPr>
          </a:p>
          <a:p>
            <a:pPr algn="l"/>
            <a:endParaRPr lang="en-US" sz="2800" kern="1200" dirty="0">
              <a:solidFill>
                <a:srgbClr val="C00000"/>
              </a:solidFill>
              <a:latin typeface="IBM Plex Sans"/>
            </a:endParaRPr>
          </a:p>
        </p:txBody>
      </p:sp>
      <p:sp>
        <p:nvSpPr>
          <p:cNvPr id="23" name="TextBox 27">
            <a:extLst>
              <a:ext uri="{FF2B5EF4-FFF2-40B4-BE49-F238E27FC236}">
                <a16:creationId xmlns:a16="http://schemas.microsoft.com/office/drawing/2014/main" id="{7FF5AF89-08B4-4DF4-B1C8-7B5FC001CBD0}"/>
              </a:ext>
            </a:extLst>
          </p:cNvPr>
          <p:cNvSpPr txBox="1">
            <a:spLocks noChangeArrowheads="1"/>
          </p:cNvSpPr>
          <p:nvPr/>
        </p:nvSpPr>
        <p:spPr bwMode="auto">
          <a:xfrm>
            <a:off x="1140883" y="7935102"/>
            <a:ext cx="1851470" cy="34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a:r>
              <a:rPr lang="en-US" sz="2000" dirty="0">
                <a:solidFill>
                  <a:srgbClr val="C00000"/>
                </a:solidFill>
                <a:cs typeface="Arial" panose="020B0604020202020204" pitchFamily="34" charset="0"/>
              </a:rPr>
              <a:t>Informed</a:t>
            </a: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endParaRPr lang="en-US" sz="2000" dirty="0">
              <a:solidFill>
                <a:srgbClr val="C00000"/>
              </a:solidFill>
              <a:cs typeface="Arial" panose="020B0604020202020204" pitchFamily="34" charset="0"/>
            </a:endParaRPr>
          </a:p>
          <a:p>
            <a:pPr algn="l"/>
            <a:r>
              <a:rPr lang="en-US" sz="2000" dirty="0">
                <a:solidFill>
                  <a:srgbClr val="C00000"/>
                </a:solidFill>
                <a:cs typeface="Arial" panose="020B0604020202020204" pitchFamily="34" charset="0"/>
              </a:rPr>
              <a:t>Accountable</a:t>
            </a: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endParaRPr lang="en-US" altLang="en-US" sz="2000" dirty="0">
              <a:solidFill>
                <a:srgbClr val="C00000"/>
              </a:solidFill>
              <a:cs typeface="Arial" panose="020B0604020202020204" pitchFamily="34" charset="0"/>
            </a:endParaRPr>
          </a:p>
          <a:p>
            <a:pPr algn="l"/>
            <a:r>
              <a:rPr lang="en-US" altLang="en-US" sz="2000" dirty="0">
                <a:solidFill>
                  <a:srgbClr val="C00000"/>
                </a:solidFill>
                <a:cs typeface="Arial" panose="020B0604020202020204" pitchFamily="34" charset="0"/>
              </a:rPr>
              <a:t>Consulted</a:t>
            </a:r>
          </a:p>
        </p:txBody>
      </p:sp>
      <p:pic>
        <p:nvPicPr>
          <p:cNvPr id="24" name="Graphic 6" descr="Handshake">
            <a:extLst>
              <a:ext uri="{FF2B5EF4-FFF2-40B4-BE49-F238E27FC236}">
                <a16:creationId xmlns:a16="http://schemas.microsoft.com/office/drawing/2014/main" id="{4F89CF19-B983-4DD5-BEBD-26B8C1AE4A6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7146" y="10546135"/>
            <a:ext cx="788947" cy="788947"/>
          </a:xfrm>
          <a:prstGeom prst="rect">
            <a:avLst/>
          </a:prstGeom>
        </p:spPr>
      </p:pic>
      <p:pic>
        <p:nvPicPr>
          <p:cNvPr id="25" name="Graphic 26" descr="Research">
            <a:extLst>
              <a:ext uri="{FF2B5EF4-FFF2-40B4-BE49-F238E27FC236}">
                <a16:creationId xmlns:a16="http://schemas.microsoft.com/office/drawing/2014/main" id="{7B5DD557-29C4-448B-91D7-A6D2E321FF0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0876" y="8982625"/>
            <a:ext cx="741219" cy="741219"/>
          </a:xfrm>
          <a:prstGeom prst="rect">
            <a:avLst/>
          </a:prstGeom>
        </p:spPr>
      </p:pic>
      <p:pic>
        <p:nvPicPr>
          <p:cNvPr id="26" name="Graphic 34" descr="Information">
            <a:extLst>
              <a:ext uri="{FF2B5EF4-FFF2-40B4-BE49-F238E27FC236}">
                <a16:creationId xmlns:a16="http://schemas.microsoft.com/office/drawing/2014/main" id="{A47FE55D-8B1F-4D9D-9E70-C0AA44895AE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94255" y="7445529"/>
            <a:ext cx="747097" cy="747097"/>
          </a:xfrm>
          <a:prstGeom prst="rect">
            <a:avLst/>
          </a:prstGeom>
        </p:spPr>
      </p:pic>
      <p:sp>
        <p:nvSpPr>
          <p:cNvPr id="27" name="Rectángulo 26">
            <a:extLst>
              <a:ext uri="{FF2B5EF4-FFF2-40B4-BE49-F238E27FC236}">
                <a16:creationId xmlns:a16="http://schemas.microsoft.com/office/drawing/2014/main" id="{2988E777-DAB2-4987-80AB-2245AB3F6ED0}"/>
              </a:ext>
            </a:extLst>
          </p:cNvPr>
          <p:cNvSpPr/>
          <p:nvPr/>
        </p:nvSpPr>
        <p:spPr>
          <a:xfrm>
            <a:off x="3386474" y="6876299"/>
            <a:ext cx="4831253" cy="2408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8" name="CuadroTexto 27">
            <a:extLst>
              <a:ext uri="{FF2B5EF4-FFF2-40B4-BE49-F238E27FC236}">
                <a16:creationId xmlns:a16="http://schemas.microsoft.com/office/drawing/2014/main" id="{9C942CC1-180A-433A-B468-5CBDB152C29A}"/>
              </a:ext>
            </a:extLst>
          </p:cNvPr>
          <p:cNvSpPr txBox="1"/>
          <p:nvPr/>
        </p:nvSpPr>
        <p:spPr>
          <a:xfrm>
            <a:off x="3386474" y="6260281"/>
            <a:ext cx="5029200" cy="461665"/>
          </a:xfrm>
          <a:prstGeom prst="rect">
            <a:avLst/>
          </a:prstGeom>
          <a:noFill/>
        </p:spPr>
        <p:txBody>
          <a:bodyPr wrap="square" rtlCol="0">
            <a:spAutoFit/>
          </a:bodyPr>
          <a:lstStyle/>
          <a:p>
            <a:pPr algn="l"/>
            <a:r>
              <a:rPr lang="es-ES" sz="2400" b="1" dirty="0">
                <a:solidFill>
                  <a:srgbClr val="C00000"/>
                </a:solidFill>
              </a:rPr>
              <a:t>Aprovisionar Entorno (Paas)</a:t>
            </a:r>
            <a:endParaRPr lang="es-ES" b="1" dirty="0">
              <a:solidFill>
                <a:srgbClr val="C00000"/>
              </a:solidFill>
            </a:endParaRPr>
          </a:p>
        </p:txBody>
      </p:sp>
      <p:sp>
        <p:nvSpPr>
          <p:cNvPr id="29" name="CuadroTexto 28">
            <a:extLst>
              <a:ext uri="{FF2B5EF4-FFF2-40B4-BE49-F238E27FC236}">
                <a16:creationId xmlns:a16="http://schemas.microsoft.com/office/drawing/2014/main" id="{8C82C39B-156A-4970-851A-B78C1D6DF1B0}"/>
              </a:ext>
            </a:extLst>
          </p:cNvPr>
          <p:cNvSpPr txBox="1"/>
          <p:nvPr/>
        </p:nvSpPr>
        <p:spPr>
          <a:xfrm>
            <a:off x="3386474" y="7352283"/>
            <a:ext cx="5654842" cy="3416320"/>
          </a:xfrm>
          <a:prstGeom prst="rect">
            <a:avLst/>
          </a:prstGeom>
          <a:noFill/>
        </p:spPr>
        <p:txBody>
          <a:bodyPr wrap="square" rtlCol="0">
            <a:spAutoFit/>
          </a:bodyPr>
          <a:lstStyle/>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r>
              <a:rPr lang="es-ES" sz="2400" dirty="0"/>
              <a:t>Ingenieria (SanTec)</a:t>
            </a:r>
            <a:r>
              <a:rPr lang="en-US" altLang="en-US" sz="2400" dirty="0"/>
              <a:t> </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r>
              <a:rPr lang="es-ES" sz="2400" dirty="0"/>
              <a:t> </a:t>
            </a:r>
            <a:r>
              <a:rPr lang="en-US" altLang="en-US" sz="2400" dirty="0"/>
              <a:t> </a:t>
            </a:r>
            <a:endParaRPr lang="es-ES" sz="2400" dirty="0"/>
          </a:p>
        </p:txBody>
      </p:sp>
      <p:cxnSp>
        <p:nvCxnSpPr>
          <p:cNvPr id="30" name="Conector recto 29">
            <a:extLst>
              <a:ext uri="{FF2B5EF4-FFF2-40B4-BE49-F238E27FC236}">
                <a16:creationId xmlns:a16="http://schemas.microsoft.com/office/drawing/2014/main" id="{825744B9-D269-4972-82B0-42C6E9562F3A}"/>
              </a:ext>
            </a:extLst>
          </p:cNvPr>
          <p:cNvCxnSpPr/>
          <p:nvPr/>
        </p:nvCxnSpPr>
        <p:spPr>
          <a:xfrm>
            <a:off x="483686" y="8425282"/>
            <a:ext cx="19846064"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31" name="Conector recto 30">
            <a:extLst>
              <a:ext uri="{FF2B5EF4-FFF2-40B4-BE49-F238E27FC236}">
                <a16:creationId xmlns:a16="http://schemas.microsoft.com/office/drawing/2014/main" id="{0FE732A9-2AF0-452E-ABC8-05D32BB85225}"/>
              </a:ext>
            </a:extLst>
          </p:cNvPr>
          <p:cNvCxnSpPr/>
          <p:nvPr/>
        </p:nvCxnSpPr>
        <p:spPr>
          <a:xfrm>
            <a:off x="483686" y="9867955"/>
            <a:ext cx="19846064"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cxnSp>
        <p:nvCxnSpPr>
          <p:cNvPr id="32" name="Conector recto 31">
            <a:extLst>
              <a:ext uri="{FF2B5EF4-FFF2-40B4-BE49-F238E27FC236}">
                <a16:creationId xmlns:a16="http://schemas.microsoft.com/office/drawing/2014/main" id="{74961751-4B55-45B2-9A5E-DCCDCDB24CB6}"/>
              </a:ext>
            </a:extLst>
          </p:cNvPr>
          <p:cNvCxnSpPr/>
          <p:nvPr/>
        </p:nvCxnSpPr>
        <p:spPr>
          <a:xfrm>
            <a:off x="483686" y="11374029"/>
            <a:ext cx="19846064" cy="0"/>
          </a:xfrm>
          <a:prstGeom prst="line">
            <a:avLst/>
          </a:prstGeom>
          <a:ln w="57150">
            <a:prstDash val="dash"/>
          </a:ln>
        </p:spPr>
        <p:style>
          <a:lnRef idx="1">
            <a:schemeClr val="accent1"/>
          </a:lnRef>
          <a:fillRef idx="0">
            <a:schemeClr val="accent1"/>
          </a:fillRef>
          <a:effectRef idx="0">
            <a:schemeClr val="accent1"/>
          </a:effectRef>
          <a:fontRef idx="minor">
            <a:schemeClr val="tx1"/>
          </a:fontRef>
        </p:style>
      </p:cxnSp>
      <p:sp>
        <p:nvSpPr>
          <p:cNvPr id="34" name="Rectángulo 33">
            <a:extLst>
              <a:ext uri="{FF2B5EF4-FFF2-40B4-BE49-F238E27FC236}">
                <a16:creationId xmlns:a16="http://schemas.microsoft.com/office/drawing/2014/main" id="{8AAA9E0C-9D64-41A3-AA1C-F460C0796239}"/>
              </a:ext>
            </a:extLst>
          </p:cNvPr>
          <p:cNvSpPr/>
          <p:nvPr/>
        </p:nvSpPr>
        <p:spPr>
          <a:xfrm>
            <a:off x="8457369" y="6876299"/>
            <a:ext cx="4831253" cy="2408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35" name="CuadroTexto 34">
            <a:extLst>
              <a:ext uri="{FF2B5EF4-FFF2-40B4-BE49-F238E27FC236}">
                <a16:creationId xmlns:a16="http://schemas.microsoft.com/office/drawing/2014/main" id="{A856806F-EF54-46A3-B260-5F54184A7704}"/>
              </a:ext>
            </a:extLst>
          </p:cNvPr>
          <p:cNvSpPr txBox="1"/>
          <p:nvPr/>
        </p:nvSpPr>
        <p:spPr>
          <a:xfrm>
            <a:off x="8457369" y="6260281"/>
            <a:ext cx="5029200" cy="461665"/>
          </a:xfrm>
          <a:prstGeom prst="rect">
            <a:avLst/>
          </a:prstGeom>
          <a:noFill/>
        </p:spPr>
        <p:txBody>
          <a:bodyPr wrap="square" rtlCol="0">
            <a:spAutoFit/>
          </a:bodyPr>
          <a:lstStyle/>
          <a:p>
            <a:pPr algn="l"/>
            <a:r>
              <a:rPr lang="es-ES" sz="2400" b="1" dirty="0">
                <a:solidFill>
                  <a:srgbClr val="C00000"/>
                </a:solidFill>
              </a:rPr>
              <a:t>Registrar Entornos (Paas)</a:t>
            </a:r>
            <a:endParaRPr lang="es-ES" b="1" dirty="0">
              <a:solidFill>
                <a:srgbClr val="C00000"/>
              </a:solidFill>
            </a:endParaRPr>
          </a:p>
        </p:txBody>
      </p:sp>
      <p:sp>
        <p:nvSpPr>
          <p:cNvPr id="38" name="CuadroTexto 37">
            <a:extLst>
              <a:ext uri="{FF2B5EF4-FFF2-40B4-BE49-F238E27FC236}">
                <a16:creationId xmlns:a16="http://schemas.microsoft.com/office/drawing/2014/main" id="{39FF6DD1-C787-46C6-8908-3640A032882A}"/>
              </a:ext>
            </a:extLst>
          </p:cNvPr>
          <p:cNvSpPr txBox="1"/>
          <p:nvPr/>
        </p:nvSpPr>
        <p:spPr>
          <a:xfrm>
            <a:off x="8457369" y="7352283"/>
            <a:ext cx="5654842" cy="3416320"/>
          </a:xfrm>
          <a:prstGeom prst="rect">
            <a:avLst/>
          </a:prstGeom>
          <a:noFill/>
        </p:spPr>
        <p:txBody>
          <a:bodyPr wrap="square" rtlCol="0">
            <a:spAutoFit/>
          </a:bodyPr>
          <a:lstStyle/>
          <a:p>
            <a:pPr algn="l"/>
            <a:r>
              <a:rPr lang="es-ES" sz="2400" dirty="0"/>
              <a:t>Monitorización (SanTec)</a:t>
            </a:r>
          </a:p>
          <a:p>
            <a:pPr algn="l"/>
            <a:r>
              <a:rPr lang="es-ES" sz="2400" dirty="0"/>
              <a:t>Nivel de servicio</a:t>
            </a:r>
            <a:r>
              <a:rPr lang="en-US" altLang="en-US" sz="2400" dirty="0"/>
              <a:t> (SanTec)</a:t>
            </a:r>
          </a:p>
          <a:p>
            <a:pPr algn="l"/>
            <a:endParaRPr lang="en-US" altLang="en-US" sz="2400" dirty="0"/>
          </a:p>
          <a:p>
            <a:pPr algn="l"/>
            <a:endParaRPr lang="en-US" altLang="en-US" sz="2400" dirty="0"/>
          </a:p>
          <a:p>
            <a:pPr algn="l"/>
            <a:r>
              <a:rPr lang="es-ES" sz="2400" dirty="0"/>
              <a:t>Ingenieria (SanTec) </a:t>
            </a:r>
            <a:r>
              <a:rPr lang="en-US" altLang="en-US" sz="2400" dirty="0"/>
              <a:t> </a:t>
            </a:r>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marL="457200" indent="-457200" algn="l">
              <a:buFont typeface="Arial" panose="020B0604020202020204" pitchFamily="34" charset="0"/>
              <a:buChar char="•"/>
            </a:pPr>
            <a:endParaRPr lang="en-US" altLang="en-US" sz="2400" dirty="0"/>
          </a:p>
          <a:p>
            <a:pPr algn="l"/>
            <a:r>
              <a:rPr lang="en-US" altLang="en-US" sz="2400" dirty="0"/>
              <a:t> </a:t>
            </a:r>
            <a:endParaRPr lang="es-ES" sz="2400" dirty="0"/>
          </a:p>
        </p:txBody>
      </p:sp>
      <p:sp>
        <p:nvSpPr>
          <p:cNvPr id="40" name="Rectángulo 39">
            <a:extLst>
              <a:ext uri="{FF2B5EF4-FFF2-40B4-BE49-F238E27FC236}">
                <a16:creationId xmlns:a16="http://schemas.microsoft.com/office/drawing/2014/main" id="{36FF4C83-5F0A-4F10-AC31-1EB99F4DC1C5}"/>
              </a:ext>
            </a:extLst>
          </p:cNvPr>
          <p:cNvSpPr/>
          <p:nvPr/>
        </p:nvSpPr>
        <p:spPr>
          <a:xfrm>
            <a:off x="13496308" y="6902422"/>
            <a:ext cx="4831253" cy="2408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1" name="CuadroTexto 40">
            <a:extLst>
              <a:ext uri="{FF2B5EF4-FFF2-40B4-BE49-F238E27FC236}">
                <a16:creationId xmlns:a16="http://schemas.microsoft.com/office/drawing/2014/main" id="{D4E758E4-6561-4362-AE7F-85B70F682DA0}"/>
              </a:ext>
            </a:extLst>
          </p:cNvPr>
          <p:cNvSpPr txBox="1"/>
          <p:nvPr/>
        </p:nvSpPr>
        <p:spPr>
          <a:xfrm>
            <a:off x="13496308" y="6286404"/>
            <a:ext cx="5029200" cy="461665"/>
          </a:xfrm>
          <a:prstGeom prst="rect">
            <a:avLst/>
          </a:prstGeom>
          <a:noFill/>
        </p:spPr>
        <p:txBody>
          <a:bodyPr wrap="square" rtlCol="0">
            <a:spAutoFit/>
          </a:bodyPr>
          <a:lstStyle/>
          <a:p>
            <a:pPr algn="l"/>
            <a:r>
              <a:rPr lang="es-ES" sz="2400" b="1" dirty="0">
                <a:solidFill>
                  <a:srgbClr val="C00000"/>
                </a:solidFill>
              </a:rPr>
              <a:t>Desaprovisionar Entornos (Paas)</a:t>
            </a:r>
            <a:endParaRPr lang="es-ES" b="1" dirty="0">
              <a:solidFill>
                <a:srgbClr val="C00000"/>
              </a:solidFill>
            </a:endParaRPr>
          </a:p>
        </p:txBody>
      </p:sp>
      <p:sp>
        <p:nvSpPr>
          <p:cNvPr id="42" name="CuadroTexto 41">
            <a:extLst>
              <a:ext uri="{FF2B5EF4-FFF2-40B4-BE49-F238E27FC236}">
                <a16:creationId xmlns:a16="http://schemas.microsoft.com/office/drawing/2014/main" id="{C9677791-E095-463B-872A-A0542D1148D2}"/>
              </a:ext>
            </a:extLst>
          </p:cNvPr>
          <p:cNvSpPr txBox="1"/>
          <p:nvPr/>
        </p:nvSpPr>
        <p:spPr>
          <a:xfrm>
            <a:off x="13486569" y="7378406"/>
            <a:ext cx="5654842" cy="3416320"/>
          </a:xfrm>
          <a:prstGeom prst="rect">
            <a:avLst/>
          </a:prstGeom>
          <a:noFill/>
        </p:spPr>
        <p:txBody>
          <a:bodyPr wrap="square" rtlCol="0">
            <a:spAutoFit/>
          </a:bodyPr>
          <a:lstStyle/>
          <a:p>
            <a:pPr algn="l"/>
            <a:r>
              <a:rPr lang="es-ES" sz="2400" dirty="0"/>
              <a:t>Monitorización (SanTec)</a:t>
            </a:r>
          </a:p>
          <a:p>
            <a:pPr algn="l"/>
            <a:r>
              <a:rPr lang="es-ES" sz="2400" dirty="0"/>
              <a:t>Nivel de Servicio</a:t>
            </a:r>
            <a:r>
              <a:rPr lang="en-US" altLang="en-US" sz="2400" dirty="0"/>
              <a:t> (SanTec)</a:t>
            </a:r>
          </a:p>
          <a:p>
            <a:pPr algn="l"/>
            <a:endParaRPr lang="en-US" altLang="en-US" sz="2400" dirty="0"/>
          </a:p>
          <a:p>
            <a:pPr algn="l"/>
            <a:endParaRPr lang="en-US" altLang="en-US" sz="2400" dirty="0"/>
          </a:p>
          <a:p>
            <a:pPr algn="l"/>
            <a:r>
              <a:rPr lang="es-ES" sz="2400" dirty="0"/>
              <a:t>Ingenieria (SanTec)</a:t>
            </a:r>
            <a:r>
              <a:rPr lang="en-US" altLang="en-US" sz="2400" dirty="0"/>
              <a:t> </a:t>
            </a:r>
          </a:p>
          <a:p>
            <a:pPr algn="l"/>
            <a:endParaRPr lang="en-US" altLang="en-US" sz="2400" dirty="0"/>
          </a:p>
          <a:p>
            <a:pPr algn="l"/>
            <a:endParaRPr lang="en-US" altLang="en-US" sz="2400" dirty="0"/>
          </a:p>
          <a:p>
            <a:pPr algn="l"/>
            <a:endParaRPr lang="en-US" altLang="en-US" sz="2400" dirty="0"/>
          </a:p>
          <a:p>
            <a:pPr algn="l"/>
            <a:r>
              <a:rPr lang="es-ES" sz="2400" dirty="0"/>
              <a:t>Nivel de Servicio (SanTec)</a:t>
            </a:r>
            <a:r>
              <a:rPr lang="en-US" altLang="en-US" sz="2400" dirty="0"/>
              <a:t> </a:t>
            </a:r>
            <a:endParaRPr lang="es-ES" sz="2400" dirty="0"/>
          </a:p>
        </p:txBody>
      </p:sp>
      <p:sp>
        <p:nvSpPr>
          <p:cNvPr id="43" name="TextBox 27">
            <a:extLst>
              <a:ext uri="{FF2B5EF4-FFF2-40B4-BE49-F238E27FC236}">
                <a16:creationId xmlns:a16="http://schemas.microsoft.com/office/drawing/2014/main" id="{AF58E6B0-2B21-4522-B867-18895D7E3185}"/>
              </a:ext>
            </a:extLst>
          </p:cNvPr>
          <p:cNvSpPr txBox="1">
            <a:spLocks noChangeArrowheads="1"/>
          </p:cNvSpPr>
          <p:nvPr/>
        </p:nvSpPr>
        <p:spPr bwMode="auto">
          <a:xfrm>
            <a:off x="1934085" y="5266146"/>
            <a:ext cx="8509326" cy="646331"/>
          </a:xfrm>
          <a:prstGeom prst="rect">
            <a:avLst/>
          </a:prstGeom>
          <a:noFill/>
          <a:ln>
            <a:noFill/>
          </a:ln>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eaLnBrk="1" hangingPunct="1"/>
            <a:r>
              <a:rPr lang="en-US" altLang="en-US" sz="3600" dirty="0">
                <a:solidFill>
                  <a:srgbClr val="C00000"/>
                </a:solidFill>
                <a:cs typeface="Arial" panose="020B0604020202020204" pitchFamily="34" charset="0"/>
              </a:rPr>
              <a:t>Responsible   </a:t>
            </a:r>
            <a:r>
              <a:rPr lang="en-US" altLang="en-US" sz="3200" b="0" dirty="0">
                <a:cs typeface="Arial" panose="020B0604020202020204" pitchFamily="34" charset="0"/>
              </a:rPr>
              <a:t>CCC (SGT)</a:t>
            </a:r>
          </a:p>
        </p:txBody>
      </p:sp>
      <p:pic>
        <p:nvPicPr>
          <p:cNvPr id="48" name="Picture 25">
            <a:extLst>
              <a:ext uri="{FF2B5EF4-FFF2-40B4-BE49-F238E27FC236}">
                <a16:creationId xmlns:a16="http://schemas.microsoft.com/office/drawing/2014/main" id="{369017B4-C5F7-4EB0-B5E4-F79E41D0F7E4}"/>
              </a:ext>
            </a:extLst>
          </p:cNvPr>
          <p:cNvPicPr>
            <a:picLocks noChangeAspect="1"/>
          </p:cNvPicPr>
          <p:nvPr/>
        </p:nvPicPr>
        <p:blipFill>
          <a:blip r:embed="rId9">
            <a:extLst>
              <a:ext uri="{BEBA8EAE-BF5A-486C-A8C5-ECC9F3942E4B}">
                <a14:imgProps xmlns:a14="http://schemas.microsoft.com/office/drawing/2010/main">
                  <a14:imgLayer r:embed="rId10">
                    <a14:imgEffect>
                      <a14:colorTemperature colorTemp="2300"/>
                    </a14:imgEffect>
                  </a14:imgLayer>
                </a14:imgProps>
              </a:ext>
              <a:ext uri="{28A0092B-C50C-407E-A947-70E740481C1C}">
                <a14:useLocalDpi xmlns:a14="http://schemas.microsoft.com/office/drawing/2010/main" val="0"/>
              </a:ext>
            </a:extLst>
          </a:blip>
          <a:stretch>
            <a:fillRect/>
          </a:stretch>
        </p:blipFill>
        <p:spPr>
          <a:xfrm>
            <a:off x="255221" y="4554484"/>
            <a:ext cx="1817801" cy="1817801"/>
          </a:xfrm>
          <a:prstGeom prst="rect">
            <a:avLst/>
          </a:prstGeom>
        </p:spPr>
      </p:pic>
      <p:pic>
        <p:nvPicPr>
          <p:cNvPr id="22" name="New picture">
            <a:extLst>
              <a:ext uri="{FF2B5EF4-FFF2-40B4-BE49-F238E27FC236}">
                <a16:creationId xmlns:a16="http://schemas.microsoft.com/office/drawing/2014/main" id="{3116C349-F9F6-497C-A2F4-9B288D7E171C}"/>
              </a:ext>
            </a:extLst>
          </p:cNvPr>
          <p:cNvPicPr/>
          <p:nvPr/>
        </p:nvPicPr>
        <p:blipFill rotWithShape="1">
          <a:blip r:embed="rId11"/>
          <a:srcRect t="71325" b="21535"/>
          <a:stretch/>
        </p:blipFill>
        <p:spPr>
          <a:xfrm>
            <a:off x="1336093" y="2575324"/>
            <a:ext cx="20862223" cy="961774"/>
          </a:xfrm>
          <a:prstGeom prst="rect">
            <a:avLst/>
          </a:prstGeom>
        </p:spPr>
      </p:pic>
    </p:spTree>
    <p:extLst>
      <p:ext uri="{BB962C8B-B14F-4D97-AF65-F5344CB8AC3E}">
        <p14:creationId xmlns:p14="http://schemas.microsoft.com/office/powerpoint/2010/main" val="7149663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5"/>
          <p:cNvSpPr txBox="1">
            <a:spLocks noGrp="1" noChangeArrowheads="1"/>
          </p:cNvSpPr>
          <p:nvPr/>
        </p:nvSpPr>
        <p:spPr bwMode="black">
          <a:xfrm>
            <a:off x="3413126" y="13074650"/>
            <a:ext cx="733424" cy="368300"/>
          </a:xfrm>
          <a:prstGeom prst="rect">
            <a:avLst/>
          </a:prstGeom>
          <a:noFill/>
          <a:ln w="9525">
            <a:noFill/>
            <a:miter lim="800000"/>
            <a:headEnd/>
            <a:tailEnd/>
          </a:ln>
        </p:spPr>
        <p:txBody>
          <a:bodyPr lIns="184150" tIns="92076" rIns="184150" bIns="92076"/>
          <a:lstStyle/>
          <a:p>
            <a:fld id="{91ECDFF8-1E9F-4B22-BFC9-D56DCD534717}" type="slidenum">
              <a:rPr lang="en-US" sz="1600" u="none"/>
              <a:pPr/>
              <a:t>5</a:t>
            </a:fld>
            <a:endParaRPr lang="en-US" sz="1600" u="none" dirty="0"/>
          </a:p>
        </p:txBody>
      </p:sp>
      <p:sp>
        <p:nvSpPr>
          <p:cNvPr id="27653" name="Text Box 4"/>
          <p:cNvSpPr txBox="1">
            <a:spLocks noChangeArrowheads="1"/>
          </p:cNvSpPr>
          <p:nvPr/>
        </p:nvSpPr>
        <p:spPr bwMode="auto">
          <a:xfrm>
            <a:off x="1009539" y="5035863"/>
            <a:ext cx="12637780" cy="5073248"/>
          </a:xfrm>
          <a:prstGeom prst="rect">
            <a:avLst/>
          </a:prstGeom>
          <a:solidFill>
            <a:schemeClr val="bg1"/>
          </a:solidFill>
          <a:ln w="9525" cmpd="sng">
            <a:solidFill>
              <a:schemeClr val="accent1"/>
            </a:solidFill>
            <a:miter lim="800000"/>
            <a:headEnd/>
            <a:tailEnd/>
          </a:ln>
        </p:spPr>
        <p:txBody>
          <a:bodyPr wrap="square" anchor="t">
            <a:spAutoFit/>
          </a:bodyPr>
          <a:lstStyle/>
          <a:p>
            <a:pPr marL="361950" indent="-361950" algn="l">
              <a:spcBef>
                <a:spcPct val="35000"/>
              </a:spcBef>
            </a:pPr>
            <a:r>
              <a:rPr lang="en-GB" sz="2400" b="1" kern="1200" dirty="0">
                <a:solidFill>
                  <a:srgbClr val="C00000"/>
                </a:solidFill>
                <a:latin typeface="IBM Plex Sans"/>
              </a:rPr>
              <a:t>Metodología:</a:t>
            </a:r>
            <a:r>
              <a:rPr lang="en-GB" sz="3200" b="1" dirty="0">
                <a:ea typeface="ＭＳ Ｐゴシック"/>
              </a:rPr>
              <a:t> </a:t>
            </a:r>
            <a:endParaRPr lang="en-US" b="1" dirty="0"/>
          </a:p>
          <a:p>
            <a:pPr marL="514350" indent="-514350" algn="l">
              <a:spcBef>
                <a:spcPct val="35000"/>
              </a:spcBef>
              <a:buClr>
                <a:srgbClr val="C00000"/>
              </a:buClr>
              <a:buFont typeface="Arial"/>
              <a:buChar char="•"/>
            </a:pPr>
            <a:r>
              <a:rPr lang="en-GB" sz="3200" dirty="0">
                <a:latin typeface="+mn-lt"/>
                <a:ea typeface="+mj-lt"/>
                <a:cs typeface="+mj-lt"/>
              </a:rPr>
              <a:t>El modelo divide "el problema operativo" en fragmentos lógicos y define la estrategia adecuada como soporte a los objetivos corporativos generales.</a:t>
            </a:r>
            <a:endParaRPr lang="en-GB" sz="3200" dirty="0">
              <a:latin typeface="+mn-lt"/>
              <a:ea typeface="ＭＳ Ｐゴシック"/>
              <a:cs typeface="+mj-lt"/>
            </a:endParaRPr>
          </a:p>
          <a:p>
            <a:pPr marL="514350" indent="-514350" algn="l">
              <a:spcBef>
                <a:spcPct val="35000"/>
              </a:spcBef>
              <a:buClr>
                <a:srgbClr val="C00000"/>
              </a:buClr>
              <a:buFont typeface="Arial"/>
              <a:buChar char="•"/>
            </a:pPr>
            <a:r>
              <a:rPr lang="en-GB" sz="3200" dirty="0">
                <a:latin typeface="+mn-lt"/>
                <a:ea typeface="+mj-lt"/>
                <a:cs typeface="+mj-lt"/>
              </a:rPr>
              <a:t>Herramienta para impulsar decisiones y elecciones sobre dónde y cómo se implementan los recursos</a:t>
            </a:r>
            <a:endParaRPr lang="en-GB" sz="3200" dirty="0">
              <a:latin typeface="+mn-lt"/>
              <a:ea typeface="ＭＳ Ｐゴシック"/>
              <a:cs typeface="+mj-lt"/>
            </a:endParaRPr>
          </a:p>
          <a:p>
            <a:pPr marL="514350" indent="-514350" algn="l">
              <a:spcBef>
                <a:spcPct val="35000"/>
              </a:spcBef>
              <a:buClr>
                <a:srgbClr val="C00000"/>
              </a:buClr>
              <a:buFont typeface="Arial"/>
              <a:buChar char="•"/>
            </a:pPr>
            <a:r>
              <a:rPr lang="en-GB" sz="3200" dirty="0">
                <a:latin typeface="+mn-lt"/>
                <a:ea typeface="+mj-lt"/>
                <a:cs typeface="+mj-lt"/>
              </a:rPr>
              <a:t>Herramienta de comunicación clave para ejecutivos / stakeholders y equipos de cambio</a:t>
            </a:r>
            <a:endParaRPr lang="en-GB" sz="3200" u="none" dirty="0">
              <a:latin typeface="+mn-lt"/>
              <a:ea typeface="ＭＳ Ｐゴシック"/>
              <a:cs typeface="Arial"/>
            </a:endParaRPr>
          </a:p>
          <a:p>
            <a:pPr marL="361950" indent="-361950">
              <a:lnSpc>
                <a:spcPct val="70000"/>
              </a:lnSpc>
              <a:spcBef>
                <a:spcPct val="35000"/>
              </a:spcBef>
              <a:buClr>
                <a:schemeClr val="accent1"/>
              </a:buClr>
            </a:pPr>
            <a:endParaRPr lang="en-GB" sz="3200" u="none" dirty="0">
              <a:ea typeface="ＭＳ Ｐゴシック" pitchFamily="34" charset="-128"/>
            </a:endParaRPr>
          </a:p>
        </p:txBody>
      </p:sp>
      <p:sp>
        <p:nvSpPr>
          <p:cNvPr id="27655" name="Rectangle 6"/>
          <p:cNvSpPr>
            <a:spLocks noChangeArrowheads="1"/>
          </p:cNvSpPr>
          <p:nvPr/>
        </p:nvSpPr>
        <p:spPr bwMode="auto">
          <a:xfrm>
            <a:off x="14072769" y="4960450"/>
            <a:ext cx="8731250" cy="6391276"/>
          </a:xfrm>
          <a:prstGeom prst="rect">
            <a:avLst/>
          </a:prstGeom>
          <a:noFill/>
          <a:ln w="9525">
            <a:solidFill>
              <a:schemeClr val="tx1"/>
            </a:solidFill>
            <a:miter lim="800000"/>
            <a:headEnd/>
            <a:tailEnd/>
          </a:ln>
        </p:spPr>
        <p:txBody>
          <a:bodyPr wrap="none" anchor="ctr"/>
          <a:lstStyle/>
          <a:p>
            <a:endParaRPr lang="en-US" sz="2000" u="none" dirty="0">
              <a:ea typeface="ＭＳ Ｐゴシック" pitchFamily="34" charset="-128"/>
            </a:endParaRPr>
          </a:p>
        </p:txBody>
      </p:sp>
      <p:sp>
        <p:nvSpPr>
          <p:cNvPr id="27656" name="Line 7"/>
          <p:cNvSpPr>
            <a:spLocks noChangeShapeType="1"/>
          </p:cNvSpPr>
          <p:nvPr/>
        </p:nvSpPr>
        <p:spPr bwMode="auto">
          <a:xfrm>
            <a:off x="18444742" y="4957277"/>
            <a:ext cx="0" cy="6378574"/>
          </a:xfrm>
          <a:prstGeom prst="line">
            <a:avLst/>
          </a:prstGeom>
          <a:noFill/>
          <a:ln w="57150">
            <a:solidFill>
              <a:srgbClr val="C0C0C0"/>
            </a:solidFill>
            <a:round/>
            <a:headEnd/>
            <a:tailEnd type="triangle" w="med" len="med"/>
          </a:ln>
        </p:spPr>
        <p:txBody>
          <a:bodyPr/>
          <a:lstStyle/>
          <a:p>
            <a:endParaRPr lang="en-US" dirty="0"/>
          </a:p>
        </p:txBody>
      </p:sp>
      <p:sp>
        <p:nvSpPr>
          <p:cNvPr id="27657" name="Oval 8"/>
          <p:cNvSpPr>
            <a:spLocks noChangeArrowheads="1"/>
          </p:cNvSpPr>
          <p:nvPr/>
        </p:nvSpPr>
        <p:spPr bwMode="auto">
          <a:xfrm>
            <a:off x="15555493" y="6052650"/>
            <a:ext cx="6026150" cy="4171950"/>
          </a:xfrm>
          <a:prstGeom prst="ellipse">
            <a:avLst/>
          </a:prstGeom>
          <a:noFill/>
          <a:ln w="101600">
            <a:solidFill>
              <a:srgbClr val="C0C0C0"/>
            </a:solidFill>
            <a:round/>
            <a:headEnd/>
            <a:tailEnd/>
          </a:ln>
        </p:spPr>
        <p:txBody>
          <a:bodyPr wrap="none" anchor="ctr"/>
          <a:lstStyle/>
          <a:p>
            <a:endParaRPr lang="en-US" sz="2400" u="none" dirty="0">
              <a:ea typeface="ＭＳ Ｐゴシック" pitchFamily="34" charset="-128"/>
            </a:endParaRPr>
          </a:p>
        </p:txBody>
      </p:sp>
      <p:sp>
        <p:nvSpPr>
          <p:cNvPr id="27658" name="Oval 9"/>
          <p:cNvSpPr>
            <a:spLocks noChangeArrowheads="1"/>
          </p:cNvSpPr>
          <p:nvPr/>
        </p:nvSpPr>
        <p:spPr bwMode="auto">
          <a:xfrm>
            <a:off x="17450968" y="5223975"/>
            <a:ext cx="2003424" cy="1435100"/>
          </a:xfrm>
          <a:prstGeom prst="ellipse">
            <a:avLst/>
          </a:prstGeom>
          <a:solidFill>
            <a:schemeClr val="accent1">
              <a:lumMod val="20000"/>
              <a:lumOff val="80000"/>
            </a:schemeClr>
          </a:solidFill>
          <a:ln w="6350">
            <a:solidFill>
              <a:schemeClr val="tx1"/>
            </a:solidFill>
            <a:round/>
            <a:headEnd/>
            <a:tailEnd/>
          </a:ln>
        </p:spPr>
        <p:txBody>
          <a:bodyPr wrap="none" anchor="ctr"/>
          <a:lstStyle/>
          <a:p>
            <a:pPr algn="ctr">
              <a:buFont typeface="Wingdings" pitchFamily="2" charset="2"/>
              <a:buNone/>
            </a:pPr>
            <a:r>
              <a:rPr lang="en-US" sz="2000" b="1" i="1" u="none" dirty="0">
                <a:ea typeface="ＭＳ Ｐゴシック" pitchFamily="34" charset="-128"/>
              </a:rPr>
              <a:t>Customer</a:t>
            </a:r>
            <a:br>
              <a:rPr lang="en-US" sz="2000" b="1" i="1" u="none" dirty="0">
                <a:ea typeface="ＭＳ Ｐゴシック" pitchFamily="34" charset="-128"/>
              </a:rPr>
            </a:br>
            <a:r>
              <a:rPr lang="en-US" sz="2000" b="1" i="1" u="none" dirty="0">
                <a:ea typeface="ＭＳ Ｐゴシック" pitchFamily="34" charset="-128"/>
              </a:rPr>
              <a:t>Experience</a:t>
            </a:r>
          </a:p>
        </p:txBody>
      </p:sp>
      <p:sp>
        <p:nvSpPr>
          <p:cNvPr id="27659" name="Oval 10"/>
          <p:cNvSpPr>
            <a:spLocks noChangeArrowheads="1"/>
          </p:cNvSpPr>
          <p:nvPr/>
        </p:nvSpPr>
        <p:spPr bwMode="auto">
          <a:xfrm>
            <a:off x="17273169" y="9462600"/>
            <a:ext cx="2251074" cy="1441450"/>
          </a:xfrm>
          <a:prstGeom prst="ellipse">
            <a:avLst/>
          </a:prstGeom>
          <a:solidFill>
            <a:schemeClr val="accent1">
              <a:lumMod val="20000"/>
              <a:lumOff val="80000"/>
            </a:schemeClr>
          </a:solidFill>
          <a:ln w="6350">
            <a:solidFill>
              <a:schemeClr val="tx1"/>
            </a:solidFill>
            <a:round/>
            <a:headEnd/>
            <a:tailEnd/>
          </a:ln>
        </p:spPr>
        <p:txBody>
          <a:bodyPr lIns="0" rIns="0" anchor="ctr"/>
          <a:lstStyle/>
          <a:p>
            <a:pPr algn="ctr" eaLnBrk="0" hangingPunct="0"/>
            <a:r>
              <a:rPr lang="en-US" sz="2000" b="1" i="1" u="none" dirty="0">
                <a:ea typeface="ＭＳ Ｐゴシック" pitchFamily="34" charset="-128"/>
              </a:rPr>
              <a:t>Performance</a:t>
            </a:r>
          </a:p>
          <a:p>
            <a:pPr algn="ctr" eaLnBrk="0" hangingPunct="0"/>
            <a:r>
              <a:rPr lang="en-US" sz="2000" b="1" i="1" u="none" dirty="0">
                <a:ea typeface="ＭＳ Ｐゴシック" pitchFamily="34" charset="-128"/>
              </a:rPr>
              <a:t>Metrics</a:t>
            </a:r>
          </a:p>
        </p:txBody>
      </p:sp>
      <p:sp>
        <p:nvSpPr>
          <p:cNvPr id="27660" name="Rectangle 12"/>
          <p:cNvSpPr>
            <a:spLocks noChangeArrowheads="1"/>
          </p:cNvSpPr>
          <p:nvPr/>
        </p:nvSpPr>
        <p:spPr bwMode="auto">
          <a:xfrm>
            <a:off x="14072769" y="11351726"/>
            <a:ext cx="8728074" cy="66675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ctr" eaLnBrk="0"/>
            <a:r>
              <a:rPr lang="en-US" sz="2800" b="1" dirty="0">
                <a:solidFill>
                  <a:schemeClr val="bg1"/>
                </a:solidFill>
                <a:latin typeface="Arial" panose="020B0604020202020204"/>
                <a:ea typeface="MS PGothic"/>
              </a:rPr>
              <a:t>Roadmap hacia el cambio</a:t>
            </a:r>
            <a:endParaRPr lang="en-GB" sz="2800" b="1" dirty="0">
              <a:solidFill>
                <a:schemeClr val="bg1"/>
              </a:solidFill>
              <a:latin typeface="Arial" panose="020B0604020202020204"/>
              <a:ea typeface="MS PGothic"/>
            </a:endParaRPr>
          </a:p>
        </p:txBody>
      </p:sp>
      <p:sp>
        <p:nvSpPr>
          <p:cNvPr id="27661" name="Rectangle 13"/>
          <p:cNvSpPr>
            <a:spLocks noChangeArrowheads="1"/>
          </p:cNvSpPr>
          <p:nvPr/>
        </p:nvSpPr>
        <p:spPr bwMode="auto">
          <a:xfrm>
            <a:off x="14072769" y="4296877"/>
            <a:ext cx="8728074" cy="66675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ctr" eaLnBrk="0"/>
            <a:r>
              <a:rPr lang="en-US" sz="2800" b="1" kern="1200" dirty="0">
                <a:solidFill>
                  <a:srgbClr val="FFFFFF"/>
                </a:solidFill>
                <a:latin typeface="+mn-lt"/>
                <a:ea typeface="Verdana" panose="020B0604030504040204" pitchFamily="34" charset="0"/>
              </a:rPr>
              <a:t>Objetivos de negocio &amp; Estrategia</a:t>
            </a:r>
            <a:endParaRPr lang="en-GB" sz="2800" b="1" kern="1200" dirty="0">
              <a:solidFill>
                <a:srgbClr val="FFFFFF"/>
              </a:solidFill>
              <a:latin typeface="+mn-lt"/>
              <a:ea typeface="Verdana" panose="020B0604030504040204" pitchFamily="34" charset="0"/>
            </a:endParaRPr>
          </a:p>
        </p:txBody>
      </p:sp>
      <p:sp>
        <p:nvSpPr>
          <p:cNvPr id="27662" name="Line 14"/>
          <p:cNvSpPr>
            <a:spLocks noChangeShapeType="1"/>
          </p:cNvSpPr>
          <p:nvPr/>
        </p:nvSpPr>
        <p:spPr bwMode="auto">
          <a:xfrm>
            <a:off x="16174619" y="8138625"/>
            <a:ext cx="4591050" cy="0"/>
          </a:xfrm>
          <a:prstGeom prst="line">
            <a:avLst/>
          </a:prstGeom>
          <a:noFill/>
          <a:ln w="19050">
            <a:solidFill>
              <a:srgbClr val="C0C0C0"/>
            </a:solidFill>
            <a:round/>
            <a:headEnd/>
            <a:tailEnd/>
          </a:ln>
        </p:spPr>
        <p:txBody>
          <a:bodyPr/>
          <a:lstStyle/>
          <a:p>
            <a:endParaRPr lang="en-US" dirty="0"/>
          </a:p>
        </p:txBody>
      </p:sp>
      <p:sp>
        <p:nvSpPr>
          <p:cNvPr id="27663" name="Line 15"/>
          <p:cNvSpPr>
            <a:spLocks noChangeShapeType="1"/>
          </p:cNvSpPr>
          <p:nvPr/>
        </p:nvSpPr>
        <p:spPr bwMode="auto">
          <a:xfrm flipV="1">
            <a:off x="16806443" y="7221051"/>
            <a:ext cx="3222626" cy="1749426"/>
          </a:xfrm>
          <a:prstGeom prst="line">
            <a:avLst/>
          </a:prstGeom>
          <a:noFill/>
          <a:ln w="19050">
            <a:solidFill>
              <a:srgbClr val="C0C0C0"/>
            </a:solidFill>
            <a:round/>
            <a:headEnd/>
            <a:tailEnd/>
          </a:ln>
        </p:spPr>
        <p:txBody>
          <a:bodyPr/>
          <a:lstStyle/>
          <a:p>
            <a:endParaRPr lang="en-US" dirty="0"/>
          </a:p>
        </p:txBody>
      </p:sp>
      <p:sp>
        <p:nvSpPr>
          <p:cNvPr id="27664" name="Line 16"/>
          <p:cNvSpPr>
            <a:spLocks noChangeShapeType="1"/>
          </p:cNvSpPr>
          <p:nvPr/>
        </p:nvSpPr>
        <p:spPr bwMode="auto">
          <a:xfrm flipH="1" flipV="1">
            <a:off x="16720719" y="7189300"/>
            <a:ext cx="3486150" cy="1898650"/>
          </a:xfrm>
          <a:prstGeom prst="line">
            <a:avLst/>
          </a:prstGeom>
          <a:noFill/>
          <a:ln w="19050">
            <a:solidFill>
              <a:srgbClr val="C0C0C0"/>
            </a:solidFill>
            <a:round/>
            <a:headEnd/>
            <a:tailEnd/>
          </a:ln>
        </p:spPr>
        <p:txBody>
          <a:bodyPr/>
          <a:lstStyle/>
          <a:p>
            <a:endParaRPr lang="en-US" dirty="0"/>
          </a:p>
        </p:txBody>
      </p:sp>
      <p:sp>
        <p:nvSpPr>
          <p:cNvPr id="27665" name="Oval 20"/>
          <p:cNvSpPr>
            <a:spLocks noChangeArrowheads="1"/>
          </p:cNvSpPr>
          <p:nvPr/>
        </p:nvSpPr>
        <p:spPr bwMode="auto">
          <a:xfrm>
            <a:off x="15333243" y="8821249"/>
            <a:ext cx="2003426" cy="1438276"/>
          </a:xfrm>
          <a:prstGeom prst="ellipse">
            <a:avLst/>
          </a:prstGeom>
          <a:solidFill>
            <a:schemeClr val="accent1">
              <a:lumMod val="20000"/>
              <a:lumOff val="80000"/>
            </a:schemeClr>
          </a:solidFill>
          <a:ln w="6350">
            <a:solidFill>
              <a:schemeClr val="tx1"/>
            </a:solidFill>
            <a:round/>
            <a:headEnd/>
            <a:tailEnd/>
          </a:ln>
        </p:spPr>
        <p:txBody>
          <a:bodyPr wrap="none" anchor="ctr"/>
          <a:lstStyle/>
          <a:p>
            <a:pPr algn="ctr" eaLnBrk="0" hangingPunct="0"/>
            <a:r>
              <a:rPr lang="en-US" sz="2000" b="1" i="1" u="none" dirty="0">
                <a:ea typeface="ＭＳ Ｐゴシック" pitchFamily="34" charset="-128"/>
              </a:rPr>
              <a:t>Skills </a:t>
            </a:r>
            <a:br>
              <a:rPr lang="en-US" sz="2000" b="1" i="1" u="none" dirty="0">
                <a:ea typeface="ＭＳ Ｐゴシック" pitchFamily="34" charset="-128"/>
              </a:rPr>
            </a:br>
            <a:r>
              <a:rPr lang="en-US" sz="2000" b="1" i="1" u="none" dirty="0">
                <a:ea typeface="ＭＳ Ｐゴシック" pitchFamily="34" charset="-128"/>
              </a:rPr>
              <a:t>&amp; Capabilities </a:t>
            </a:r>
          </a:p>
        </p:txBody>
      </p:sp>
      <p:sp>
        <p:nvSpPr>
          <p:cNvPr id="27666" name="Oval 21"/>
          <p:cNvSpPr>
            <a:spLocks noChangeArrowheads="1"/>
          </p:cNvSpPr>
          <p:nvPr/>
        </p:nvSpPr>
        <p:spPr bwMode="auto">
          <a:xfrm>
            <a:off x="19536943" y="5919299"/>
            <a:ext cx="2003426" cy="1438276"/>
          </a:xfrm>
          <a:prstGeom prst="ellipse">
            <a:avLst/>
          </a:prstGeom>
          <a:solidFill>
            <a:schemeClr val="accent1">
              <a:lumMod val="20000"/>
              <a:lumOff val="80000"/>
            </a:schemeClr>
          </a:solidFill>
          <a:ln w="6350">
            <a:solidFill>
              <a:schemeClr val="tx1"/>
            </a:solidFill>
            <a:round/>
            <a:headEnd/>
            <a:tailEnd/>
          </a:ln>
        </p:spPr>
        <p:txBody>
          <a:bodyPr wrap="none" anchor="ctr"/>
          <a:lstStyle/>
          <a:p>
            <a:pPr algn="ctr" eaLnBrk="0" hangingPunct="0"/>
            <a:r>
              <a:rPr lang="en-US" sz="2000" b="1" i="1" u="none" dirty="0">
                <a:ea typeface="ＭＳ Ｐゴシック" pitchFamily="34" charset="-128"/>
              </a:rPr>
              <a:t>Sourcing</a:t>
            </a:r>
            <a:br>
              <a:rPr lang="en-US" sz="2000" b="1" i="1" u="none" dirty="0">
                <a:ea typeface="ＭＳ Ｐゴシック" pitchFamily="34" charset="-128"/>
              </a:rPr>
            </a:br>
            <a:r>
              <a:rPr lang="en-US" sz="2000" b="1" i="1" u="none" dirty="0">
                <a:ea typeface="ＭＳ Ｐゴシック" pitchFamily="34" charset="-128"/>
              </a:rPr>
              <a:t>&amp; Alliances</a:t>
            </a:r>
          </a:p>
        </p:txBody>
      </p:sp>
      <p:sp>
        <p:nvSpPr>
          <p:cNvPr id="27667" name="Oval 22"/>
          <p:cNvSpPr>
            <a:spLocks noChangeArrowheads="1"/>
          </p:cNvSpPr>
          <p:nvPr/>
        </p:nvSpPr>
        <p:spPr bwMode="auto">
          <a:xfrm>
            <a:off x="15320543" y="5919299"/>
            <a:ext cx="2003426" cy="1438276"/>
          </a:xfrm>
          <a:prstGeom prst="ellipse">
            <a:avLst/>
          </a:prstGeom>
          <a:solidFill>
            <a:schemeClr val="accent1">
              <a:lumMod val="20000"/>
              <a:lumOff val="80000"/>
            </a:schemeClr>
          </a:solidFill>
          <a:ln w="6350">
            <a:solidFill>
              <a:schemeClr val="tx1"/>
            </a:solidFill>
            <a:round/>
            <a:headEnd/>
            <a:tailEnd/>
          </a:ln>
        </p:spPr>
        <p:txBody>
          <a:bodyPr lIns="0" rIns="0" anchor="ctr"/>
          <a:lstStyle/>
          <a:p>
            <a:pPr algn="ctr" eaLnBrk="0" hangingPunct="0"/>
            <a:r>
              <a:rPr lang="en-US" sz="2000" b="1" i="1" u="none" dirty="0">
                <a:ea typeface="ＭＳ Ｐゴシック" pitchFamily="34" charset="-128"/>
              </a:rPr>
              <a:t>Assets &amp; Locations</a:t>
            </a:r>
          </a:p>
        </p:txBody>
      </p:sp>
      <p:sp>
        <p:nvSpPr>
          <p:cNvPr id="27668" name="Oval 23"/>
          <p:cNvSpPr>
            <a:spLocks noChangeArrowheads="1"/>
          </p:cNvSpPr>
          <p:nvPr/>
        </p:nvSpPr>
        <p:spPr bwMode="auto">
          <a:xfrm>
            <a:off x="19552819" y="8830777"/>
            <a:ext cx="1997074" cy="1441450"/>
          </a:xfrm>
          <a:prstGeom prst="ellipse">
            <a:avLst/>
          </a:prstGeom>
          <a:solidFill>
            <a:schemeClr val="accent1">
              <a:lumMod val="20000"/>
              <a:lumOff val="80000"/>
            </a:schemeClr>
          </a:solidFill>
          <a:ln w="6350">
            <a:solidFill>
              <a:schemeClr val="tx1"/>
            </a:solidFill>
            <a:round/>
            <a:headEnd/>
            <a:tailEnd/>
          </a:ln>
        </p:spPr>
        <p:txBody>
          <a:bodyPr wrap="none" anchor="ctr"/>
          <a:lstStyle/>
          <a:p>
            <a:pPr algn="ctr" eaLnBrk="0" hangingPunct="0">
              <a:lnSpc>
                <a:spcPct val="90000"/>
              </a:lnSpc>
            </a:pPr>
            <a:r>
              <a:rPr lang="en-US" sz="2000" b="1" i="1" u="none" dirty="0">
                <a:ea typeface="ＭＳ Ｐゴシック" pitchFamily="34" charset="-128"/>
              </a:rPr>
              <a:t>Organization</a:t>
            </a:r>
          </a:p>
          <a:p>
            <a:pPr algn="ctr" eaLnBrk="0" hangingPunct="0">
              <a:lnSpc>
                <a:spcPct val="90000"/>
              </a:lnSpc>
            </a:pPr>
            <a:r>
              <a:rPr lang="en-US" sz="2000" b="1" i="1" u="none" dirty="0">
                <a:ea typeface="ＭＳ Ｐゴシック" pitchFamily="34" charset="-128"/>
              </a:rPr>
              <a:t>&amp;</a:t>
            </a:r>
          </a:p>
          <a:p>
            <a:pPr algn="ctr" eaLnBrk="0" hangingPunct="0">
              <a:lnSpc>
                <a:spcPct val="90000"/>
              </a:lnSpc>
            </a:pPr>
            <a:r>
              <a:rPr lang="en-US" sz="2000" b="1" i="1" u="none" dirty="0">
                <a:ea typeface="ＭＳ Ｐゴシック" pitchFamily="34" charset="-128"/>
              </a:rPr>
              <a:t>Governance</a:t>
            </a:r>
          </a:p>
        </p:txBody>
      </p:sp>
      <p:sp>
        <p:nvSpPr>
          <p:cNvPr id="27669" name="Oval 24"/>
          <p:cNvSpPr>
            <a:spLocks noChangeArrowheads="1"/>
          </p:cNvSpPr>
          <p:nvPr/>
        </p:nvSpPr>
        <p:spPr bwMode="auto">
          <a:xfrm>
            <a:off x="20692642" y="7367099"/>
            <a:ext cx="2006600" cy="1438276"/>
          </a:xfrm>
          <a:prstGeom prst="ellipse">
            <a:avLst/>
          </a:prstGeom>
          <a:solidFill>
            <a:schemeClr val="accent1">
              <a:lumMod val="20000"/>
              <a:lumOff val="80000"/>
            </a:schemeClr>
          </a:solidFill>
          <a:ln w="6350">
            <a:solidFill>
              <a:schemeClr val="tx1"/>
            </a:solidFill>
            <a:round/>
            <a:headEnd/>
            <a:tailEnd/>
          </a:ln>
        </p:spPr>
        <p:txBody>
          <a:bodyPr wrap="none" anchor="ctr"/>
          <a:lstStyle/>
          <a:p>
            <a:pPr algn="ctr" eaLnBrk="0" hangingPunct="0"/>
            <a:r>
              <a:rPr lang="en-US" sz="2000" b="1" i="1" u="none" dirty="0">
                <a:ea typeface="ＭＳ Ｐゴシック" pitchFamily="34" charset="-128"/>
              </a:rPr>
              <a:t>Processes</a:t>
            </a:r>
          </a:p>
        </p:txBody>
      </p:sp>
      <p:sp>
        <p:nvSpPr>
          <p:cNvPr id="27670" name="Oval 24"/>
          <p:cNvSpPr>
            <a:spLocks noChangeArrowheads="1"/>
          </p:cNvSpPr>
          <p:nvPr/>
        </p:nvSpPr>
        <p:spPr bwMode="auto">
          <a:xfrm>
            <a:off x="17438268" y="7379800"/>
            <a:ext cx="2006600" cy="1438276"/>
          </a:xfrm>
          <a:prstGeom prst="ellipse">
            <a:avLst/>
          </a:prstGeom>
          <a:solidFill>
            <a:schemeClr val="accent1">
              <a:lumMod val="20000"/>
              <a:lumOff val="80000"/>
            </a:schemeClr>
          </a:solidFill>
          <a:ln w="6350">
            <a:solidFill>
              <a:schemeClr val="tx1"/>
            </a:solidFill>
            <a:round/>
            <a:headEnd/>
            <a:tailEnd/>
          </a:ln>
        </p:spPr>
        <p:txBody>
          <a:bodyPr wrap="none" anchor="ctr"/>
          <a:lstStyle/>
          <a:p>
            <a:pPr algn="ctr" eaLnBrk="0" hangingPunct="0"/>
            <a:r>
              <a:rPr lang="en-US" sz="2000" b="1" i="1" u="none" dirty="0">
                <a:ea typeface="ＭＳ Ｐゴシック" pitchFamily="34" charset="-128"/>
              </a:rPr>
              <a:t>Culture</a:t>
            </a:r>
          </a:p>
        </p:txBody>
      </p:sp>
      <p:sp>
        <p:nvSpPr>
          <p:cNvPr id="27671" name="Oval 11"/>
          <p:cNvSpPr>
            <a:spLocks noChangeArrowheads="1"/>
          </p:cNvSpPr>
          <p:nvPr/>
        </p:nvSpPr>
        <p:spPr bwMode="auto">
          <a:xfrm>
            <a:off x="14177543" y="7367099"/>
            <a:ext cx="2117726" cy="1438276"/>
          </a:xfrm>
          <a:prstGeom prst="ellipse">
            <a:avLst/>
          </a:prstGeom>
          <a:solidFill>
            <a:schemeClr val="accent1">
              <a:lumMod val="20000"/>
              <a:lumOff val="80000"/>
            </a:schemeClr>
          </a:solidFill>
          <a:ln w="6350">
            <a:solidFill>
              <a:schemeClr val="tx1"/>
            </a:solidFill>
            <a:round/>
            <a:headEnd/>
            <a:tailEnd/>
          </a:ln>
        </p:spPr>
        <p:txBody>
          <a:bodyPr lIns="0" rIns="0" anchor="ctr"/>
          <a:lstStyle/>
          <a:p>
            <a:pPr algn="ctr" eaLnBrk="0" hangingPunct="0"/>
            <a:r>
              <a:rPr lang="en-US" sz="2000" b="1" i="1" u="none" dirty="0">
                <a:ea typeface="ＭＳ Ｐゴシック" pitchFamily="34" charset="-128"/>
              </a:rPr>
              <a:t>Technology</a:t>
            </a:r>
          </a:p>
        </p:txBody>
      </p:sp>
      <p:sp>
        <p:nvSpPr>
          <p:cNvPr id="2" name="TextBox 1">
            <a:extLst>
              <a:ext uri="{FF2B5EF4-FFF2-40B4-BE49-F238E27FC236}">
                <a16:creationId xmlns:a16="http://schemas.microsoft.com/office/drawing/2014/main" id="{6BC7F5CB-B6BC-4D05-A604-F3D88B70792E}"/>
              </a:ext>
            </a:extLst>
          </p:cNvPr>
          <p:cNvSpPr txBox="1"/>
          <p:nvPr/>
        </p:nvSpPr>
        <p:spPr>
          <a:xfrm>
            <a:off x="650240" y="541319"/>
            <a:ext cx="22611504" cy="1138773"/>
          </a:xfrm>
          <a:prstGeom prst="rect">
            <a:avLst/>
          </a:prstGeom>
          <a:noFill/>
        </p:spPr>
        <p:txBody>
          <a:bodyPr wrap="square" rtlCol="0" anchor="t">
            <a:spAutoFit/>
          </a:bodyPr>
          <a:lstStyle/>
          <a:p>
            <a:pPr algn="l"/>
            <a:r>
              <a:rPr lang="en-US" sz="4000" b="1" kern="1200" dirty="0">
                <a:solidFill>
                  <a:srgbClr val="C00000"/>
                </a:solidFill>
              </a:rPr>
              <a:t>Overview CTOM</a:t>
            </a:r>
          </a:p>
          <a:p>
            <a:pPr algn="l"/>
            <a:r>
              <a:rPr lang="en-GB" altLang="en-US" sz="2800" kern="1200" dirty="0">
                <a:solidFill>
                  <a:schemeClr val="tx1"/>
                </a:solidFill>
              </a:rPr>
              <a:t>Definición de TOM</a:t>
            </a:r>
          </a:p>
        </p:txBody>
      </p:sp>
      <p:sp>
        <p:nvSpPr>
          <p:cNvPr id="5" name="TextBox 4">
            <a:extLst>
              <a:ext uri="{FF2B5EF4-FFF2-40B4-BE49-F238E27FC236}">
                <a16:creationId xmlns:a16="http://schemas.microsoft.com/office/drawing/2014/main" id="{2C359F2F-0533-4952-B0BB-8F979A98D37B}"/>
              </a:ext>
            </a:extLst>
          </p:cNvPr>
          <p:cNvSpPr txBox="1"/>
          <p:nvPr/>
        </p:nvSpPr>
        <p:spPr>
          <a:xfrm>
            <a:off x="701193" y="2068873"/>
            <a:ext cx="21394880"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GB" dirty="0">
                <a:latin typeface="+mn-lt"/>
              </a:rPr>
              <a:t>Un </a:t>
            </a:r>
            <a:r>
              <a:rPr lang="en-GB" b="1" dirty="0">
                <a:solidFill>
                  <a:srgbClr val="C00000"/>
                </a:solidFill>
                <a:latin typeface="+mn-lt"/>
              </a:rPr>
              <a:t>Target Operating Model (TOM)</a:t>
            </a:r>
            <a:r>
              <a:rPr lang="en-GB" dirty="0">
                <a:latin typeface="+mn-lt"/>
              </a:rPr>
              <a:t> es un framework de trabajo sobre el que se apoya la toma de decisiones de la organización para lograr los principales objetivos definidos en la estrategia de negocio.</a:t>
            </a:r>
            <a:endParaRPr lang="en-GB" dirty="0">
              <a:latin typeface="+mn-lt"/>
              <a:cs typeface="Arial"/>
            </a:endParaRPr>
          </a:p>
        </p:txBody>
      </p:sp>
    </p:spTree>
    <p:extLst>
      <p:ext uri="{BB962C8B-B14F-4D97-AF65-F5344CB8AC3E}">
        <p14:creationId xmlns:p14="http://schemas.microsoft.com/office/powerpoint/2010/main" val="341678909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sp>
        <p:nvSpPr>
          <p:cNvPr id="22" name="TextBox 21">
            <a:extLst>
              <a:ext uri="{FF2B5EF4-FFF2-40B4-BE49-F238E27FC236}">
                <a16:creationId xmlns:a16="http://schemas.microsoft.com/office/drawing/2014/main" id="{DBD2FC54-ADED-1945-9CAB-5D71A60CC211}"/>
              </a:ext>
            </a:extLst>
          </p:cNvPr>
          <p:cNvSpPr txBox="1"/>
          <p:nvPr/>
        </p:nvSpPr>
        <p:spPr>
          <a:xfrm>
            <a:off x="3225705" y="3138192"/>
            <a:ext cx="5465207" cy="1446550"/>
          </a:xfrm>
          <a:prstGeom prst="rect">
            <a:avLst/>
          </a:prstGeom>
          <a:noFill/>
        </p:spPr>
        <p:txBody>
          <a:bodyPr wrap="square" rtlCol="0" anchor="t">
            <a:spAutoFit/>
          </a:bodyPr>
          <a:lstStyle/>
          <a:p>
            <a:r>
              <a:rPr lang="es-ES_tradnl" sz="4400" b="1" kern="1200" dirty="0">
                <a:solidFill>
                  <a:srgbClr val="C00000"/>
                </a:solidFill>
              </a:rPr>
              <a:t>Tabla de contenidos</a:t>
            </a:r>
            <a:endParaRPr lang="es-ES_tradnl" sz="4000" dirty="0"/>
          </a:p>
        </p:txBody>
      </p:sp>
      <p:sp>
        <p:nvSpPr>
          <p:cNvPr id="49" name="Rectangle 48">
            <a:extLst>
              <a:ext uri="{FF2B5EF4-FFF2-40B4-BE49-F238E27FC236}">
                <a16:creationId xmlns:a16="http://schemas.microsoft.com/office/drawing/2014/main" id="{154B5044-884B-435A-933E-9F29936617F0}"/>
              </a:ext>
            </a:extLst>
          </p:cNvPr>
          <p:cNvSpPr/>
          <p:nvPr/>
        </p:nvSpPr>
        <p:spPr>
          <a:xfrm>
            <a:off x="15171199" y="2621758"/>
            <a:ext cx="5489480" cy="2571750"/>
          </a:xfrm>
          <a:prstGeom prst="rect">
            <a:avLst/>
          </a:prstGeom>
          <a:solidFill>
            <a:schemeClr val="bg2">
              <a:lumMod val="75000"/>
            </a:scheme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r>
              <a:rPr lang="en-IN" sz="2800" b="1" dirty="0">
                <a:solidFill>
                  <a:schemeClr val="bg1"/>
                </a:solidFill>
                <a:latin typeface="Arial" panose="020B0604020202020204"/>
                <a:ea typeface="MS PGothic" charset="-128"/>
              </a:rPr>
              <a:t>2</a:t>
            </a: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r>
              <a:rPr lang="en-US" sz="2800" dirty="0">
                <a:solidFill>
                  <a:schemeClr val="bg1"/>
                </a:solidFill>
                <a:latin typeface="Arial" panose="020B0604020202020204"/>
                <a:ea typeface="MS PGothic" charset="-128"/>
              </a:rPr>
              <a:t>Organización y Areas</a:t>
            </a:r>
          </a:p>
        </p:txBody>
      </p:sp>
      <p:sp>
        <p:nvSpPr>
          <p:cNvPr id="52" name="Rectangle 51">
            <a:extLst>
              <a:ext uri="{FF2B5EF4-FFF2-40B4-BE49-F238E27FC236}">
                <a16:creationId xmlns:a16="http://schemas.microsoft.com/office/drawing/2014/main" id="{7005AE54-F116-4292-812F-6FBFC95D871A}"/>
              </a:ext>
            </a:extLst>
          </p:cNvPr>
          <p:cNvSpPr/>
          <p:nvPr/>
        </p:nvSpPr>
        <p:spPr>
          <a:xfrm>
            <a:off x="9198452" y="5414472"/>
            <a:ext cx="5489480" cy="257175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r>
              <a:rPr lang="en-IN" sz="2800" b="1" dirty="0">
                <a:solidFill>
                  <a:schemeClr val="bg1"/>
                </a:solidFill>
                <a:latin typeface="Arial" panose="020B0604020202020204"/>
                <a:ea typeface="MS PGothic" charset="-128"/>
              </a:rPr>
              <a:t>4</a:t>
            </a:r>
          </a:p>
          <a:p>
            <a:pPr algn="r" defTabSz="1097280" fontAlgn="base">
              <a:spcBef>
                <a:spcPct val="0"/>
              </a:spcBef>
              <a:spcAft>
                <a:spcPct val="0"/>
              </a:spcAft>
            </a:pPr>
            <a:endParaRPr lang="en-US" sz="2800" b="1" dirty="0">
              <a:solidFill>
                <a:schemeClr val="bg1"/>
              </a:solidFill>
              <a:latin typeface="Arial" panose="020B0604020202020204"/>
              <a:ea typeface="MS PGothic" charset="-128"/>
            </a:endParaRPr>
          </a:p>
          <a:p>
            <a:pPr algn="r" defTabSz="1097280" fontAlgn="base">
              <a:spcBef>
                <a:spcPct val="0"/>
              </a:spcBef>
              <a:spcAft>
                <a:spcPct val="0"/>
              </a:spcAft>
            </a:pPr>
            <a:endParaRPr lang="en-US" sz="2800" b="1" dirty="0">
              <a:solidFill>
                <a:schemeClr val="bg1"/>
              </a:solidFill>
              <a:latin typeface="Arial" panose="020B0604020202020204"/>
              <a:ea typeface="MS PGothic" charset="-128"/>
            </a:endParaRPr>
          </a:p>
          <a:p>
            <a:pPr algn="r" defTabSz="1097280" fontAlgn="base">
              <a:spcBef>
                <a:spcPct val="0"/>
              </a:spcBef>
              <a:spcAft>
                <a:spcPct val="0"/>
              </a:spcAft>
            </a:pPr>
            <a:endParaRPr lang="en-US" sz="2800" b="1" dirty="0">
              <a:solidFill>
                <a:schemeClr val="bg1"/>
              </a:solidFill>
              <a:latin typeface="Arial" panose="020B0604020202020204"/>
              <a:ea typeface="MS PGothic" charset="-128"/>
            </a:endParaRPr>
          </a:p>
          <a:p>
            <a:pPr defTabSz="1097280" fontAlgn="base">
              <a:spcBef>
                <a:spcPct val="0"/>
              </a:spcBef>
              <a:spcAft>
                <a:spcPct val="0"/>
              </a:spcAft>
            </a:pPr>
            <a:r>
              <a:rPr lang="en-US" sz="2800" b="1" dirty="0">
                <a:solidFill>
                  <a:schemeClr val="bg1"/>
                </a:solidFill>
                <a:latin typeface="Arial" panose="020B0604020202020204"/>
                <a:ea typeface="MS PGothic" charset="-128"/>
              </a:rPr>
              <a:t>KPIs y Niveles de Servicio</a:t>
            </a:r>
          </a:p>
        </p:txBody>
      </p:sp>
      <p:pic>
        <p:nvPicPr>
          <p:cNvPr id="62" name="Graphic 61" descr="Gauge">
            <a:extLst>
              <a:ext uri="{FF2B5EF4-FFF2-40B4-BE49-F238E27FC236}">
                <a16:creationId xmlns:a16="http://schemas.microsoft.com/office/drawing/2014/main" id="{0895E6BF-6F42-49BE-A95E-892D97E89EC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036454" y="5552155"/>
            <a:ext cx="1463040" cy="1463040"/>
          </a:xfrm>
          <a:prstGeom prst="rect">
            <a:avLst/>
          </a:prstGeom>
        </p:spPr>
      </p:pic>
      <p:pic>
        <p:nvPicPr>
          <p:cNvPr id="64" name="Graphic 63" descr="Hierarchy">
            <a:extLst>
              <a:ext uri="{FF2B5EF4-FFF2-40B4-BE49-F238E27FC236}">
                <a16:creationId xmlns:a16="http://schemas.microsoft.com/office/drawing/2014/main" id="{F29C9CF4-AAB9-4BA5-BC19-AE25D962E06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7184419" y="2829150"/>
            <a:ext cx="1463040" cy="1463040"/>
          </a:xfrm>
          <a:prstGeom prst="rect">
            <a:avLst/>
          </a:prstGeom>
        </p:spPr>
      </p:pic>
      <p:pic>
        <p:nvPicPr>
          <p:cNvPr id="3" name="Gráfico 2" descr="Clip">
            <a:extLst>
              <a:ext uri="{FF2B5EF4-FFF2-40B4-BE49-F238E27FC236}">
                <a16:creationId xmlns:a16="http://schemas.microsoft.com/office/drawing/2014/main" id="{803EE050-D601-4C76-B9B1-AE86744FB1B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7321579" y="5816152"/>
            <a:ext cx="1188720" cy="1188720"/>
          </a:xfrm>
          <a:prstGeom prst="rect">
            <a:avLst/>
          </a:prstGeom>
        </p:spPr>
      </p:pic>
      <p:sp>
        <p:nvSpPr>
          <p:cNvPr id="20" name="Rectangle 45">
            <a:extLst>
              <a:ext uri="{FF2B5EF4-FFF2-40B4-BE49-F238E27FC236}">
                <a16:creationId xmlns:a16="http://schemas.microsoft.com/office/drawing/2014/main" id="{EDF80CD5-0D9D-4FFD-9B75-3A93A5569BA1}"/>
              </a:ext>
            </a:extLst>
          </p:cNvPr>
          <p:cNvSpPr/>
          <p:nvPr/>
        </p:nvSpPr>
        <p:spPr>
          <a:xfrm>
            <a:off x="9198452" y="2621758"/>
            <a:ext cx="5489480" cy="2571750"/>
          </a:xfrm>
          <a:prstGeom prst="rect">
            <a:avLst/>
          </a:prstGeom>
          <a:solidFill>
            <a:schemeClr val="bg2">
              <a:lumMod val="75000"/>
            </a:scheme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endParaRPr lang="en-IN" sz="1600" b="1" dirty="0">
              <a:solidFill>
                <a:schemeClr val="bg1"/>
              </a:solidFill>
              <a:latin typeface="Arial" panose="020B0604020202020204"/>
              <a:ea typeface="MS PGothic" charset="-128"/>
            </a:endParaRPr>
          </a:p>
          <a:p>
            <a:pPr algn="r" defTabSz="1097280" fontAlgn="base">
              <a:spcBef>
                <a:spcPct val="0"/>
              </a:spcBef>
              <a:spcAft>
                <a:spcPct val="0"/>
              </a:spcAft>
            </a:pPr>
            <a:r>
              <a:rPr lang="en-IN" sz="2800" b="1" dirty="0">
                <a:solidFill>
                  <a:schemeClr val="bg1"/>
                </a:solidFill>
                <a:latin typeface="Arial" panose="020B0604020202020204"/>
                <a:ea typeface="MS PGothic" charset="-128"/>
              </a:rPr>
              <a:t>1</a:t>
            </a: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r>
              <a:rPr lang="en-US" sz="2800" dirty="0">
                <a:solidFill>
                  <a:schemeClr val="bg1"/>
                </a:solidFill>
                <a:latin typeface="Arial" panose="020B0604020202020204"/>
                <a:ea typeface="MS PGothic" charset="-128"/>
              </a:rPr>
              <a:t>Overview CTOM</a:t>
            </a:r>
          </a:p>
          <a:p>
            <a:pPr algn="r" defTabSz="1097280" fontAlgn="base">
              <a:spcBef>
                <a:spcPct val="0"/>
              </a:spcBef>
              <a:spcAft>
                <a:spcPct val="0"/>
              </a:spcAft>
            </a:pPr>
            <a:endParaRPr lang="en-IN" sz="1600" b="1" dirty="0">
              <a:solidFill>
                <a:schemeClr val="bg1"/>
              </a:solidFill>
              <a:latin typeface="Arial" panose="020B0604020202020204"/>
              <a:ea typeface="MS PGothic" charset="-128"/>
            </a:endParaRPr>
          </a:p>
        </p:txBody>
      </p:sp>
      <p:pic>
        <p:nvPicPr>
          <p:cNvPr id="28" name="Graphic 69" descr="Teacher">
            <a:extLst>
              <a:ext uri="{FF2B5EF4-FFF2-40B4-BE49-F238E27FC236}">
                <a16:creationId xmlns:a16="http://schemas.microsoft.com/office/drawing/2014/main" id="{F4BC2766-9EEA-4B4C-91B2-39F811C8EEB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965108" y="2842722"/>
            <a:ext cx="1463040" cy="1463040"/>
          </a:xfrm>
          <a:prstGeom prst="rect">
            <a:avLst/>
          </a:prstGeom>
        </p:spPr>
      </p:pic>
      <p:sp>
        <p:nvSpPr>
          <p:cNvPr id="29" name="Rectangle 49">
            <a:extLst>
              <a:ext uri="{FF2B5EF4-FFF2-40B4-BE49-F238E27FC236}">
                <a16:creationId xmlns:a16="http://schemas.microsoft.com/office/drawing/2014/main" id="{FBE60C84-304C-4C92-B48B-7035B332383D}"/>
              </a:ext>
            </a:extLst>
          </p:cNvPr>
          <p:cNvSpPr/>
          <p:nvPr/>
        </p:nvSpPr>
        <p:spPr>
          <a:xfrm>
            <a:off x="3225705" y="5414472"/>
            <a:ext cx="5489480" cy="2571750"/>
          </a:xfrm>
          <a:prstGeom prst="rect">
            <a:avLst/>
          </a:prstGeom>
          <a:solidFill>
            <a:schemeClr val="bg2">
              <a:lumMod val="75000"/>
            </a:scheme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endParaRPr lang="en-IN" sz="1600" b="1" dirty="0">
              <a:solidFill>
                <a:schemeClr val="bg1"/>
              </a:solidFill>
              <a:latin typeface="Arial" panose="020B0604020202020204"/>
              <a:ea typeface="MS PGothic" charset="-128"/>
            </a:endParaRPr>
          </a:p>
          <a:p>
            <a:pPr algn="r" defTabSz="1828837">
              <a:defRPr/>
            </a:pPr>
            <a:r>
              <a:rPr lang="en-IN" sz="2800" b="1" kern="1200" dirty="0">
                <a:solidFill>
                  <a:srgbClr val="FFFFFF"/>
                </a:solidFill>
                <a:latin typeface="IBM Plex Sans" panose="020B0503050000000000" pitchFamily="34" charset="0"/>
                <a:ea typeface="Verdana" panose="020B0604030504040204" pitchFamily="34" charset="0"/>
              </a:rPr>
              <a:t>3</a:t>
            </a: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828837">
              <a:defRPr/>
            </a:pPr>
            <a:endParaRPr lang="en-US" sz="2800" kern="1200" dirty="0">
              <a:solidFill>
                <a:srgbClr val="E7E6E6"/>
              </a:solidFill>
              <a:latin typeface="IBM Plex Sans" panose="020B0503050000000000" pitchFamily="34" charset="0"/>
              <a:ea typeface="+mn-ea"/>
              <a:cs typeface="+mn-cs"/>
            </a:endParaRPr>
          </a:p>
          <a:p>
            <a:pPr defTabSz="1828837">
              <a:defRPr/>
            </a:pPr>
            <a:r>
              <a:rPr lang="en-US" sz="2800" kern="1200" dirty="0">
                <a:solidFill>
                  <a:srgbClr val="E7E6E6"/>
                </a:solidFill>
                <a:latin typeface="+mn-lt"/>
                <a:ea typeface="+mn-ea"/>
                <a:cs typeface="+mn-cs"/>
              </a:rPr>
              <a:t>Principales procesos operativos</a:t>
            </a:r>
            <a:endParaRPr lang="en-US" dirty="0">
              <a:latin typeface="+mn-lt"/>
              <a:ea typeface="+mn-ea"/>
              <a:cs typeface="+mn-cs"/>
            </a:endParaRPr>
          </a:p>
          <a:p>
            <a:pPr defTabSz="1097280" fontAlgn="base">
              <a:spcBef>
                <a:spcPct val="0"/>
              </a:spcBef>
              <a:spcAft>
                <a:spcPct val="0"/>
              </a:spcAft>
            </a:pPr>
            <a:endParaRPr lang="en-IN" sz="1600" b="1" dirty="0">
              <a:solidFill>
                <a:schemeClr val="bg1"/>
              </a:solidFill>
              <a:latin typeface="Arial" panose="020B0604020202020204"/>
              <a:ea typeface="MS PGothic" charset="-128"/>
            </a:endParaRPr>
          </a:p>
        </p:txBody>
      </p:sp>
      <p:pic>
        <p:nvPicPr>
          <p:cNvPr id="30" name="Graphic 66" descr="Network">
            <a:hlinkClick r:id="rId11" action="ppaction://hlinksldjump"/>
            <a:extLst>
              <a:ext uri="{FF2B5EF4-FFF2-40B4-BE49-F238E27FC236}">
                <a16:creationId xmlns:a16="http://schemas.microsoft.com/office/drawing/2014/main" id="{6FFCC92F-1544-411A-95A9-A2EA60CA976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238925" y="5529090"/>
            <a:ext cx="1463040" cy="1463040"/>
          </a:xfrm>
          <a:prstGeom prst="rect">
            <a:avLst/>
          </a:prstGeom>
        </p:spPr>
      </p:pic>
    </p:spTree>
    <p:extLst>
      <p:ext uri="{BB962C8B-B14F-4D97-AF65-F5344CB8AC3E}">
        <p14:creationId xmlns:p14="http://schemas.microsoft.com/office/powerpoint/2010/main" val="15886925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A4F45E62-3A43-4B9F-AB35-654F5503E264}"/>
              </a:ext>
            </a:extLst>
          </p:cNvPr>
          <p:cNvSpPr/>
          <p:nvPr/>
        </p:nvSpPr>
        <p:spPr>
          <a:xfrm>
            <a:off x="933441" y="3788140"/>
            <a:ext cx="14815747" cy="7138499"/>
          </a:xfrm>
          <a:prstGeom prst="rect">
            <a:avLst/>
          </a:prstGeom>
          <a:solidFill>
            <a:schemeClr val="bg1">
              <a:lumMod val="95000"/>
            </a:schemeClr>
          </a:solidFill>
          <a:ln w="25400" cap="flat" cmpd="sng" algn="ctr">
            <a:solidFill>
              <a:schemeClr val="accent1"/>
            </a:solidFill>
            <a:prstDash val="solid"/>
          </a:ln>
          <a:effectLst>
            <a:outerShdw blurRad="50800" dist="76200" dir="2700000" algn="tl" rotWithShape="0">
              <a:prstClr val="black">
                <a:alpha val="40000"/>
              </a:prstClr>
            </a:outerShdw>
          </a:effectLst>
        </p:spPr>
        <p:txBody>
          <a:bodyPr lIns="0" rIns="0" anchor="ctr"/>
          <a:lstStyle/>
          <a:p>
            <a:pPr algn="ctr" defTabSz="937937">
              <a:defRPr/>
            </a:pPr>
            <a:endParaRPr lang="en-US" sz="1400" b="1" kern="0" dirty="0">
              <a:solidFill>
                <a:srgbClr val="FFFFFF"/>
              </a:solidFill>
              <a:latin typeface="Arial" panose="020B0604020202020204"/>
            </a:endParaRPr>
          </a:p>
        </p:txBody>
      </p:sp>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sp>
        <p:nvSpPr>
          <p:cNvPr id="248" name="Freeform 93">
            <a:extLst>
              <a:ext uri="{FF2B5EF4-FFF2-40B4-BE49-F238E27FC236}">
                <a16:creationId xmlns:a16="http://schemas.microsoft.com/office/drawing/2014/main" id="{DFA08D17-6113-4313-A801-61891899DE14}"/>
              </a:ext>
            </a:extLst>
          </p:cNvPr>
          <p:cNvSpPr>
            <a:spLocks noEditPoints="1"/>
          </p:cNvSpPr>
          <p:nvPr/>
        </p:nvSpPr>
        <p:spPr bwMode="auto">
          <a:xfrm>
            <a:off x="19539220" y="9184144"/>
            <a:ext cx="1082437" cy="577150"/>
          </a:xfrm>
          <a:custGeom>
            <a:avLst/>
            <a:gdLst>
              <a:gd name="T0" fmla="*/ 2147483646 w 485"/>
              <a:gd name="T1" fmla="*/ 2147483646 h 259"/>
              <a:gd name="T2" fmla="*/ 2147483646 w 485"/>
              <a:gd name="T3" fmla="*/ 2147483646 h 259"/>
              <a:gd name="T4" fmla="*/ 2147483646 w 485"/>
              <a:gd name="T5" fmla="*/ 0 h 259"/>
              <a:gd name="T6" fmla="*/ 2147483646 w 485"/>
              <a:gd name="T7" fmla="*/ 2147483646 h 259"/>
              <a:gd name="T8" fmla="*/ 2147483646 w 485"/>
              <a:gd name="T9" fmla="*/ 2147483646 h 259"/>
              <a:gd name="T10" fmla="*/ 2147483646 w 485"/>
              <a:gd name="T11" fmla="*/ 2147483646 h 259"/>
              <a:gd name="T12" fmla="*/ 0 w 485"/>
              <a:gd name="T13" fmla="*/ 2147483646 h 259"/>
              <a:gd name="T14" fmla="*/ 2147483646 w 485"/>
              <a:gd name="T15" fmla="*/ 2147483646 h 259"/>
              <a:gd name="T16" fmla="*/ 2147483646 w 485"/>
              <a:gd name="T17" fmla="*/ 2147483646 h 259"/>
              <a:gd name="T18" fmla="*/ 2147483646 w 485"/>
              <a:gd name="T19" fmla="*/ 2147483646 h 259"/>
              <a:gd name="T20" fmla="*/ 2147483646 w 485"/>
              <a:gd name="T21" fmla="*/ 2147483646 h 259"/>
              <a:gd name="T22" fmla="*/ 2147483646 w 485"/>
              <a:gd name="T23" fmla="*/ 2147483646 h 259"/>
              <a:gd name="T24" fmla="*/ 2147483646 w 485"/>
              <a:gd name="T25" fmla="*/ 2147483646 h 259"/>
              <a:gd name="T26" fmla="*/ 2147483646 w 485"/>
              <a:gd name="T27" fmla="*/ 2147483646 h 259"/>
              <a:gd name="T28" fmla="*/ 2147483646 w 485"/>
              <a:gd name="T29" fmla="*/ 2147483646 h 259"/>
              <a:gd name="T30" fmla="*/ 2147483646 w 485"/>
              <a:gd name="T31" fmla="*/ 2147483646 h 259"/>
              <a:gd name="T32" fmla="*/ 2147483646 w 485"/>
              <a:gd name="T33" fmla="*/ 2147483646 h 259"/>
              <a:gd name="T34" fmla="*/ 2147483646 w 485"/>
              <a:gd name="T35" fmla="*/ 0 h 259"/>
              <a:gd name="T36" fmla="*/ 2147483646 w 485"/>
              <a:gd name="T37" fmla="*/ 2147483646 h 259"/>
              <a:gd name="T38" fmla="*/ 2147483646 w 485"/>
              <a:gd name="T39" fmla="*/ 2147483646 h 259"/>
              <a:gd name="T40" fmla="*/ 2147483646 w 485"/>
              <a:gd name="T41" fmla="*/ 2147483646 h 259"/>
              <a:gd name="T42" fmla="*/ 2147483646 w 485"/>
              <a:gd name="T43" fmla="*/ 2147483646 h 259"/>
              <a:gd name="T44" fmla="*/ 2147483646 w 485"/>
              <a:gd name="T45" fmla="*/ 2147483646 h 259"/>
              <a:gd name="T46" fmla="*/ 2147483646 w 485"/>
              <a:gd name="T47" fmla="*/ 2147483646 h 259"/>
              <a:gd name="T48" fmla="*/ 2147483646 w 485"/>
              <a:gd name="T49" fmla="*/ 2147483646 h 259"/>
              <a:gd name="T50" fmla="*/ 2147483646 w 485"/>
              <a:gd name="T51" fmla="*/ 2147483646 h 259"/>
              <a:gd name="T52" fmla="*/ 2147483646 w 485"/>
              <a:gd name="T53" fmla="*/ 2147483646 h 25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85" h="259">
                <a:moveTo>
                  <a:pt x="152" y="39"/>
                </a:moveTo>
                <a:cubicBezTo>
                  <a:pt x="152" y="28"/>
                  <a:pt x="154" y="18"/>
                  <a:pt x="157" y="9"/>
                </a:cubicBezTo>
                <a:cubicBezTo>
                  <a:pt x="147" y="3"/>
                  <a:pt x="136" y="0"/>
                  <a:pt x="123" y="0"/>
                </a:cubicBezTo>
                <a:cubicBezTo>
                  <a:pt x="88" y="0"/>
                  <a:pt x="60" y="25"/>
                  <a:pt x="60" y="65"/>
                </a:cubicBezTo>
                <a:cubicBezTo>
                  <a:pt x="60" y="97"/>
                  <a:pt x="78" y="128"/>
                  <a:pt x="103" y="140"/>
                </a:cubicBezTo>
                <a:cubicBezTo>
                  <a:pt x="103" y="165"/>
                  <a:pt x="103" y="165"/>
                  <a:pt x="103" y="165"/>
                </a:cubicBezTo>
                <a:cubicBezTo>
                  <a:pt x="22" y="170"/>
                  <a:pt x="6" y="204"/>
                  <a:pt x="0" y="247"/>
                </a:cubicBezTo>
                <a:cubicBezTo>
                  <a:pt x="84" y="259"/>
                  <a:pt x="84" y="259"/>
                  <a:pt x="84" y="259"/>
                </a:cubicBezTo>
                <a:cubicBezTo>
                  <a:pt x="84" y="245"/>
                  <a:pt x="84" y="245"/>
                  <a:pt x="84" y="245"/>
                </a:cubicBezTo>
                <a:cubicBezTo>
                  <a:pt x="88" y="219"/>
                  <a:pt x="94" y="192"/>
                  <a:pt x="114" y="171"/>
                </a:cubicBezTo>
                <a:cubicBezTo>
                  <a:pt x="131" y="153"/>
                  <a:pt x="159" y="140"/>
                  <a:pt x="202" y="135"/>
                </a:cubicBezTo>
                <a:cubicBezTo>
                  <a:pt x="202" y="135"/>
                  <a:pt x="202" y="135"/>
                  <a:pt x="202" y="135"/>
                </a:cubicBezTo>
                <a:cubicBezTo>
                  <a:pt x="173" y="116"/>
                  <a:pt x="152" y="79"/>
                  <a:pt x="152" y="39"/>
                </a:cubicBezTo>
                <a:close/>
                <a:moveTo>
                  <a:pt x="481" y="229"/>
                </a:moveTo>
                <a:cubicBezTo>
                  <a:pt x="472" y="194"/>
                  <a:pt x="450" y="169"/>
                  <a:pt x="382" y="165"/>
                </a:cubicBezTo>
                <a:cubicBezTo>
                  <a:pt x="382" y="140"/>
                  <a:pt x="382" y="140"/>
                  <a:pt x="382" y="140"/>
                </a:cubicBezTo>
                <a:cubicBezTo>
                  <a:pt x="407" y="128"/>
                  <a:pt x="425" y="97"/>
                  <a:pt x="425" y="65"/>
                </a:cubicBezTo>
                <a:cubicBezTo>
                  <a:pt x="425" y="25"/>
                  <a:pt x="397" y="0"/>
                  <a:pt x="361" y="0"/>
                </a:cubicBezTo>
                <a:cubicBezTo>
                  <a:pt x="349" y="0"/>
                  <a:pt x="338" y="3"/>
                  <a:pt x="328" y="9"/>
                </a:cubicBezTo>
                <a:cubicBezTo>
                  <a:pt x="331" y="18"/>
                  <a:pt x="333" y="28"/>
                  <a:pt x="333" y="39"/>
                </a:cubicBezTo>
                <a:cubicBezTo>
                  <a:pt x="333" y="79"/>
                  <a:pt x="312" y="116"/>
                  <a:pt x="283" y="135"/>
                </a:cubicBezTo>
                <a:cubicBezTo>
                  <a:pt x="283" y="135"/>
                  <a:pt x="283" y="135"/>
                  <a:pt x="283" y="135"/>
                </a:cubicBezTo>
                <a:cubicBezTo>
                  <a:pt x="324" y="139"/>
                  <a:pt x="352" y="151"/>
                  <a:pt x="369" y="168"/>
                </a:cubicBezTo>
                <a:cubicBezTo>
                  <a:pt x="391" y="189"/>
                  <a:pt x="397" y="218"/>
                  <a:pt x="401" y="245"/>
                </a:cubicBezTo>
                <a:cubicBezTo>
                  <a:pt x="401" y="259"/>
                  <a:pt x="401" y="259"/>
                  <a:pt x="401" y="259"/>
                </a:cubicBezTo>
                <a:cubicBezTo>
                  <a:pt x="485" y="247"/>
                  <a:pt x="485" y="247"/>
                  <a:pt x="485" y="247"/>
                </a:cubicBezTo>
                <a:cubicBezTo>
                  <a:pt x="484" y="241"/>
                  <a:pt x="483" y="235"/>
                  <a:pt x="481" y="2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49" name="Freeform 94">
            <a:extLst>
              <a:ext uri="{FF2B5EF4-FFF2-40B4-BE49-F238E27FC236}">
                <a16:creationId xmlns:a16="http://schemas.microsoft.com/office/drawing/2014/main" id="{7E380BFC-7D03-4C67-A7E7-E0C5DA2807E5}"/>
              </a:ext>
            </a:extLst>
          </p:cNvPr>
          <p:cNvSpPr>
            <a:spLocks/>
          </p:cNvSpPr>
          <p:nvPr/>
        </p:nvSpPr>
        <p:spPr bwMode="auto">
          <a:xfrm>
            <a:off x="19916327" y="9114187"/>
            <a:ext cx="328223" cy="374273"/>
          </a:xfrm>
          <a:custGeom>
            <a:avLst/>
            <a:gdLst>
              <a:gd name="T0" fmla="*/ 2147483646 w 147"/>
              <a:gd name="T1" fmla="*/ 2147483646 h 166"/>
              <a:gd name="T2" fmla="*/ 2147483646 w 147"/>
              <a:gd name="T3" fmla="*/ 2147483646 h 166"/>
              <a:gd name="T4" fmla="*/ 2147483646 w 147"/>
              <a:gd name="T5" fmla="*/ 2147483646 h 166"/>
              <a:gd name="T6" fmla="*/ 2147483646 w 147"/>
              <a:gd name="T7" fmla="*/ 0 h 166"/>
              <a:gd name="T8" fmla="*/ 0 w 147"/>
              <a:gd name="T9" fmla="*/ 2147483646 h 166"/>
              <a:gd name="T10" fmla="*/ 2147483646 w 147"/>
              <a:gd name="T11" fmla="*/ 2147483646 h 166"/>
              <a:gd name="T12" fmla="*/ 2147483646 w 147"/>
              <a:gd name="T13" fmla="*/ 2147483646 h 16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7" h="166">
                <a:moveTo>
                  <a:pt x="74" y="166"/>
                </a:moveTo>
                <a:cubicBezTo>
                  <a:pt x="86" y="166"/>
                  <a:pt x="97" y="160"/>
                  <a:pt x="97" y="160"/>
                </a:cubicBezTo>
                <a:cubicBezTo>
                  <a:pt x="126" y="147"/>
                  <a:pt x="147" y="111"/>
                  <a:pt x="147" y="74"/>
                </a:cubicBezTo>
                <a:cubicBezTo>
                  <a:pt x="147" y="29"/>
                  <a:pt x="114" y="0"/>
                  <a:pt x="73" y="0"/>
                </a:cubicBezTo>
                <a:cubicBezTo>
                  <a:pt x="33" y="0"/>
                  <a:pt x="0" y="29"/>
                  <a:pt x="0" y="74"/>
                </a:cubicBezTo>
                <a:cubicBezTo>
                  <a:pt x="0" y="111"/>
                  <a:pt x="21" y="147"/>
                  <a:pt x="50" y="160"/>
                </a:cubicBezTo>
                <a:cubicBezTo>
                  <a:pt x="50" y="160"/>
                  <a:pt x="62" y="166"/>
                  <a:pt x="74" y="16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0" name="Freeform 95">
            <a:extLst>
              <a:ext uri="{FF2B5EF4-FFF2-40B4-BE49-F238E27FC236}">
                <a16:creationId xmlns:a16="http://schemas.microsoft.com/office/drawing/2014/main" id="{CFE0C78D-9CDB-4DDD-B535-59A7535F154D}"/>
              </a:ext>
            </a:extLst>
          </p:cNvPr>
          <p:cNvSpPr>
            <a:spLocks/>
          </p:cNvSpPr>
          <p:nvPr/>
        </p:nvSpPr>
        <p:spPr bwMode="auto">
          <a:xfrm>
            <a:off x="20108373" y="9516441"/>
            <a:ext cx="289815" cy="293821"/>
          </a:xfrm>
          <a:custGeom>
            <a:avLst/>
            <a:gdLst>
              <a:gd name="T0" fmla="*/ 2147483646 w 129"/>
              <a:gd name="T1" fmla="*/ 2147483646 h 130"/>
              <a:gd name="T2" fmla="*/ 2147483646 w 129"/>
              <a:gd name="T3" fmla="*/ 0 h 130"/>
              <a:gd name="T4" fmla="*/ 0 w 129"/>
              <a:gd name="T5" fmla="*/ 2147483646 h 130"/>
              <a:gd name="T6" fmla="*/ 2147483646 w 129"/>
              <a:gd name="T7" fmla="*/ 2147483646 h 130"/>
              <a:gd name="T8" fmla="*/ 2147483646 w 129"/>
              <a:gd name="T9" fmla="*/ 2147483646 h 13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0">
                <a:moveTo>
                  <a:pt x="127" y="80"/>
                </a:moveTo>
                <a:cubicBezTo>
                  <a:pt x="118" y="39"/>
                  <a:pt x="104" y="7"/>
                  <a:pt x="30" y="0"/>
                </a:cubicBezTo>
                <a:cubicBezTo>
                  <a:pt x="0" y="130"/>
                  <a:pt x="0" y="130"/>
                  <a:pt x="0" y="130"/>
                </a:cubicBezTo>
                <a:cubicBezTo>
                  <a:pt x="90" y="129"/>
                  <a:pt x="129" y="118"/>
                  <a:pt x="129" y="118"/>
                </a:cubicBezTo>
                <a:cubicBezTo>
                  <a:pt x="128" y="113"/>
                  <a:pt x="128" y="85"/>
                  <a:pt x="127" y="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1" name="Freeform 96">
            <a:extLst>
              <a:ext uri="{FF2B5EF4-FFF2-40B4-BE49-F238E27FC236}">
                <a16:creationId xmlns:a16="http://schemas.microsoft.com/office/drawing/2014/main" id="{65534B48-27DF-4CC8-BFED-596256A0D4E4}"/>
              </a:ext>
            </a:extLst>
          </p:cNvPr>
          <p:cNvSpPr>
            <a:spLocks/>
          </p:cNvSpPr>
          <p:nvPr/>
        </p:nvSpPr>
        <p:spPr bwMode="auto">
          <a:xfrm>
            <a:off x="19766184" y="9516441"/>
            <a:ext cx="286322" cy="293821"/>
          </a:xfrm>
          <a:custGeom>
            <a:avLst/>
            <a:gdLst>
              <a:gd name="T0" fmla="*/ 2147483646 w 129"/>
              <a:gd name="T1" fmla="*/ 2147483646 h 131"/>
              <a:gd name="T2" fmla="*/ 0 w 129"/>
              <a:gd name="T3" fmla="*/ 2147483646 h 131"/>
              <a:gd name="T4" fmla="*/ 2147483646 w 129"/>
              <a:gd name="T5" fmla="*/ 2147483646 h 131"/>
              <a:gd name="T6" fmla="*/ 2147483646 w 129"/>
              <a:gd name="T7" fmla="*/ 0 h 131"/>
              <a:gd name="T8" fmla="*/ 2147483646 w 129"/>
              <a:gd name="T9" fmla="*/ 2147483646 h 1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1">
                <a:moveTo>
                  <a:pt x="2" y="82"/>
                </a:moveTo>
                <a:cubicBezTo>
                  <a:pt x="1" y="86"/>
                  <a:pt x="0" y="114"/>
                  <a:pt x="0" y="118"/>
                </a:cubicBezTo>
                <a:cubicBezTo>
                  <a:pt x="0" y="118"/>
                  <a:pt x="33" y="130"/>
                  <a:pt x="129" y="131"/>
                </a:cubicBezTo>
                <a:cubicBezTo>
                  <a:pt x="99" y="0"/>
                  <a:pt x="99" y="0"/>
                  <a:pt x="99" y="0"/>
                </a:cubicBezTo>
                <a:cubicBezTo>
                  <a:pt x="23" y="7"/>
                  <a:pt x="10" y="40"/>
                  <a:pt x="2" y="8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2" name="Freeform 97">
            <a:extLst>
              <a:ext uri="{FF2B5EF4-FFF2-40B4-BE49-F238E27FC236}">
                <a16:creationId xmlns:a16="http://schemas.microsoft.com/office/drawing/2014/main" id="{A4D6FEB1-9066-4C24-B822-75FA13D9DE25}"/>
              </a:ext>
            </a:extLst>
          </p:cNvPr>
          <p:cNvSpPr>
            <a:spLocks/>
          </p:cNvSpPr>
          <p:nvPr/>
        </p:nvSpPr>
        <p:spPr bwMode="auto">
          <a:xfrm>
            <a:off x="20045522" y="9519940"/>
            <a:ext cx="69835" cy="38478"/>
          </a:xfrm>
          <a:custGeom>
            <a:avLst/>
            <a:gdLst>
              <a:gd name="T0" fmla="*/ 2147483646 w 31"/>
              <a:gd name="T1" fmla="*/ 2147483646 h 17"/>
              <a:gd name="T2" fmla="*/ 0 w 31"/>
              <a:gd name="T3" fmla="*/ 0 h 17"/>
              <a:gd name="T4" fmla="*/ 2147483646 w 31"/>
              <a:gd name="T5" fmla="*/ 2147483646 h 17"/>
              <a:gd name="T6" fmla="*/ 2147483646 w 31"/>
              <a:gd name="T7" fmla="*/ 2147483646 h 17"/>
              <a:gd name="T8" fmla="*/ 2147483646 w 31"/>
              <a:gd name="T9" fmla="*/ 0 h 17"/>
              <a:gd name="T10" fmla="*/ 2147483646 w 31"/>
              <a:gd name="T11" fmla="*/ 2147483646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1" h="17">
                <a:moveTo>
                  <a:pt x="15" y="1"/>
                </a:moveTo>
                <a:cubicBezTo>
                  <a:pt x="7" y="1"/>
                  <a:pt x="0" y="0"/>
                  <a:pt x="0" y="0"/>
                </a:cubicBezTo>
                <a:cubicBezTo>
                  <a:pt x="7" y="17"/>
                  <a:pt x="7" y="17"/>
                  <a:pt x="7" y="17"/>
                </a:cubicBezTo>
                <a:cubicBezTo>
                  <a:pt x="24" y="17"/>
                  <a:pt x="24" y="17"/>
                  <a:pt x="24" y="17"/>
                </a:cubicBezTo>
                <a:cubicBezTo>
                  <a:pt x="31" y="0"/>
                  <a:pt x="31" y="0"/>
                  <a:pt x="31" y="0"/>
                </a:cubicBezTo>
                <a:cubicBezTo>
                  <a:pt x="31" y="0"/>
                  <a:pt x="25" y="1"/>
                  <a:pt x="15"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3" name="Freeform 98">
            <a:extLst>
              <a:ext uri="{FF2B5EF4-FFF2-40B4-BE49-F238E27FC236}">
                <a16:creationId xmlns:a16="http://schemas.microsoft.com/office/drawing/2014/main" id="{35BB263D-DEBC-4B72-8B40-B729ACB65B19}"/>
              </a:ext>
            </a:extLst>
          </p:cNvPr>
          <p:cNvSpPr>
            <a:spLocks/>
          </p:cNvSpPr>
          <p:nvPr/>
        </p:nvSpPr>
        <p:spPr bwMode="auto">
          <a:xfrm>
            <a:off x="20045522" y="9582902"/>
            <a:ext cx="69835" cy="220367"/>
          </a:xfrm>
          <a:custGeom>
            <a:avLst/>
            <a:gdLst>
              <a:gd name="T0" fmla="*/ 2147483646 w 20"/>
              <a:gd name="T1" fmla="*/ 2147483646 h 63"/>
              <a:gd name="T2" fmla="*/ 2147483646 w 20"/>
              <a:gd name="T3" fmla="*/ 0 h 63"/>
              <a:gd name="T4" fmla="*/ 2147483646 w 20"/>
              <a:gd name="T5" fmla="*/ 0 h 63"/>
              <a:gd name="T6" fmla="*/ 0 w 20"/>
              <a:gd name="T7" fmla="*/ 2147483646 h 63"/>
              <a:gd name="T8" fmla="*/ 2147483646 w 20"/>
              <a:gd name="T9" fmla="*/ 2147483646 h 63"/>
              <a:gd name="T10" fmla="*/ 2147483646 w 20"/>
              <a:gd name="T11" fmla="*/ 2147483646 h 6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63">
                <a:moveTo>
                  <a:pt x="20" y="19"/>
                </a:moveTo>
                <a:lnTo>
                  <a:pt x="16" y="0"/>
                </a:lnTo>
                <a:lnTo>
                  <a:pt x="6" y="0"/>
                </a:lnTo>
                <a:lnTo>
                  <a:pt x="0" y="19"/>
                </a:lnTo>
                <a:lnTo>
                  <a:pt x="10" y="63"/>
                </a:lnTo>
                <a:lnTo>
                  <a:pt x="2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4" name="Freeform 99">
            <a:extLst>
              <a:ext uri="{FF2B5EF4-FFF2-40B4-BE49-F238E27FC236}">
                <a16:creationId xmlns:a16="http://schemas.microsoft.com/office/drawing/2014/main" id="{C2D7F909-8A25-4F83-BE9C-6BA425FFFE3D}"/>
              </a:ext>
            </a:extLst>
          </p:cNvPr>
          <p:cNvSpPr>
            <a:spLocks/>
          </p:cNvSpPr>
          <p:nvPr/>
        </p:nvSpPr>
        <p:spPr bwMode="auto">
          <a:xfrm>
            <a:off x="20185192" y="9677343"/>
            <a:ext cx="111735" cy="27983"/>
          </a:xfrm>
          <a:custGeom>
            <a:avLst/>
            <a:gdLst>
              <a:gd name="T0" fmla="*/ 2147483646 w 32"/>
              <a:gd name="T1" fmla="*/ 2147483646 h 8"/>
              <a:gd name="T2" fmla="*/ 0 w 32"/>
              <a:gd name="T3" fmla="*/ 2147483646 h 8"/>
              <a:gd name="T4" fmla="*/ 0 w 32"/>
              <a:gd name="T5" fmla="*/ 0 h 8"/>
              <a:gd name="T6" fmla="*/ 2147483646 w 32"/>
              <a:gd name="T7" fmla="*/ 0 h 8"/>
              <a:gd name="T8" fmla="*/ 2147483646 w 32"/>
              <a:gd name="T9" fmla="*/ 0 h 8"/>
              <a:gd name="T10" fmla="*/ 2147483646 w 32"/>
              <a:gd name="T11" fmla="*/ 2147483646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 h="8">
                <a:moveTo>
                  <a:pt x="32" y="8"/>
                </a:moveTo>
                <a:lnTo>
                  <a:pt x="0" y="8"/>
                </a:lnTo>
                <a:lnTo>
                  <a:pt x="0" y="0"/>
                </a:lnTo>
                <a:lnTo>
                  <a:pt x="19" y="0"/>
                </a:lnTo>
                <a:lnTo>
                  <a:pt x="32" y="0"/>
                </a:lnTo>
                <a:lnTo>
                  <a:pt x="32"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75" name="TextBox 74">
            <a:extLst>
              <a:ext uri="{FF2B5EF4-FFF2-40B4-BE49-F238E27FC236}">
                <a16:creationId xmlns:a16="http://schemas.microsoft.com/office/drawing/2014/main" id="{54CA14F7-D13A-4D20-9C49-BF9E554748E2}"/>
              </a:ext>
            </a:extLst>
          </p:cNvPr>
          <p:cNvSpPr txBox="1"/>
          <p:nvPr/>
        </p:nvSpPr>
        <p:spPr>
          <a:xfrm>
            <a:off x="650240" y="541319"/>
            <a:ext cx="22611504" cy="1138773"/>
          </a:xfrm>
          <a:prstGeom prst="rect">
            <a:avLst/>
          </a:prstGeom>
          <a:noFill/>
        </p:spPr>
        <p:txBody>
          <a:bodyPr wrap="square" rtlCol="0" anchor="t">
            <a:spAutoFit/>
          </a:bodyPr>
          <a:lstStyle/>
          <a:p>
            <a:pPr algn="l"/>
            <a:r>
              <a:rPr lang="en-GB" sz="4000" b="1" kern="1200" dirty="0">
                <a:solidFill>
                  <a:srgbClr val="C00000"/>
                </a:solidFill>
                <a:ea typeface="+mj-lt"/>
                <a:cs typeface="+mj-lt"/>
              </a:rPr>
              <a:t>KPIs y Niveles de Servicio</a:t>
            </a:r>
            <a:endParaRPr lang="en-US" dirty="0"/>
          </a:p>
          <a:p>
            <a:pPr algn="l"/>
            <a:r>
              <a:rPr lang="en-GB" altLang="en-US" sz="2800" kern="1200" dirty="0">
                <a:solidFill>
                  <a:schemeClr val="tx1"/>
                </a:solidFill>
              </a:rPr>
              <a:t>CI/CD Releases</a:t>
            </a:r>
          </a:p>
        </p:txBody>
      </p:sp>
      <p:graphicFrame>
        <p:nvGraphicFramePr>
          <p:cNvPr id="3" name="Table 2">
            <a:extLst>
              <a:ext uri="{FF2B5EF4-FFF2-40B4-BE49-F238E27FC236}">
                <a16:creationId xmlns:a16="http://schemas.microsoft.com/office/drawing/2014/main" id="{8424FDA4-45D3-45E2-8762-723E57EB49CF}"/>
              </a:ext>
            </a:extLst>
          </p:cNvPr>
          <p:cNvGraphicFramePr>
            <a:graphicFrameLocks noGrp="1"/>
          </p:cNvGraphicFramePr>
          <p:nvPr>
            <p:extLst>
              <p:ext uri="{D42A27DB-BD31-4B8C-83A1-F6EECF244321}">
                <p14:modId xmlns:p14="http://schemas.microsoft.com/office/powerpoint/2010/main" val="3103965785"/>
              </p:ext>
            </p:extLst>
          </p:nvPr>
        </p:nvGraphicFramePr>
        <p:xfrm>
          <a:off x="5056117" y="4489802"/>
          <a:ext cx="17830800" cy="6888131"/>
        </p:xfrm>
        <a:graphic>
          <a:graphicData uri="http://schemas.openxmlformats.org/drawingml/2006/table">
            <a:tbl>
              <a:tblPr firstRow="1" bandRow="1">
                <a:tableStyleId>{5940675A-B579-460E-94D1-54222C63F5DA}</a:tableStyleId>
              </a:tblPr>
              <a:tblGrid>
                <a:gridCol w="5943600">
                  <a:extLst>
                    <a:ext uri="{9D8B030D-6E8A-4147-A177-3AD203B41FA5}">
                      <a16:colId xmlns:a16="http://schemas.microsoft.com/office/drawing/2014/main" val="2232338029"/>
                    </a:ext>
                  </a:extLst>
                </a:gridCol>
                <a:gridCol w="5943600">
                  <a:extLst>
                    <a:ext uri="{9D8B030D-6E8A-4147-A177-3AD203B41FA5}">
                      <a16:colId xmlns:a16="http://schemas.microsoft.com/office/drawing/2014/main" val="2599433825"/>
                    </a:ext>
                  </a:extLst>
                </a:gridCol>
                <a:gridCol w="5943600">
                  <a:extLst>
                    <a:ext uri="{9D8B030D-6E8A-4147-A177-3AD203B41FA5}">
                      <a16:colId xmlns:a16="http://schemas.microsoft.com/office/drawing/2014/main" val="1076191212"/>
                    </a:ext>
                  </a:extLst>
                </a:gridCol>
              </a:tblGrid>
              <a:tr h="359129">
                <a:tc>
                  <a:txBody>
                    <a:bodyPr/>
                    <a:lstStyle/>
                    <a:p>
                      <a:pPr algn="ctr"/>
                      <a:r>
                        <a:rPr lang="es-ES" sz="1900" b="1" i="0" u="none" strike="noStrike" kern="1200" cap="none" spc="0" normalizeH="0" baseline="0" noProof="0" dirty="0">
                          <a:ln>
                            <a:noFill/>
                          </a:ln>
                          <a:solidFill>
                            <a:schemeClr val="bg1"/>
                          </a:solidFill>
                          <a:effectLst/>
                          <a:uFillTx/>
                          <a:latin typeface="Arial"/>
                          <a:cs typeface="Arial"/>
                        </a:rPr>
                        <a:t>CI/CD Releases</a:t>
                      </a:r>
                      <a:endParaRPr kumimoji="0" lang="es-ES" sz="1900" b="1" i="0" u="none" strike="noStrike" kern="1200" cap="none" spc="0" normalizeH="0" baseline="0" noProof="0" dirty="0">
                        <a:ln>
                          <a:noFill/>
                        </a:ln>
                        <a:solidFill>
                          <a:schemeClr val="bg1"/>
                        </a:solidFill>
                        <a:effectLst/>
                        <a:uFillTx/>
                        <a:latin typeface="Arial"/>
                        <a:cs typeface="Arial"/>
                        <a:sym typeface="Helvetica"/>
                      </a:endParaRPr>
                    </a:p>
                  </a:txBody>
                  <a:tcPr marL="71975" marR="71975" marT="35987" marB="35987"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r>
                        <a:rPr lang="es-ES" sz="1900" b="1" i="0" u="none" strike="noStrike" kern="1200" cap="none" spc="0" normalizeH="0" baseline="0" noProof="0" dirty="0">
                          <a:ln>
                            <a:noFill/>
                          </a:ln>
                          <a:solidFill>
                            <a:schemeClr val="bg1"/>
                          </a:solidFill>
                          <a:effectLst/>
                          <a:uFillTx/>
                          <a:latin typeface="Arial"/>
                          <a:cs typeface="Arial"/>
                        </a:rPr>
                        <a:t>KPIs</a:t>
                      </a:r>
                      <a:endParaRPr kumimoji="0" lang="es-ES" sz="1900" b="1" i="0" u="none" strike="noStrike" kern="1200" cap="none" spc="0" normalizeH="0" baseline="0" noProof="0" dirty="0">
                        <a:ln>
                          <a:noFill/>
                        </a:ln>
                        <a:solidFill>
                          <a:schemeClr val="bg1"/>
                        </a:solidFill>
                        <a:effectLst/>
                        <a:uFillTx/>
                        <a:latin typeface="Arial"/>
                        <a:cs typeface="Arial"/>
                        <a:sym typeface="Helvetica"/>
                      </a:endParaRPr>
                    </a:p>
                  </a:txBody>
                  <a:tcPr marL="71975" marR="71975" marT="35987" marB="35987"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r>
                        <a:rPr lang="es-ES" sz="1900" b="1" i="0" u="none" strike="noStrike" kern="1200" cap="none" spc="0" normalizeH="0" baseline="0" noProof="0" dirty="0">
                          <a:ln>
                            <a:noFill/>
                          </a:ln>
                          <a:solidFill>
                            <a:schemeClr val="bg1"/>
                          </a:solidFill>
                          <a:effectLst/>
                          <a:uFillTx/>
                          <a:latin typeface="Arial"/>
                          <a:cs typeface="Arial"/>
                        </a:rPr>
                        <a:t>Objetivo</a:t>
                      </a:r>
                      <a:endParaRPr kumimoji="0" lang="es-ES" sz="1900" b="1" i="0" u="none" strike="noStrike" kern="1200" cap="none" spc="0" normalizeH="0" baseline="0" noProof="0" dirty="0">
                        <a:ln>
                          <a:noFill/>
                        </a:ln>
                        <a:solidFill>
                          <a:schemeClr val="bg1"/>
                        </a:solidFill>
                        <a:effectLst/>
                        <a:uFillTx/>
                        <a:latin typeface="Arial"/>
                        <a:cs typeface="Arial"/>
                        <a:sym typeface="Helvetica"/>
                      </a:endParaRPr>
                    </a:p>
                  </a:txBody>
                  <a:tcPr marL="71975" marR="71975" marT="35987" marB="35987"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4218262327"/>
                  </a:ext>
                </a:extLst>
              </a:tr>
              <a:tr h="604900">
                <a:tc rowSpan="3">
                  <a:txBody>
                    <a:bodyPr/>
                    <a:lstStyle/>
                    <a:p>
                      <a:pPr lvl="0" algn="ctr">
                        <a:lnSpc>
                          <a:spcPct val="100000"/>
                        </a:lnSpc>
                        <a:spcBef>
                          <a:spcPts val="0"/>
                        </a:spcBef>
                        <a:spcAft>
                          <a:spcPts val="0"/>
                        </a:spcAft>
                        <a:buNone/>
                      </a:pPr>
                      <a:r>
                        <a:rPr lang="es-ES" sz="2000" b="1" i="0" u="none" strike="noStrike" kern="1200" cap="none" spc="0" normalizeH="0" baseline="0" noProof="0" dirty="0">
                          <a:ln>
                            <a:noFill/>
                          </a:ln>
                          <a:solidFill>
                            <a:schemeClr val="tx1"/>
                          </a:solidFill>
                          <a:effectLst/>
                          <a:uFillTx/>
                          <a:latin typeface="Arial"/>
                        </a:rPr>
                        <a:t>Desarrollo de releases</a:t>
                      </a:r>
                      <a:endParaRPr lang="es-ES" sz="2000" b="0" i="0" u="none" strike="noStrike" kern="1200" cap="none" spc="0" normalizeH="0" baseline="0" noProof="0" dirty="0">
                        <a:ln>
                          <a:noFill/>
                        </a:ln>
                        <a:effectLst/>
                        <a:uFillTx/>
                        <a:latin typeface="Arial"/>
                      </a:endParaRPr>
                    </a:p>
                  </a:txBody>
                  <a:tcPr marL="71975" marR="71975" marT="35987" marB="3598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a:buNone/>
                      </a:pPr>
                      <a:r>
                        <a:rPr lang="es-ES" sz="1900" b="0" i="0" u="none" strike="noStrike" kern="1200" cap="none" spc="0" normalizeH="0" baseline="0" noProof="0" dirty="0">
                          <a:ln>
                            <a:noFill/>
                          </a:ln>
                          <a:solidFill>
                            <a:schemeClr val="tx1"/>
                          </a:solidFill>
                          <a:effectLst/>
                          <a:uFillTx/>
                          <a:latin typeface="Arial"/>
                          <a:ea typeface="+mn-ea"/>
                          <a:cs typeface="+mn-cs"/>
                          <a:sym typeface="Helvetica"/>
                        </a:rPr>
                        <a:t>Respuesta escaneo código Sonar</a:t>
                      </a:r>
                    </a:p>
                  </a:txBody>
                  <a:tcPr marL="71975" marR="71975" marT="35987" marB="3598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a:buNone/>
                      </a:pPr>
                      <a:r>
                        <a:rPr lang="es-ES" sz="1900" b="0" i="0" u="none" strike="noStrike" kern="1200" cap="none" spc="0" normalizeH="0" baseline="0" noProof="0" dirty="0">
                          <a:ln>
                            <a:noFill/>
                          </a:ln>
                          <a:solidFill>
                            <a:schemeClr val="tx1"/>
                          </a:solidFill>
                          <a:effectLst/>
                          <a:uFillTx/>
                          <a:latin typeface="Arial"/>
                          <a:ea typeface="+mn-ea"/>
                          <a:cs typeface="+mn-cs"/>
                        </a:rPr>
                        <a:t>Tiempo de respuesta menor de 2 horas</a:t>
                      </a:r>
                      <a:endParaRPr lang="es-ES" sz="1900" b="0" i="0" u="none" strike="noStrike" kern="1200" cap="none" spc="0" normalizeH="0" baseline="0" noProof="0" dirty="0">
                        <a:ln>
                          <a:noFill/>
                        </a:ln>
                        <a:solidFill>
                          <a:schemeClr val="tx1"/>
                        </a:solidFill>
                        <a:effectLst/>
                        <a:uFillTx/>
                        <a:latin typeface="Arial"/>
                        <a:ea typeface="+mn-ea"/>
                        <a:cs typeface="+mn-cs"/>
                        <a:sym typeface="Helvetica"/>
                      </a:endParaRPr>
                    </a:p>
                  </a:txBody>
                  <a:tcPr marL="71975" marR="71975" marT="35987" marB="3598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86079431"/>
                  </a:ext>
                </a:extLst>
              </a:tr>
              <a:tr h="721656">
                <a:tc vMerge="1">
                  <a:txBody>
                    <a:bodyPr/>
                    <a:lstStyle/>
                    <a:p>
                      <a:pPr lvl="0" algn="ctr">
                        <a:lnSpc>
                          <a:spcPct val="100000"/>
                        </a:lnSpc>
                        <a:spcBef>
                          <a:spcPts val="0"/>
                        </a:spcBef>
                        <a:spcAft>
                          <a:spcPts val="0"/>
                        </a:spcAft>
                        <a:buNone/>
                      </a:pPr>
                      <a:endParaRPr lang="es-ES" sz="2000" b="0" i="0" u="none" strike="noStrike" kern="1200" cap="none" spc="0" normalizeH="0" baseline="0" noProof="0">
                        <a:ln>
                          <a:noFill/>
                        </a:ln>
                        <a:effectLst/>
                        <a:uFillTx/>
                        <a:latin typeface="+mn-lt"/>
                      </a:endParaRPr>
                    </a:p>
                  </a:txBody>
                  <a:tcPr marL="71975" marR="71975" marT="35987" marB="3598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a:buNone/>
                      </a:pPr>
                      <a:r>
                        <a:rPr lang="es-ES" sz="1900" b="0" i="0" u="none" strike="noStrike" kern="1200" cap="none" spc="0" normalizeH="0" baseline="0" noProof="0" dirty="0">
                          <a:ln>
                            <a:noFill/>
                          </a:ln>
                          <a:solidFill>
                            <a:schemeClr val="tx1"/>
                          </a:solidFill>
                          <a:effectLst/>
                          <a:uFillTx/>
                          <a:latin typeface="Arial"/>
                          <a:ea typeface="+mn-ea"/>
                          <a:cs typeface="+mn-cs"/>
                          <a:sym typeface="Helvetica"/>
                        </a:rPr>
                        <a:t>Respuesta pruebas estáticas de vulnerabilidades</a:t>
                      </a:r>
                    </a:p>
                  </a:txBody>
                  <a:tcPr marL="71975" marR="71975" marT="35987" marB="3598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a:buNone/>
                      </a:pPr>
                      <a:r>
                        <a:rPr lang="es-ES" sz="1900" b="0" i="0" u="none" strike="noStrike" kern="1200" cap="none" spc="0" normalizeH="0" baseline="0" noProof="0" dirty="0">
                          <a:ln>
                            <a:noFill/>
                          </a:ln>
                          <a:solidFill>
                            <a:schemeClr val="tx1"/>
                          </a:solidFill>
                          <a:effectLst/>
                          <a:uFillTx/>
                          <a:latin typeface="+mn-lt"/>
                          <a:ea typeface="+mn-ea"/>
                          <a:cs typeface="+mn-cs"/>
                        </a:rPr>
                        <a:t>Tiempo de respuesta menor de 2 horas</a:t>
                      </a:r>
                      <a:endParaRPr lang="es-ES" sz="1900" b="0" i="0" u="none" strike="noStrike" kern="1200" cap="none" spc="0" normalizeH="0" baseline="0" noProof="0" dirty="0">
                        <a:ln>
                          <a:noFill/>
                        </a:ln>
                        <a:solidFill>
                          <a:schemeClr val="tx1"/>
                        </a:solidFill>
                        <a:effectLst/>
                        <a:uFillTx/>
                        <a:latin typeface="+mn-lt"/>
                        <a:ea typeface="+mn-ea"/>
                        <a:cs typeface="+mn-cs"/>
                        <a:sym typeface="Helvetica"/>
                      </a:endParaRPr>
                    </a:p>
                  </a:txBody>
                  <a:tcPr marL="71975" marR="71975" marT="35987" marB="3598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98375222"/>
                  </a:ext>
                </a:extLst>
              </a:tr>
              <a:tr h="742863">
                <a:tc vMerge="1">
                  <a:txBody>
                    <a:bodyPr/>
                    <a:lstStyle/>
                    <a:p>
                      <a:pPr lvl="0" algn="ctr">
                        <a:lnSpc>
                          <a:spcPct val="100000"/>
                        </a:lnSpc>
                        <a:spcBef>
                          <a:spcPts val="0"/>
                        </a:spcBef>
                        <a:spcAft>
                          <a:spcPts val="0"/>
                        </a:spcAft>
                        <a:buNone/>
                      </a:pPr>
                      <a:endParaRPr lang="es-ES" sz="2000" b="0" i="0" u="none" strike="noStrike" kern="1200" cap="none" spc="0" normalizeH="0" baseline="0" noProof="0">
                        <a:ln>
                          <a:noFill/>
                        </a:ln>
                        <a:effectLst/>
                        <a:uFillTx/>
                        <a:latin typeface="+mn-lt"/>
                      </a:endParaRPr>
                    </a:p>
                  </a:txBody>
                  <a:tcPr marL="71975" marR="71975" marT="35987" marB="3598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a:buNone/>
                      </a:pPr>
                      <a:r>
                        <a:rPr lang="es-ES" sz="1900" b="0" i="0" u="none" strike="noStrike" kern="1200" cap="none" spc="0" normalizeH="0" baseline="0" noProof="0" dirty="0">
                          <a:ln>
                            <a:noFill/>
                          </a:ln>
                          <a:solidFill>
                            <a:schemeClr val="tx1"/>
                          </a:solidFill>
                          <a:effectLst/>
                          <a:uFillTx/>
                          <a:latin typeface="Arial"/>
                          <a:ea typeface="+mn-ea"/>
                          <a:cs typeface="+mn-cs"/>
                          <a:sym typeface="Helvetica"/>
                        </a:rPr>
                        <a:t>Tiempo de despliegue en entorno de desarrollo</a:t>
                      </a:r>
                    </a:p>
                  </a:txBody>
                  <a:tcPr marL="71975" marR="71975" marT="35987" marB="3598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a:buNone/>
                      </a:pPr>
                      <a:r>
                        <a:rPr lang="es-ES" sz="1900" b="0" i="0" u="none" strike="noStrike" kern="1200" cap="none" spc="0" normalizeH="0" baseline="0" noProof="0" dirty="0">
                          <a:ln>
                            <a:noFill/>
                          </a:ln>
                          <a:solidFill>
                            <a:schemeClr val="tx1"/>
                          </a:solidFill>
                          <a:effectLst/>
                          <a:uFillTx/>
                          <a:latin typeface="+mn-lt"/>
                          <a:ea typeface="+mn-ea"/>
                          <a:cs typeface="+mn-cs"/>
                        </a:rPr>
                        <a:t>Tiempo de respuesta menor de 1 hora</a:t>
                      </a:r>
                      <a:endParaRPr lang="es-ES" sz="1900" b="0" i="0" u="none" strike="noStrike" kern="1200" cap="none" spc="0" normalizeH="0" baseline="0" noProof="0" dirty="0">
                        <a:ln>
                          <a:noFill/>
                        </a:ln>
                        <a:solidFill>
                          <a:schemeClr val="tx1"/>
                        </a:solidFill>
                        <a:effectLst/>
                        <a:uFillTx/>
                        <a:latin typeface="+mn-lt"/>
                        <a:ea typeface="+mn-ea"/>
                        <a:cs typeface="+mn-cs"/>
                        <a:sym typeface="Helvetica"/>
                      </a:endParaRPr>
                    </a:p>
                  </a:txBody>
                  <a:tcPr marL="71975" marR="71975" marT="35987" marB="3598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04187106"/>
                  </a:ext>
                </a:extLst>
              </a:tr>
              <a:tr h="742863">
                <a:tc rowSpan="4">
                  <a:txBody>
                    <a:bodyPr/>
                    <a:lstStyle/>
                    <a:p>
                      <a:pPr marL="0" lvl="0" algn="ctr" defTabSz="1828800" rtl="0" eaLnBrk="1" fontAlgn="base" latinLnBrk="0" hangingPunct="1">
                        <a:lnSpc>
                          <a:spcPct val="100000"/>
                        </a:lnSpc>
                        <a:spcBef>
                          <a:spcPts val="0"/>
                        </a:spcBef>
                        <a:spcAft>
                          <a:spcPts val="0"/>
                        </a:spcAft>
                        <a:buNone/>
                      </a:pPr>
                      <a:r>
                        <a:rPr lang="en-GB" altLang="en-US" sz="2000" b="1" i="0" u="none" strike="noStrike" kern="1200" cap="none" spc="0" normalizeH="0" baseline="0" dirty="0">
                          <a:ln>
                            <a:noFill/>
                          </a:ln>
                          <a:solidFill>
                            <a:schemeClr val="tx1"/>
                          </a:solidFill>
                          <a:effectLst/>
                          <a:uFillTx/>
                          <a:latin typeface="+mn-lt"/>
                          <a:ea typeface="+mn-ea"/>
                          <a:cs typeface="+mn-cs"/>
                        </a:rPr>
                        <a:t>Integración QA &amp; Testing de Releases</a:t>
                      </a:r>
                    </a:p>
                  </a:txBody>
                  <a:tcPr marL="71975" marR="71975" marT="35987" marB="3598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a:buNone/>
                      </a:pPr>
                      <a:r>
                        <a:rPr lang="es-ES" sz="1900" b="0" i="0" u="none" strike="noStrike" kern="1200" cap="none" spc="0" normalizeH="0" baseline="0" dirty="0">
                          <a:ln>
                            <a:noFill/>
                          </a:ln>
                          <a:solidFill>
                            <a:schemeClr val="tx1"/>
                          </a:solidFill>
                          <a:effectLst/>
                          <a:uFillTx/>
                          <a:latin typeface="Arial"/>
                          <a:ea typeface="+mn-ea"/>
                          <a:cs typeface="+mn-cs"/>
                        </a:rPr>
                        <a:t>Respuesta Testing funcional (OK/KO según umbrales)</a:t>
                      </a:r>
                      <a:endParaRPr lang="es-ES" sz="1900" b="0" i="0" u="none" strike="noStrike" kern="1200" cap="none" spc="0" normalizeH="0" baseline="0" noProof="0" dirty="0">
                        <a:ln>
                          <a:noFill/>
                        </a:ln>
                        <a:solidFill>
                          <a:schemeClr val="tx1"/>
                        </a:solidFill>
                        <a:effectLst/>
                        <a:uFillTx/>
                        <a:latin typeface="Arial"/>
                        <a:ea typeface="+mn-ea"/>
                        <a:cs typeface="+mn-cs"/>
                        <a:sym typeface="Helvetica"/>
                      </a:endParaRPr>
                    </a:p>
                  </a:txBody>
                  <a:tcPr marL="71975" marR="71975" marT="35987" marB="3598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a:buNone/>
                      </a:pPr>
                      <a:r>
                        <a:rPr lang="es-ES" sz="1900" b="0" i="0" u="none" strike="noStrike" kern="1200" cap="none" spc="0" normalizeH="0" baseline="0" dirty="0">
                          <a:ln>
                            <a:noFill/>
                          </a:ln>
                          <a:solidFill>
                            <a:schemeClr val="tx1"/>
                          </a:solidFill>
                          <a:effectLst/>
                          <a:uFillTx/>
                          <a:latin typeface="+mn-lt"/>
                          <a:ea typeface="+mn-ea"/>
                          <a:cs typeface="+mn-cs"/>
                        </a:rPr>
                        <a:t>Tiempo menor de 3 horas</a:t>
                      </a:r>
                      <a:endParaRPr lang="es-ES" sz="1900" b="0" i="0" u="none" strike="noStrike" kern="1200" cap="none" spc="0" normalizeH="0" baseline="0" noProof="0" dirty="0">
                        <a:ln>
                          <a:noFill/>
                        </a:ln>
                        <a:solidFill>
                          <a:schemeClr val="tx1"/>
                        </a:solidFill>
                        <a:effectLst/>
                        <a:uFillTx/>
                        <a:latin typeface="+mn-lt"/>
                        <a:ea typeface="+mn-ea"/>
                        <a:cs typeface="+mn-cs"/>
                        <a:sym typeface="Helvetica"/>
                      </a:endParaRPr>
                    </a:p>
                  </a:txBody>
                  <a:tcPr marL="71975" marR="71975" marT="35987" marB="3598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58425844"/>
                  </a:ext>
                </a:extLst>
              </a:tr>
              <a:tr h="742863">
                <a:tc vMerge="1">
                  <a:txBody>
                    <a:bodyPr/>
                    <a:lstStyle/>
                    <a:p>
                      <a:pPr marL="0" lvl="0" algn="ctr" defTabSz="1828800" rtl="0" eaLnBrk="1" fontAlgn="base" latinLnBrk="0" hangingPunct="1">
                        <a:lnSpc>
                          <a:spcPct val="100000"/>
                        </a:lnSpc>
                        <a:spcBef>
                          <a:spcPts val="0"/>
                        </a:spcBef>
                        <a:spcAft>
                          <a:spcPts val="0"/>
                        </a:spcAft>
                        <a:buNone/>
                      </a:pPr>
                      <a:endParaRPr lang="en-GB" altLang="en-US" sz="2000" b="1" i="0" u="none" strike="noStrike" kern="1200" cap="none" spc="0" normalizeH="0" baseline="0">
                        <a:ln>
                          <a:noFill/>
                        </a:ln>
                        <a:solidFill>
                          <a:schemeClr val="tx1"/>
                        </a:solidFill>
                        <a:effectLst/>
                        <a:uFillTx/>
                        <a:latin typeface="+mn-lt"/>
                        <a:ea typeface="+mn-ea"/>
                        <a:cs typeface="+mn-cs"/>
                      </a:endParaRPr>
                    </a:p>
                  </a:txBody>
                  <a:tcPr marL="71975" marR="71975" marT="35987" marB="3598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a:buNone/>
                      </a:pPr>
                      <a:r>
                        <a:rPr lang="es-ES" sz="1900" b="0" i="0" u="none" strike="noStrike" kern="1200" cap="none" spc="0" normalizeH="0" baseline="0" dirty="0">
                          <a:ln>
                            <a:noFill/>
                          </a:ln>
                          <a:solidFill>
                            <a:schemeClr val="tx1"/>
                          </a:solidFill>
                          <a:effectLst/>
                          <a:uFillTx/>
                          <a:latin typeface="Arial"/>
                          <a:ea typeface="+mn-ea"/>
                          <a:cs typeface="+mn-cs"/>
                        </a:rPr>
                        <a:t>Respuesta Performance</a:t>
                      </a:r>
                      <a:endParaRPr lang="es-ES" sz="1900" b="0" i="0" u="none" strike="noStrike" kern="1200" cap="none" spc="0" normalizeH="0" baseline="0" noProof="0" dirty="0">
                        <a:ln>
                          <a:noFill/>
                        </a:ln>
                        <a:solidFill>
                          <a:schemeClr val="tx1"/>
                        </a:solidFill>
                        <a:effectLst/>
                        <a:uFillTx/>
                        <a:latin typeface="Arial"/>
                        <a:ea typeface="+mn-ea"/>
                        <a:cs typeface="+mn-cs"/>
                        <a:sym typeface="Helvetica"/>
                      </a:endParaRPr>
                    </a:p>
                  </a:txBody>
                  <a:tcPr marL="71975" marR="71975" marT="35987" marB="3598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a:buNone/>
                      </a:pPr>
                      <a:r>
                        <a:rPr lang="es-ES" sz="1900" b="0" i="0" u="none" strike="noStrike" kern="1200" cap="none" spc="0" normalizeH="0" baseline="0" dirty="0">
                          <a:ln>
                            <a:noFill/>
                          </a:ln>
                          <a:solidFill>
                            <a:schemeClr val="tx1"/>
                          </a:solidFill>
                          <a:effectLst/>
                          <a:uFillTx/>
                          <a:latin typeface="+mn-lt"/>
                          <a:ea typeface="+mn-ea"/>
                          <a:cs typeface="+mn-cs"/>
                        </a:rPr>
                        <a:t>Tiempo menor de 1 hora</a:t>
                      </a:r>
                      <a:endParaRPr lang="es-ES" sz="1900" b="0" i="0" u="none" strike="noStrike" kern="1200" cap="none" spc="0" normalizeH="0" baseline="0" noProof="0" dirty="0">
                        <a:ln>
                          <a:noFill/>
                        </a:ln>
                        <a:solidFill>
                          <a:schemeClr val="tx1"/>
                        </a:solidFill>
                        <a:effectLst/>
                        <a:uFillTx/>
                        <a:latin typeface="+mn-lt"/>
                        <a:ea typeface="+mn-ea"/>
                        <a:cs typeface="+mn-cs"/>
                        <a:sym typeface="Helvetica"/>
                      </a:endParaRPr>
                    </a:p>
                  </a:txBody>
                  <a:tcPr marL="71975" marR="71975" marT="35987" marB="3598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14126767"/>
                  </a:ext>
                </a:extLst>
              </a:tr>
              <a:tr h="742863">
                <a:tc vMerge="1">
                  <a:txBody>
                    <a:bodyPr/>
                    <a:lstStyle/>
                    <a:p>
                      <a:pPr marL="0" lvl="0" algn="ctr" defTabSz="1828800" rtl="0" eaLnBrk="1" fontAlgn="base" latinLnBrk="0" hangingPunct="1">
                        <a:lnSpc>
                          <a:spcPct val="100000"/>
                        </a:lnSpc>
                        <a:spcBef>
                          <a:spcPts val="0"/>
                        </a:spcBef>
                        <a:spcAft>
                          <a:spcPts val="0"/>
                        </a:spcAft>
                        <a:buNone/>
                      </a:pPr>
                      <a:endParaRPr lang="en-GB" altLang="en-US" sz="2000" b="1" i="0" u="none" strike="noStrike" kern="1200" cap="none" spc="0" normalizeH="0" baseline="0" dirty="0">
                        <a:ln>
                          <a:noFill/>
                        </a:ln>
                        <a:solidFill>
                          <a:schemeClr val="tx1"/>
                        </a:solidFill>
                        <a:effectLst/>
                        <a:uFillTx/>
                        <a:latin typeface="+mn-lt"/>
                        <a:ea typeface="+mn-ea"/>
                        <a:cs typeface="+mn-cs"/>
                      </a:endParaRPr>
                    </a:p>
                  </a:txBody>
                  <a:tcPr marL="71975" marR="71975" marT="35987" marB="3598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lang="es-ES" sz="1900" b="0" i="0" u="none" strike="noStrike" kern="1200" cap="none" spc="0" normalizeH="0" baseline="0" dirty="0">
                          <a:ln>
                            <a:noFill/>
                          </a:ln>
                          <a:solidFill>
                            <a:schemeClr val="tx1"/>
                          </a:solidFill>
                          <a:effectLst/>
                          <a:uFillTx/>
                          <a:latin typeface="Arial"/>
                          <a:ea typeface="+mn-ea"/>
                          <a:cs typeface="+mn-cs"/>
                        </a:rPr>
                        <a:t>Respuesta vulnerabilidades</a:t>
                      </a:r>
                    </a:p>
                  </a:txBody>
                  <a:tcPr marL="71975" marR="71975" marT="35987" marB="3598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indent="0" algn="ctr">
                        <a:buNone/>
                      </a:pPr>
                      <a:endParaRPr lang="es-ES" sz="1900" b="0" i="0" u="none" strike="noStrike" kern="1200" cap="none" spc="0" normalizeH="0" baseline="0" noProof="0" dirty="0">
                        <a:ln>
                          <a:noFill/>
                        </a:ln>
                        <a:solidFill>
                          <a:srgbClr val="AC0000"/>
                        </a:solidFill>
                        <a:effectLst/>
                        <a:uFillTx/>
                        <a:latin typeface="+mn-lt"/>
                        <a:ea typeface="+mn-ea"/>
                        <a:cs typeface="+mn-cs"/>
                        <a:sym typeface="Helvetica"/>
                      </a:endParaRPr>
                    </a:p>
                  </a:txBody>
                  <a:tcPr marL="71975" marR="71975" marT="35987" marB="3598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4114570032"/>
                  </a:ext>
                </a:extLst>
              </a:tr>
              <a:tr h="742863">
                <a:tc vMerge="1">
                  <a:txBody>
                    <a:bodyPr/>
                    <a:lstStyle/>
                    <a:p>
                      <a:pPr marL="0" lvl="0" algn="ctr" defTabSz="1828800" rtl="0" eaLnBrk="1" fontAlgn="base" latinLnBrk="0" hangingPunct="1">
                        <a:lnSpc>
                          <a:spcPct val="100000"/>
                        </a:lnSpc>
                        <a:spcBef>
                          <a:spcPts val="0"/>
                        </a:spcBef>
                        <a:spcAft>
                          <a:spcPts val="0"/>
                        </a:spcAft>
                        <a:buNone/>
                      </a:pPr>
                      <a:endParaRPr lang="en-GB" altLang="en-US" sz="2000" b="1" i="0" u="none" strike="noStrike" kern="1200" cap="none" spc="0" normalizeH="0" baseline="0" dirty="0">
                        <a:ln>
                          <a:noFill/>
                        </a:ln>
                        <a:solidFill>
                          <a:schemeClr val="tx1"/>
                        </a:solidFill>
                        <a:effectLst/>
                        <a:uFillTx/>
                        <a:latin typeface="+mn-lt"/>
                        <a:ea typeface="+mn-ea"/>
                        <a:cs typeface="+mn-cs"/>
                      </a:endParaRPr>
                    </a:p>
                  </a:txBody>
                  <a:tcPr marL="71975" marR="71975" marT="35987" marB="3598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lang="es-ES" sz="1900" b="0" i="0" u="none" strike="noStrike" kern="1200" cap="none" spc="0" normalizeH="0" baseline="0" dirty="0">
                          <a:ln>
                            <a:noFill/>
                          </a:ln>
                          <a:solidFill>
                            <a:schemeClr val="tx1"/>
                          </a:solidFill>
                          <a:effectLst/>
                          <a:uFillTx/>
                          <a:latin typeface="Arial"/>
                          <a:ea typeface="+mn-ea"/>
                          <a:cs typeface="+mn-cs"/>
                        </a:rPr>
                        <a:t>Respuesta Chaos Monkey (Resiliencia)</a:t>
                      </a:r>
                    </a:p>
                  </a:txBody>
                  <a:tcPr marL="71975" marR="71975" marT="35987" marB="3598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indent="0" algn="ctr">
                        <a:buNone/>
                      </a:pPr>
                      <a:endParaRPr lang="es-ES" sz="1900" b="0" i="0" u="none" strike="noStrike" kern="1200" cap="none" spc="0" normalizeH="0" baseline="0" noProof="0" dirty="0">
                        <a:ln>
                          <a:noFill/>
                        </a:ln>
                        <a:solidFill>
                          <a:srgbClr val="AC0000"/>
                        </a:solidFill>
                        <a:effectLst/>
                        <a:uFillTx/>
                        <a:latin typeface="+mn-lt"/>
                        <a:ea typeface="+mn-ea"/>
                        <a:cs typeface="+mn-cs"/>
                        <a:sym typeface="Helvetica"/>
                      </a:endParaRPr>
                    </a:p>
                  </a:txBody>
                  <a:tcPr marL="71975" marR="71975" marT="35987" marB="3598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3524736738"/>
                  </a:ext>
                </a:extLst>
              </a:tr>
              <a:tr h="742863">
                <a:tc rowSpan="2">
                  <a:txBody>
                    <a:bodyPr/>
                    <a:lstStyle/>
                    <a:p>
                      <a:pPr marL="0" lvl="0" algn="ctr" defTabSz="1828800" rtl="0" eaLnBrk="1" fontAlgn="base" latinLnBrk="0" hangingPunct="1">
                        <a:lnSpc>
                          <a:spcPct val="100000"/>
                        </a:lnSpc>
                        <a:spcBef>
                          <a:spcPts val="0"/>
                        </a:spcBef>
                        <a:spcAft>
                          <a:spcPts val="0"/>
                        </a:spcAft>
                        <a:buNone/>
                      </a:pPr>
                      <a:r>
                        <a:rPr lang="en-GB" altLang="en-US" sz="2000" b="1" i="0" u="none" strike="noStrike" kern="1200" cap="none" spc="0" normalizeH="0" baseline="0" dirty="0">
                          <a:ln>
                            <a:noFill/>
                          </a:ln>
                          <a:solidFill>
                            <a:schemeClr val="tx1"/>
                          </a:solidFill>
                          <a:effectLst/>
                          <a:uFillTx/>
                          <a:latin typeface="+mn-lt"/>
                          <a:ea typeface="+mn-ea"/>
                          <a:cs typeface="+mn-cs"/>
                        </a:rPr>
                        <a:t>Despliegue &amp; Empaquetado de releases</a:t>
                      </a:r>
                    </a:p>
                  </a:txBody>
                  <a:tcPr marL="71975" marR="71975" marT="35987" marB="3598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a:buNone/>
                      </a:pPr>
                      <a:r>
                        <a:rPr lang="es-ES" sz="1900" b="0" i="0" u="none" strike="noStrike" kern="1200" cap="none" spc="0" normalizeH="0" baseline="0" noProof="0" dirty="0">
                          <a:ln>
                            <a:noFill/>
                          </a:ln>
                          <a:solidFill>
                            <a:schemeClr val="tx1"/>
                          </a:solidFill>
                          <a:effectLst/>
                          <a:uFillTx/>
                          <a:latin typeface="Arial"/>
                          <a:ea typeface="+mn-ea"/>
                          <a:cs typeface="+mn-cs"/>
                          <a:sym typeface="Helvetica"/>
                        </a:rPr>
                        <a:t>Time to market</a:t>
                      </a:r>
                    </a:p>
                  </a:txBody>
                  <a:tcPr marL="71975" marR="71975" marT="35987" marB="3598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a:buNone/>
                      </a:pPr>
                      <a:r>
                        <a:rPr lang="es-ES" sz="1900" b="0" i="0" u="none" strike="noStrike" kern="1200" cap="none" spc="0" normalizeH="0" baseline="0" noProof="0" dirty="0">
                          <a:ln>
                            <a:noFill/>
                          </a:ln>
                          <a:solidFill>
                            <a:schemeClr val="tx1"/>
                          </a:solidFill>
                          <a:effectLst/>
                          <a:uFillTx/>
                          <a:latin typeface="+mn-lt"/>
                          <a:ea typeface="+mn-ea"/>
                          <a:cs typeface="+mn-cs"/>
                          <a:sym typeface="Helvetica"/>
                        </a:rPr>
                        <a:t>Tiempo menor a 1 dia</a:t>
                      </a:r>
                    </a:p>
                  </a:txBody>
                  <a:tcPr marL="71975" marR="71975" marT="35987" marB="3598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06029350"/>
                  </a:ext>
                </a:extLst>
              </a:tr>
              <a:tr h="742863">
                <a:tc vMerge="1">
                  <a:txBody>
                    <a:bodyPr/>
                    <a:lstStyle/>
                    <a:p>
                      <a:pPr marL="0" lvl="0" algn="ctr" defTabSz="1828800" rtl="0" eaLnBrk="1" fontAlgn="base" latinLnBrk="0" hangingPunct="1">
                        <a:lnSpc>
                          <a:spcPct val="100000"/>
                        </a:lnSpc>
                        <a:spcBef>
                          <a:spcPts val="0"/>
                        </a:spcBef>
                        <a:spcAft>
                          <a:spcPts val="0"/>
                        </a:spcAft>
                        <a:buNone/>
                      </a:pPr>
                      <a:endParaRPr lang="en-GB" altLang="en-US" sz="2000" b="1" i="0" u="none" strike="noStrike" kern="1200" cap="none" spc="0" normalizeH="0" baseline="0">
                        <a:ln>
                          <a:noFill/>
                        </a:ln>
                        <a:solidFill>
                          <a:schemeClr val="tx1"/>
                        </a:solidFill>
                        <a:effectLst/>
                        <a:uFillTx/>
                        <a:latin typeface="+mn-lt"/>
                        <a:ea typeface="+mn-ea"/>
                        <a:cs typeface="+mn-cs"/>
                      </a:endParaRPr>
                    </a:p>
                  </a:txBody>
                  <a:tcPr marL="71975" marR="71975" marT="35987" marB="3598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a:buNone/>
                      </a:pPr>
                      <a:r>
                        <a:rPr lang="es-ES" sz="1900" b="0" i="0" u="none" strike="noStrike" kern="1200" cap="none" spc="0" normalizeH="0" baseline="0" noProof="0" dirty="0">
                          <a:ln>
                            <a:noFill/>
                          </a:ln>
                          <a:solidFill>
                            <a:schemeClr val="tx1"/>
                          </a:solidFill>
                          <a:effectLst/>
                          <a:uFillTx/>
                          <a:latin typeface="Arial"/>
                          <a:ea typeface="+mn-ea"/>
                          <a:cs typeface="+mn-cs"/>
                          <a:sym typeface="Helvetica"/>
                        </a:rPr>
                        <a:t>Time to deploy release</a:t>
                      </a:r>
                    </a:p>
                  </a:txBody>
                  <a:tcPr marL="71975" marR="71975" marT="35987" marB="3598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a:buNone/>
                      </a:pPr>
                      <a:r>
                        <a:rPr lang="es-ES" sz="1900" b="0" i="0" u="none" strike="noStrike" kern="1200" cap="none" spc="0" normalizeH="0" baseline="0" noProof="0" dirty="0">
                          <a:ln>
                            <a:noFill/>
                          </a:ln>
                          <a:solidFill>
                            <a:schemeClr val="tx1"/>
                          </a:solidFill>
                          <a:effectLst/>
                          <a:uFillTx/>
                          <a:latin typeface="+mn-lt"/>
                          <a:ea typeface="+mn-ea"/>
                          <a:cs typeface="+mn-cs"/>
                          <a:sym typeface="Helvetica"/>
                        </a:rPr>
                        <a:t>Tiempo menor a 1 hora</a:t>
                      </a:r>
                    </a:p>
                  </a:txBody>
                  <a:tcPr marL="71975" marR="71975" marT="35987" marB="3598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22082220"/>
                  </a:ext>
                </a:extLst>
              </a:tr>
            </a:tbl>
          </a:graphicData>
        </a:graphic>
      </p:graphicFrame>
      <p:sp>
        <p:nvSpPr>
          <p:cNvPr id="36" name="Rectangle 483">
            <a:extLst>
              <a:ext uri="{FF2B5EF4-FFF2-40B4-BE49-F238E27FC236}">
                <a16:creationId xmlns:a16="http://schemas.microsoft.com/office/drawing/2014/main" id="{157EE8BD-0DA6-43A4-90BD-31054BA0F5F7}"/>
              </a:ext>
            </a:extLst>
          </p:cNvPr>
          <p:cNvSpPr>
            <a:spLocks noChangeArrowheads="1"/>
          </p:cNvSpPr>
          <p:nvPr/>
        </p:nvSpPr>
        <p:spPr bwMode="auto">
          <a:xfrm>
            <a:off x="1514196" y="6235402"/>
            <a:ext cx="2572877" cy="973523"/>
          </a:xfrm>
          <a:prstGeom prst="rect">
            <a:avLst/>
          </a:prstGeom>
          <a:solidFill>
            <a:schemeClr val="accent1">
              <a:lumMod val="20000"/>
              <a:lumOff val="8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a:solidFill>
                  <a:schemeClr val="tx1"/>
                </a:solidFill>
                <a:latin typeface="Arial" panose="020B0604020202020204"/>
                <a:ea typeface="MS PGothic"/>
              </a:rPr>
              <a:t>Desarrollo de releases</a:t>
            </a:r>
          </a:p>
        </p:txBody>
      </p:sp>
      <p:sp>
        <p:nvSpPr>
          <p:cNvPr id="37" name="Rectangle 495">
            <a:extLst>
              <a:ext uri="{FF2B5EF4-FFF2-40B4-BE49-F238E27FC236}">
                <a16:creationId xmlns:a16="http://schemas.microsoft.com/office/drawing/2014/main" id="{296AD9F3-E028-47AC-A818-0043E839B495}"/>
              </a:ext>
            </a:extLst>
          </p:cNvPr>
          <p:cNvSpPr>
            <a:spLocks noChangeArrowheads="1"/>
          </p:cNvSpPr>
          <p:nvPr/>
        </p:nvSpPr>
        <p:spPr bwMode="auto">
          <a:xfrm>
            <a:off x="1514196" y="4003041"/>
            <a:ext cx="2572877" cy="973523"/>
          </a:xfrm>
          <a:prstGeom prst="rect">
            <a:avLst/>
          </a:prstGeom>
          <a:solidFill>
            <a:schemeClr val="accent1">
              <a:lumMod val="20000"/>
              <a:lumOff val="8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a:solidFill>
                  <a:schemeClr val="tx1"/>
                </a:solidFill>
                <a:latin typeface="Arial" panose="020B0604020202020204"/>
                <a:ea typeface="MS PGothic"/>
                <a:cs typeface="+mn-cs"/>
              </a:rPr>
              <a:t>Diseño &amp; Arquitectura de servicios</a:t>
            </a:r>
            <a:endParaRPr lang="en-US" sz="1400" b="1">
              <a:solidFill>
                <a:schemeClr val="tx1"/>
              </a:solidFill>
              <a:latin typeface="Arial" panose="020B0604020202020204"/>
              <a:ea typeface="MS PGothic"/>
              <a:cs typeface="+mn-cs"/>
            </a:endParaRPr>
          </a:p>
        </p:txBody>
      </p:sp>
      <p:sp>
        <p:nvSpPr>
          <p:cNvPr id="38" name="Rectangle 101">
            <a:extLst>
              <a:ext uri="{FF2B5EF4-FFF2-40B4-BE49-F238E27FC236}">
                <a16:creationId xmlns:a16="http://schemas.microsoft.com/office/drawing/2014/main" id="{2C48D04D-C0DC-4DD0-B466-7A8373196E44}"/>
              </a:ext>
            </a:extLst>
          </p:cNvPr>
          <p:cNvSpPr/>
          <p:nvPr/>
        </p:nvSpPr>
        <p:spPr>
          <a:xfrm>
            <a:off x="1514196" y="2466930"/>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solidFill>
                <a:latin typeface="Arial" panose="020B0604020202020204"/>
                <a:ea typeface="MS PGothic"/>
              </a:rPr>
              <a:t>CI / CD de releases</a:t>
            </a:r>
            <a:endParaRPr lang="en-GB" sz="1600" b="1" dirty="0">
              <a:solidFill>
                <a:schemeClr val="bg1"/>
              </a:solidFill>
              <a:latin typeface="Arial" panose="020B0604020202020204"/>
              <a:ea typeface="MS PGothic"/>
              <a:cs typeface="Arial"/>
            </a:endParaRPr>
          </a:p>
        </p:txBody>
      </p:sp>
      <p:sp>
        <p:nvSpPr>
          <p:cNvPr id="39" name="Rectangle 491">
            <a:extLst>
              <a:ext uri="{FF2B5EF4-FFF2-40B4-BE49-F238E27FC236}">
                <a16:creationId xmlns:a16="http://schemas.microsoft.com/office/drawing/2014/main" id="{A47B288A-4F2D-4CEE-9A3C-6EE379DFF86B}"/>
              </a:ext>
            </a:extLst>
          </p:cNvPr>
          <p:cNvSpPr>
            <a:spLocks noChangeArrowheads="1"/>
          </p:cNvSpPr>
          <p:nvPr/>
        </p:nvSpPr>
        <p:spPr bwMode="auto">
          <a:xfrm>
            <a:off x="1514196" y="9566070"/>
            <a:ext cx="2572877" cy="973523"/>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solidFill>
                <a:latin typeface="Arial" panose="020B0604020202020204"/>
                <a:ea typeface="MS PGothic"/>
              </a:rPr>
              <a:t>Despliegue &amp; Empaquetado de releases</a:t>
            </a:r>
          </a:p>
        </p:txBody>
      </p:sp>
      <p:sp>
        <p:nvSpPr>
          <p:cNvPr id="40" name="Rectangle 491">
            <a:extLst>
              <a:ext uri="{FF2B5EF4-FFF2-40B4-BE49-F238E27FC236}">
                <a16:creationId xmlns:a16="http://schemas.microsoft.com/office/drawing/2014/main" id="{0E0BADC0-8F20-427A-8332-2FC6381816DC}"/>
              </a:ext>
            </a:extLst>
          </p:cNvPr>
          <p:cNvSpPr>
            <a:spLocks noChangeArrowheads="1"/>
          </p:cNvSpPr>
          <p:nvPr/>
        </p:nvSpPr>
        <p:spPr bwMode="auto">
          <a:xfrm>
            <a:off x="1514196" y="7350391"/>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a:solidFill>
                  <a:srgbClr val="000000"/>
                </a:solidFill>
                <a:latin typeface="Arial"/>
                <a:ea typeface="MS PGothic"/>
                <a:cs typeface="Arial"/>
              </a:rPr>
              <a:t>Gestión &amp; Integración de APIs</a:t>
            </a:r>
          </a:p>
        </p:txBody>
      </p:sp>
      <p:sp>
        <p:nvSpPr>
          <p:cNvPr id="41" name="Rectangle 487">
            <a:extLst>
              <a:ext uri="{FF2B5EF4-FFF2-40B4-BE49-F238E27FC236}">
                <a16:creationId xmlns:a16="http://schemas.microsoft.com/office/drawing/2014/main" id="{B39D8B17-3AB3-488A-B7BF-3AE2C8B43969}"/>
              </a:ext>
            </a:extLst>
          </p:cNvPr>
          <p:cNvSpPr>
            <a:spLocks noChangeArrowheads="1"/>
          </p:cNvSpPr>
          <p:nvPr/>
        </p:nvSpPr>
        <p:spPr bwMode="auto">
          <a:xfrm>
            <a:off x="1514196" y="8460226"/>
            <a:ext cx="2572877" cy="973523"/>
          </a:xfrm>
          <a:prstGeom prst="rect">
            <a:avLst/>
          </a:prstGeom>
          <a:solidFill>
            <a:schemeClr val="accent1">
              <a:lumMod val="20000"/>
              <a:lumOff val="8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a:solidFill>
                  <a:schemeClr val="tx1"/>
                </a:solidFill>
                <a:latin typeface="Arial" panose="020B0604020202020204"/>
                <a:ea typeface="MS PGothic"/>
              </a:rPr>
              <a:t>Integración QA &amp; testing de releases</a:t>
            </a:r>
          </a:p>
        </p:txBody>
      </p:sp>
      <p:sp>
        <p:nvSpPr>
          <p:cNvPr id="42" name="Rectangle 491">
            <a:extLst>
              <a:ext uri="{FF2B5EF4-FFF2-40B4-BE49-F238E27FC236}">
                <a16:creationId xmlns:a16="http://schemas.microsoft.com/office/drawing/2014/main" id="{92D74D70-D378-48C7-9B77-0A04563ACC88}"/>
              </a:ext>
            </a:extLst>
          </p:cNvPr>
          <p:cNvSpPr>
            <a:spLocks noChangeArrowheads="1"/>
          </p:cNvSpPr>
          <p:nvPr/>
        </p:nvSpPr>
        <p:spPr bwMode="auto">
          <a:xfrm>
            <a:off x="1497083" y="5120413"/>
            <a:ext cx="2572877" cy="973523"/>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solidFill>
                <a:latin typeface="Arial" panose="020B0604020202020204"/>
                <a:ea typeface="MS PGothic"/>
                <a:cs typeface="+mn-cs"/>
              </a:rPr>
              <a:t>Gestión &amp; Configuración de versiones</a:t>
            </a:r>
          </a:p>
        </p:txBody>
      </p:sp>
      <p:sp>
        <p:nvSpPr>
          <p:cNvPr id="20" name="Elipse 19">
            <a:extLst>
              <a:ext uri="{FF2B5EF4-FFF2-40B4-BE49-F238E27FC236}">
                <a16:creationId xmlns:a16="http://schemas.microsoft.com/office/drawing/2014/main" id="{A97E7284-D11F-4B67-80C6-4BD7ADCB6920}"/>
              </a:ext>
            </a:extLst>
          </p:cNvPr>
          <p:cNvSpPr/>
          <p:nvPr/>
        </p:nvSpPr>
        <p:spPr>
          <a:xfrm>
            <a:off x="1370525" y="6093936"/>
            <a:ext cx="2860218" cy="1337069"/>
          </a:xfrm>
          <a:prstGeom prst="ellipse">
            <a:avLst/>
          </a:prstGeom>
          <a:noFill/>
          <a:ln w="28575">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1" name="Elipse 20">
            <a:extLst>
              <a:ext uri="{FF2B5EF4-FFF2-40B4-BE49-F238E27FC236}">
                <a16:creationId xmlns:a16="http://schemas.microsoft.com/office/drawing/2014/main" id="{E0BD6808-FD33-43B8-9631-1C15F1F74756}"/>
              </a:ext>
            </a:extLst>
          </p:cNvPr>
          <p:cNvSpPr/>
          <p:nvPr/>
        </p:nvSpPr>
        <p:spPr>
          <a:xfrm>
            <a:off x="1353412" y="8323914"/>
            <a:ext cx="2860218" cy="1337069"/>
          </a:xfrm>
          <a:prstGeom prst="ellipse">
            <a:avLst/>
          </a:prstGeom>
          <a:noFill/>
          <a:ln w="28575">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2" name="Elipse 21">
            <a:extLst>
              <a:ext uri="{FF2B5EF4-FFF2-40B4-BE49-F238E27FC236}">
                <a16:creationId xmlns:a16="http://schemas.microsoft.com/office/drawing/2014/main" id="{C5E5C3DB-BAD9-4701-8620-D9C37864F152}"/>
              </a:ext>
            </a:extLst>
          </p:cNvPr>
          <p:cNvSpPr/>
          <p:nvPr/>
        </p:nvSpPr>
        <p:spPr>
          <a:xfrm>
            <a:off x="1360748" y="9384296"/>
            <a:ext cx="2860218" cy="1337069"/>
          </a:xfrm>
          <a:prstGeom prst="ellipse">
            <a:avLst/>
          </a:prstGeom>
          <a:noFill/>
          <a:ln w="28575">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3" name="CuadroTexto 22">
            <a:extLst>
              <a:ext uri="{FF2B5EF4-FFF2-40B4-BE49-F238E27FC236}">
                <a16:creationId xmlns:a16="http://schemas.microsoft.com/office/drawing/2014/main" id="{02B76618-C01F-4348-B84A-1A612C867FCF}"/>
              </a:ext>
            </a:extLst>
          </p:cNvPr>
          <p:cNvSpPr txBox="1"/>
          <p:nvPr/>
        </p:nvSpPr>
        <p:spPr>
          <a:xfrm>
            <a:off x="6943741" y="11628301"/>
            <a:ext cx="4942380" cy="369332"/>
          </a:xfrm>
          <a:prstGeom prst="rect">
            <a:avLst/>
          </a:prstGeom>
          <a:noFill/>
        </p:spPr>
        <p:txBody>
          <a:bodyPr wrap="none" rtlCol="0">
            <a:spAutoFit/>
          </a:bodyPr>
          <a:lstStyle/>
          <a:p>
            <a:r>
              <a:rPr lang="es-ES" sz="1800" dirty="0"/>
              <a:t>* KPIs en rojo pendientes de Testing (SanTec)</a:t>
            </a:r>
          </a:p>
        </p:txBody>
      </p:sp>
    </p:spTree>
    <p:extLst>
      <p:ext uri="{BB962C8B-B14F-4D97-AF65-F5344CB8AC3E}">
        <p14:creationId xmlns:p14="http://schemas.microsoft.com/office/powerpoint/2010/main" val="154366953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248FB0C6-B876-461A-9CE7-50C16585B429}"/>
              </a:ext>
            </a:extLst>
          </p:cNvPr>
          <p:cNvSpPr/>
          <p:nvPr/>
        </p:nvSpPr>
        <p:spPr>
          <a:xfrm>
            <a:off x="933441" y="4016743"/>
            <a:ext cx="14815747" cy="7138499"/>
          </a:xfrm>
          <a:prstGeom prst="rect">
            <a:avLst/>
          </a:prstGeom>
          <a:solidFill>
            <a:schemeClr val="bg1">
              <a:lumMod val="95000"/>
            </a:schemeClr>
          </a:solidFill>
          <a:ln w="25400" cap="flat" cmpd="sng" algn="ctr">
            <a:solidFill>
              <a:schemeClr val="accent1"/>
            </a:solidFill>
            <a:prstDash val="solid"/>
          </a:ln>
          <a:effectLst>
            <a:outerShdw blurRad="50800" dist="76200" dir="2700000" algn="tl" rotWithShape="0">
              <a:prstClr val="black">
                <a:alpha val="40000"/>
              </a:prstClr>
            </a:outerShdw>
          </a:effectLst>
        </p:spPr>
        <p:txBody>
          <a:bodyPr lIns="0" rIns="0" anchor="ctr"/>
          <a:lstStyle/>
          <a:p>
            <a:pPr algn="ctr" defTabSz="937937">
              <a:defRPr/>
            </a:pPr>
            <a:endParaRPr lang="en-US" sz="1400" b="1" kern="0" dirty="0">
              <a:solidFill>
                <a:srgbClr val="FFFFFF"/>
              </a:solidFill>
              <a:latin typeface="Arial" panose="020B0604020202020204"/>
            </a:endParaRPr>
          </a:p>
        </p:txBody>
      </p:sp>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sp>
        <p:nvSpPr>
          <p:cNvPr id="248" name="Freeform 93">
            <a:extLst>
              <a:ext uri="{FF2B5EF4-FFF2-40B4-BE49-F238E27FC236}">
                <a16:creationId xmlns:a16="http://schemas.microsoft.com/office/drawing/2014/main" id="{DFA08D17-6113-4313-A801-61891899DE14}"/>
              </a:ext>
            </a:extLst>
          </p:cNvPr>
          <p:cNvSpPr>
            <a:spLocks noEditPoints="1"/>
          </p:cNvSpPr>
          <p:nvPr/>
        </p:nvSpPr>
        <p:spPr bwMode="auto">
          <a:xfrm>
            <a:off x="19539220" y="9412747"/>
            <a:ext cx="1082437" cy="577150"/>
          </a:xfrm>
          <a:custGeom>
            <a:avLst/>
            <a:gdLst>
              <a:gd name="T0" fmla="*/ 2147483646 w 485"/>
              <a:gd name="T1" fmla="*/ 2147483646 h 259"/>
              <a:gd name="T2" fmla="*/ 2147483646 w 485"/>
              <a:gd name="T3" fmla="*/ 2147483646 h 259"/>
              <a:gd name="T4" fmla="*/ 2147483646 w 485"/>
              <a:gd name="T5" fmla="*/ 0 h 259"/>
              <a:gd name="T6" fmla="*/ 2147483646 w 485"/>
              <a:gd name="T7" fmla="*/ 2147483646 h 259"/>
              <a:gd name="T8" fmla="*/ 2147483646 w 485"/>
              <a:gd name="T9" fmla="*/ 2147483646 h 259"/>
              <a:gd name="T10" fmla="*/ 2147483646 w 485"/>
              <a:gd name="T11" fmla="*/ 2147483646 h 259"/>
              <a:gd name="T12" fmla="*/ 0 w 485"/>
              <a:gd name="T13" fmla="*/ 2147483646 h 259"/>
              <a:gd name="T14" fmla="*/ 2147483646 w 485"/>
              <a:gd name="T15" fmla="*/ 2147483646 h 259"/>
              <a:gd name="T16" fmla="*/ 2147483646 w 485"/>
              <a:gd name="T17" fmla="*/ 2147483646 h 259"/>
              <a:gd name="T18" fmla="*/ 2147483646 w 485"/>
              <a:gd name="T19" fmla="*/ 2147483646 h 259"/>
              <a:gd name="T20" fmla="*/ 2147483646 w 485"/>
              <a:gd name="T21" fmla="*/ 2147483646 h 259"/>
              <a:gd name="T22" fmla="*/ 2147483646 w 485"/>
              <a:gd name="T23" fmla="*/ 2147483646 h 259"/>
              <a:gd name="T24" fmla="*/ 2147483646 w 485"/>
              <a:gd name="T25" fmla="*/ 2147483646 h 259"/>
              <a:gd name="T26" fmla="*/ 2147483646 w 485"/>
              <a:gd name="T27" fmla="*/ 2147483646 h 259"/>
              <a:gd name="T28" fmla="*/ 2147483646 w 485"/>
              <a:gd name="T29" fmla="*/ 2147483646 h 259"/>
              <a:gd name="T30" fmla="*/ 2147483646 w 485"/>
              <a:gd name="T31" fmla="*/ 2147483646 h 259"/>
              <a:gd name="T32" fmla="*/ 2147483646 w 485"/>
              <a:gd name="T33" fmla="*/ 2147483646 h 259"/>
              <a:gd name="T34" fmla="*/ 2147483646 w 485"/>
              <a:gd name="T35" fmla="*/ 0 h 259"/>
              <a:gd name="T36" fmla="*/ 2147483646 w 485"/>
              <a:gd name="T37" fmla="*/ 2147483646 h 259"/>
              <a:gd name="T38" fmla="*/ 2147483646 w 485"/>
              <a:gd name="T39" fmla="*/ 2147483646 h 259"/>
              <a:gd name="T40" fmla="*/ 2147483646 w 485"/>
              <a:gd name="T41" fmla="*/ 2147483646 h 259"/>
              <a:gd name="T42" fmla="*/ 2147483646 w 485"/>
              <a:gd name="T43" fmla="*/ 2147483646 h 259"/>
              <a:gd name="T44" fmla="*/ 2147483646 w 485"/>
              <a:gd name="T45" fmla="*/ 2147483646 h 259"/>
              <a:gd name="T46" fmla="*/ 2147483646 w 485"/>
              <a:gd name="T47" fmla="*/ 2147483646 h 259"/>
              <a:gd name="T48" fmla="*/ 2147483646 w 485"/>
              <a:gd name="T49" fmla="*/ 2147483646 h 259"/>
              <a:gd name="T50" fmla="*/ 2147483646 w 485"/>
              <a:gd name="T51" fmla="*/ 2147483646 h 259"/>
              <a:gd name="T52" fmla="*/ 2147483646 w 485"/>
              <a:gd name="T53" fmla="*/ 2147483646 h 25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85" h="259">
                <a:moveTo>
                  <a:pt x="152" y="39"/>
                </a:moveTo>
                <a:cubicBezTo>
                  <a:pt x="152" y="28"/>
                  <a:pt x="154" y="18"/>
                  <a:pt x="157" y="9"/>
                </a:cubicBezTo>
                <a:cubicBezTo>
                  <a:pt x="147" y="3"/>
                  <a:pt x="136" y="0"/>
                  <a:pt x="123" y="0"/>
                </a:cubicBezTo>
                <a:cubicBezTo>
                  <a:pt x="88" y="0"/>
                  <a:pt x="60" y="25"/>
                  <a:pt x="60" y="65"/>
                </a:cubicBezTo>
                <a:cubicBezTo>
                  <a:pt x="60" y="97"/>
                  <a:pt x="78" y="128"/>
                  <a:pt x="103" y="140"/>
                </a:cubicBezTo>
                <a:cubicBezTo>
                  <a:pt x="103" y="165"/>
                  <a:pt x="103" y="165"/>
                  <a:pt x="103" y="165"/>
                </a:cubicBezTo>
                <a:cubicBezTo>
                  <a:pt x="22" y="170"/>
                  <a:pt x="6" y="204"/>
                  <a:pt x="0" y="247"/>
                </a:cubicBezTo>
                <a:cubicBezTo>
                  <a:pt x="84" y="259"/>
                  <a:pt x="84" y="259"/>
                  <a:pt x="84" y="259"/>
                </a:cubicBezTo>
                <a:cubicBezTo>
                  <a:pt x="84" y="245"/>
                  <a:pt x="84" y="245"/>
                  <a:pt x="84" y="245"/>
                </a:cubicBezTo>
                <a:cubicBezTo>
                  <a:pt x="88" y="219"/>
                  <a:pt x="94" y="192"/>
                  <a:pt x="114" y="171"/>
                </a:cubicBezTo>
                <a:cubicBezTo>
                  <a:pt x="131" y="153"/>
                  <a:pt x="159" y="140"/>
                  <a:pt x="202" y="135"/>
                </a:cubicBezTo>
                <a:cubicBezTo>
                  <a:pt x="202" y="135"/>
                  <a:pt x="202" y="135"/>
                  <a:pt x="202" y="135"/>
                </a:cubicBezTo>
                <a:cubicBezTo>
                  <a:pt x="173" y="116"/>
                  <a:pt x="152" y="79"/>
                  <a:pt x="152" y="39"/>
                </a:cubicBezTo>
                <a:close/>
                <a:moveTo>
                  <a:pt x="481" y="229"/>
                </a:moveTo>
                <a:cubicBezTo>
                  <a:pt x="472" y="194"/>
                  <a:pt x="450" y="169"/>
                  <a:pt x="382" y="165"/>
                </a:cubicBezTo>
                <a:cubicBezTo>
                  <a:pt x="382" y="140"/>
                  <a:pt x="382" y="140"/>
                  <a:pt x="382" y="140"/>
                </a:cubicBezTo>
                <a:cubicBezTo>
                  <a:pt x="407" y="128"/>
                  <a:pt x="425" y="97"/>
                  <a:pt x="425" y="65"/>
                </a:cubicBezTo>
                <a:cubicBezTo>
                  <a:pt x="425" y="25"/>
                  <a:pt x="397" y="0"/>
                  <a:pt x="361" y="0"/>
                </a:cubicBezTo>
                <a:cubicBezTo>
                  <a:pt x="349" y="0"/>
                  <a:pt x="338" y="3"/>
                  <a:pt x="328" y="9"/>
                </a:cubicBezTo>
                <a:cubicBezTo>
                  <a:pt x="331" y="18"/>
                  <a:pt x="333" y="28"/>
                  <a:pt x="333" y="39"/>
                </a:cubicBezTo>
                <a:cubicBezTo>
                  <a:pt x="333" y="79"/>
                  <a:pt x="312" y="116"/>
                  <a:pt x="283" y="135"/>
                </a:cubicBezTo>
                <a:cubicBezTo>
                  <a:pt x="283" y="135"/>
                  <a:pt x="283" y="135"/>
                  <a:pt x="283" y="135"/>
                </a:cubicBezTo>
                <a:cubicBezTo>
                  <a:pt x="324" y="139"/>
                  <a:pt x="352" y="151"/>
                  <a:pt x="369" y="168"/>
                </a:cubicBezTo>
                <a:cubicBezTo>
                  <a:pt x="391" y="189"/>
                  <a:pt x="397" y="218"/>
                  <a:pt x="401" y="245"/>
                </a:cubicBezTo>
                <a:cubicBezTo>
                  <a:pt x="401" y="259"/>
                  <a:pt x="401" y="259"/>
                  <a:pt x="401" y="259"/>
                </a:cubicBezTo>
                <a:cubicBezTo>
                  <a:pt x="485" y="247"/>
                  <a:pt x="485" y="247"/>
                  <a:pt x="485" y="247"/>
                </a:cubicBezTo>
                <a:cubicBezTo>
                  <a:pt x="484" y="241"/>
                  <a:pt x="483" y="235"/>
                  <a:pt x="481" y="2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49" name="Freeform 94">
            <a:extLst>
              <a:ext uri="{FF2B5EF4-FFF2-40B4-BE49-F238E27FC236}">
                <a16:creationId xmlns:a16="http://schemas.microsoft.com/office/drawing/2014/main" id="{7E380BFC-7D03-4C67-A7E7-E0C5DA2807E5}"/>
              </a:ext>
            </a:extLst>
          </p:cNvPr>
          <p:cNvSpPr>
            <a:spLocks/>
          </p:cNvSpPr>
          <p:nvPr/>
        </p:nvSpPr>
        <p:spPr bwMode="auto">
          <a:xfrm>
            <a:off x="19916327" y="9342790"/>
            <a:ext cx="328223" cy="374273"/>
          </a:xfrm>
          <a:custGeom>
            <a:avLst/>
            <a:gdLst>
              <a:gd name="T0" fmla="*/ 2147483646 w 147"/>
              <a:gd name="T1" fmla="*/ 2147483646 h 166"/>
              <a:gd name="T2" fmla="*/ 2147483646 w 147"/>
              <a:gd name="T3" fmla="*/ 2147483646 h 166"/>
              <a:gd name="T4" fmla="*/ 2147483646 w 147"/>
              <a:gd name="T5" fmla="*/ 2147483646 h 166"/>
              <a:gd name="T6" fmla="*/ 2147483646 w 147"/>
              <a:gd name="T7" fmla="*/ 0 h 166"/>
              <a:gd name="T8" fmla="*/ 0 w 147"/>
              <a:gd name="T9" fmla="*/ 2147483646 h 166"/>
              <a:gd name="T10" fmla="*/ 2147483646 w 147"/>
              <a:gd name="T11" fmla="*/ 2147483646 h 166"/>
              <a:gd name="T12" fmla="*/ 2147483646 w 147"/>
              <a:gd name="T13" fmla="*/ 2147483646 h 16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7" h="166">
                <a:moveTo>
                  <a:pt x="74" y="166"/>
                </a:moveTo>
                <a:cubicBezTo>
                  <a:pt x="86" y="166"/>
                  <a:pt x="97" y="160"/>
                  <a:pt x="97" y="160"/>
                </a:cubicBezTo>
                <a:cubicBezTo>
                  <a:pt x="126" y="147"/>
                  <a:pt x="147" y="111"/>
                  <a:pt x="147" y="74"/>
                </a:cubicBezTo>
                <a:cubicBezTo>
                  <a:pt x="147" y="29"/>
                  <a:pt x="114" y="0"/>
                  <a:pt x="73" y="0"/>
                </a:cubicBezTo>
                <a:cubicBezTo>
                  <a:pt x="33" y="0"/>
                  <a:pt x="0" y="29"/>
                  <a:pt x="0" y="74"/>
                </a:cubicBezTo>
                <a:cubicBezTo>
                  <a:pt x="0" y="111"/>
                  <a:pt x="21" y="147"/>
                  <a:pt x="50" y="160"/>
                </a:cubicBezTo>
                <a:cubicBezTo>
                  <a:pt x="50" y="160"/>
                  <a:pt x="62" y="166"/>
                  <a:pt x="74" y="16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0" name="Freeform 95">
            <a:extLst>
              <a:ext uri="{FF2B5EF4-FFF2-40B4-BE49-F238E27FC236}">
                <a16:creationId xmlns:a16="http://schemas.microsoft.com/office/drawing/2014/main" id="{CFE0C78D-9CDB-4DDD-B535-59A7535F154D}"/>
              </a:ext>
            </a:extLst>
          </p:cNvPr>
          <p:cNvSpPr>
            <a:spLocks/>
          </p:cNvSpPr>
          <p:nvPr/>
        </p:nvSpPr>
        <p:spPr bwMode="auto">
          <a:xfrm>
            <a:off x="20108373" y="9745044"/>
            <a:ext cx="289815" cy="293821"/>
          </a:xfrm>
          <a:custGeom>
            <a:avLst/>
            <a:gdLst>
              <a:gd name="T0" fmla="*/ 2147483646 w 129"/>
              <a:gd name="T1" fmla="*/ 2147483646 h 130"/>
              <a:gd name="T2" fmla="*/ 2147483646 w 129"/>
              <a:gd name="T3" fmla="*/ 0 h 130"/>
              <a:gd name="T4" fmla="*/ 0 w 129"/>
              <a:gd name="T5" fmla="*/ 2147483646 h 130"/>
              <a:gd name="T6" fmla="*/ 2147483646 w 129"/>
              <a:gd name="T7" fmla="*/ 2147483646 h 130"/>
              <a:gd name="T8" fmla="*/ 2147483646 w 129"/>
              <a:gd name="T9" fmla="*/ 2147483646 h 13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0">
                <a:moveTo>
                  <a:pt x="127" y="80"/>
                </a:moveTo>
                <a:cubicBezTo>
                  <a:pt x="118" y="39"/>
                  <a:pt x="104" y="7"/>
                  <a:pt x="30" y="0"/>
                </a:cubicBezTo>
                <a:cubicBezTo>
                  <a:pt x="0" y="130"/>
                  <a:pt x="0" y="130"/>
                  <a:pt x="0" y="130"/>
                </a:cubicBezTo>
                <a:cubicBezTo>
                  <a:pt x="90" y="129"/>
                  <a:pt x="129" y="118"/>
                  <a:pt x="129" y="118"/>
                </a:cubicBezTo>
                <a:cubicBezTo>
                  <a:pt x="128" y="113"/>
                  <a:pt x="128" y="85"/>
                  <a:pt x="127" y="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1" name="Freeform 96">
            <a:extLst>
              <a:ext uri="{FF2B5EF4-FFF2-40B4-BE49-F238E27FC236}">
                <a16:creationId xmlns:a16="http://schemas.microsoft.com/office/drawing/2014/main" id="{65534B48-27DF-4CC8-BFED-596256A0D4E4}"/>
              </a:ext>
            </a:extLst>
          </p:cNvPr>
          <p:cNvSpPr>
            <a:spLocks/>
          </p:cNvSpPr>
          <p:nvPr/>
        </p:nvSpPr>
        <p:spPr bwMode="auto">
          <a:xfrm>
            <a:off x="19766184" y="9745044"/>
            <a:ext cx="286322" cy="293821"/>
          </a:xfrm>
          <a:custGeom>
            <a:avLst/>
            <a:gdLst>
              <a:gd name="T0" fmla="*/ 2147483646 w 129"/>
              <a:gd name="T1" fmla="*/ 2147483646 h 131"/>
              <a:gd name="T2" fmla="*/ 0 w 129"/>
              <a:gd name="T3" fmla="*/ 2147483646 h 131"/>
              <a:gd name="T4" fmla="*/ 2147483646 w 129"/>
              <a:gd name="T5" fmla="*/ 2147483646 h 131"/>
              <a:gd name="T6" fmla="*/ 2147483646 w 129"/>
              <a:gd name="T7" fmla="*/ 0 h 131"/>
              <a:gd name="T8" fmla="*/ 2147483646 w 129"/>
              <a:gd name="T9" fmla="*/ 2147483646 h 1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1">
                <a:moveTo>
                  <a:pt x="2" y="82"/>
                </a:moveTo>
                <a:cubicBezTo>
                  <a:pt x="1" y="86"/>
                  <a:pt x="0" y="114"/>
                  <a:pt x="0" y="118"/>
                </a:cubicBezTo>
                <a:cubicBezTo>
                  <a:pt x="0" y="118"/>
                  <a:pt x="33" y="130"/>
                  <a:pt x="129" y="131"/>
                </a:cubicBezTo>
                <a:cubicBezTo>
                  <a:pt x="99" y="0"/>
                  <a:pt x="99" y="0"/>
                  <a:pt x="99" y="0"/>
                </a:cubicBezTo>
                <a:cubicBezTo>
                  <a:pt x="23" y="7"/>
                  <a:pt x="10" y="40"/>
                  <a:pt x="2" y="8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2" name="Freeform 97">
            <a:extLst>
              <a:ext uri="{FF2B5EF4-FFF2-40B4-BE49-F238E27FC236}">
                <a16:creationId xmlns:a16="http://schemas.microsoft.com/office/drawing/2014/main" id="{A4D6FEB1-9066-4C24-B822-75FA13D9DE25}"/>
              </a:ext>
            </a:extLst>
          </p:cNvPr>
          <p:cNvSpPr>
            <a:spLocks/>
          </p:cNvSpPr>
          <p:nvPr/>
        </p:nvSpPr>
        <p:spPr bwMode="auto">
          <a:xfrm>
            <a:off x="20045522" y="9748543"/>
            <a:ext cx="69835" cy="38478"/>
          </a:xfrm>
          <a:custGeom>
            <a:avLst/>
            <a:gdLst>
              <a:gd name="T0" fmla="*/ 2147483646 w 31"/>
              <a:gd name="T1" fmla="*/ 2147483646 h 17"/>
              <a:gd name="T2" fmla="*/ 0 w 31"/>
              <a:gd name="T3" fmla="*/ 0 h 17"/>
              <a:gd name="T4" fmla="*/ 2147483646 w 31"/>
              <a:gd name="T5" fmla="*/ 2147483646 h 17"/>
              <a:gd name="T6" fmla="*/ 2147483646 w 31"/>
              <a:gd name="T7" fmla="*/ 2147483646 h 17"/>
              <a:gd name="T8" fmla="*/ 2147483646 w 31"/>
              <a:gd name="T9" fmla="*/ 0 h 17"/>
              <a:gd name="T10" fmla="*/ 2147483646 w 31"/>
              <a:gd name="T11" fmla="*/ 2147483646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1" h="17">
                <a:moveTo>
                  <a:pt x="15" y="1"/>
                </a:moveTo>
                <a:cubicBezTo>
                  <a:pt x="7" y="1"/>
                  <a:pt x="0" y="0"/>
                  <a:pt x="0" y="0"/>
                </a:cubicBezTo>
                <a:cubicBezTo>
                  <a:pt x="7" y="17"/>
                  <a:pt x="7" y="17"/>
                  <a:pt x="7" y="17"/>
                </a:cubicBezTo>
                <a:cubicBezTo>
                  <a:pt x="24" y="17"/>
                  <a:pt x="24" y="17"/>
                  <a:pt x="24" y="17"/>
                </a:cubicBezTo>
                <a:cubicBezTo>
                  <a:pt x="31" y="0"/>
                  <a:pt x="31" y="0"/>
                  <a:pt x="31" y="0"/>
                </a:cubicBezTo>
                <a:cubicBezTo>
                  <a:pt x="31" y="0"/>
                  <a:pt x="25" y="1"/>
                  <a:pt x="15"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3" name="Freeform 98">
            <a:extLst>
              <a:ext uri="{FF2B5EF4-FFF2-40B4-BE49-F238E27FC236}">
                <a16:creationId xmlns:a16="http://schemas.microsoft.com/office/drawing/2014/main" id="{35BB263D-DEBC-4B72-8B40-B729ACB65B19}"/>
              </a:ext>
            </a:extLst>
          </p:cNvPr>
          <p:cNvSpPr>
            <a:spLocks/>
          </p:cNvSpPr>
          <p:nvPr/>
        </p:nvSpPr>
        <p:spPr bwMode="auto">
          <a:xfrm>
            <a:off x="20045522" y="9811505"/>
            <a:ext cx="69835" cy="220367"/>
          </a:xfrm>
          <a:custGeom>
            <a:avLst/>
            <a:gdLst>
              <a:gd name="T0" fmla="*/ 2147483646 w 20"/>
              <a:gd name="T1" fmla="*/ 2147483646 h 63"/>
              <a:gd name="T2" fmla="*/ 2147483646 w 20"/>
              <a:gd name="T3" fmla="*/ 0 h 63"/>
              <a:gd name="T4" fmla="*/ 2147483646 w 20"/>
              <a:gd name="T5" fmla="*/ 0 h 63"/>
              <a:gd name="T6" fmla="*/ 0 w 20"/>
              <a:gd name="T7" fmla="*/ 2147483646 h 63"/>
              <a:gd name="T8" fmla="*/ 2147483646 w 20"/>
              <a:gd name="T9" fmla="*/ 2147483646 h 63"/>
              <a:gd name="T10" fmla="*/ 2147483646 w 20"/>
              <a:gd name="T11" fmla="*/ 2147483646 h 6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63">
                <a:moveTo>
                  <a:pt x="20" y="19"/>
                </a:moveTo>
                <a:lnTo>
                  <a:pt x="16" y="0"/>
                </a:lnTo>
                <a:lnTo>
                  <a:pt x="6" y="0"/>
                </a:lnTo>
                <a:lnTo>
                  <a:pt x="0" y="19"/>
                </a:lnTo>
                <a:lnTo>
                  <a:pt x="10" y="63"/>
                </a:lnTo>
                <a:lnTo>
                  <a:pt x="2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4" name="Freeform 99">
            <a:extLst>
              <a:ext uri="{FF2B5EF4-FFF2-40B4-BE49-F238E27FC236}">
                <a16:creationId xmlns:a16="http://schemas.microsoft.com/office/drawing/2014/main" id="{C2D7F909-8A25-4F83-BE9C-6BA425FFFE3D}"/>
              </a:ext>
            </a:extLst>
          </p:cNvPr>
          <p:cNvSpPr>
            <a:spLocks/>
          </p:cNvSpPr>
          <p:nvPr/>
        </p:nvSpPr>
        <p:spPr bwMode="auto">
          <a:xfrm>
            <a:off x="20185192" y="9905946"/>
            <a:ext cx="111735" cy="27983"/>
          </a:xfrm>
          <a:custGeom>
            <a:avLst/>
            <a:gdLst>
              <a:gd name="T0" fmla="*/ 2147483646 w 32"/>
              <a:gd name="T1" fmla="*/ 2147483646 h 8"/>
              <a:gd name="T2" fmla="*/ 0 w 32"/>
              <a:gd name="T3" fmla="*/ 2147483646 h 8"/>
              <a:gd name="T4" fmla="*/ 0 w 32"/>
              <a:gd name="T5" fmla="*/ 0 h 8"/>
              <a:gd name="T6" fmla="*/ 2147483646 w 32"/>
              <a:gd name="T7" fmla="*/ 0 h 8"/>
              <a:gd name="T8" fmla="*/ 2147483646 w 32"/>
              <a:gd name="T9" fmla="*/ 0 h 8"/>
              <a:gd name="T10" fmla="*/ 2147483646 w 32"/>
              <a:gd name="T11" fmla="*/ 2147483646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 h="8">
                <a:moveTo>
                  <a:pt x="32" y="8"/>
                </a:moveTo>
                <a:lnTo>
                  <a:pt x="0" y="8"/>
                </a:lnTo>
                <a:lnTo>
                  <a:pt x="0" y="0"/>
                </a:lnTo>
                <a:lnTo>
                  <a:pt x="19" y="0"/>
                </a:lnTo>
                <a:lnTo>
                  <a:pt x="32" y="0"/>
                </a:lnTo>
                <a:lnTo>
                  <a:pt x="32"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75" name="TextBox 74">
            <a:extLst>
              <a:ext uri="{FF2B5EF4-FFF2-40B4-BE49-F238E27FC236}">
                <a16:creationId xmlns:a16="http://schemas.microsoft.com/office/drawing/2014/main" id="{54CA14F7-D13A-4D20-9C49-BF9E554748E2}"/>
              </a:ext>
            </a:extLst>
          </p:cNvPr>
          <p:cNvSpPr txBox="1"/>
          <p:nvPr/>
        </p:nvSpPr>
        <p:spPr>
          <a:xfrm>
            <a:off x="650240" y="541319"/>
            <a:ext cx="22611504" cy="1138773"/>
          </a:xfrm>
          <a:prstGeom prst="rect">
            <a:avLst/>
          </a:prstGeom>
          <a:noFill/>
        </p:spPr>
        <p:txBody>
          <a:bodyPr wrap="square" rtlCol="0" anchor="t">
            <a:spAutoFit/>
          </a:bodyPr>
          <a:lstStyle/>
          <a:p>
            <a:pPr algn="l"/>
            <a:r>
              <a:rPr lang="en-GB" sz="4000" b="1" kern="1200" dirty="0">
                <a:solidFill>
                  <a:srgbClr val="C00000"/>
                </a:solidFill>
                <a:ea typeface="+mj-lt"/>
                <a:cs typeface="+mj-lt"/>
              </a:rPr>
              <a:t>KPIs y Niveles de Servicio</a:t>
            </a:r>
            <a:endParaRPr lang="en-US" dirty="0"/>
          </a:p>
          <a:p>
            <a:pPr algn="l"/>
            <a:r>
              <a:rPr lang="en-GB" sz="2800" kern="1200" dirty="0">
                <a:solidFill>
                  <a:schemeClr val="tx1"/>
                </a:solidFill>
                <a:cs typeface="Arial"/>
              </a:rPr>
              <a:t>Aprovisionamiento &amp; Ejecución Automática</a:t>
            </a:r>
          </a:p>
        </p:txBody>
      </p:sp>
      <p:graphicFrame>
        <p:nvGraphicFramePr>
          <p:cNvPr id="84" name="Table 83">
            <a:extLst>
              <a:ext uri="{FF2B5EF4-FFF2-40B4-BE49-F238E27FC236}">
                <a16:creationId xmlns:a16="http://schemas.microsoft.com/office/drawing/2014/main" id="{315848BD-5669-43CB-89FE-334B2A351F3C}"/>
              </a:ext>
            </a:extLst>
          </p:cNvPr>
          <p:cNvGraphicFramePr>
            <a:graphicFrameLocks noGrp="1"/>
          </p:cNvGraphicFramePr>
          <p:nvPr>
            <p:extLst>
              <p:ext uri="{D42A27DB-BD31-4B8C-83A1-F6EECF244321}">
                <p14:modId xmlns:p14="http://schemas.microsoft.com/office/powerpoint/2010/main" val="2452417982"/>
              </p:ext>
            </p:extLst>
          </p:nvPr>
        </p:nvGraphicFramePr>
        <p:xfrm>
          <a:off x="4857290" y="5447709"/>
          <a:ext cx="18593269" cy="6170730"/>
        </p:xfrm>
        <a:graphic>
          <a:graphicData uri="http://schemas.openxmlformats.org/drawingml/2006/table">
            <a:tbl>
              <a:tblPr firstRow="1" bandRow="1">
                <a:tableStyleId>{5940675A-B579-460E-94D1-54222C63F5DA}</a:tableStyleId>
              </a:tblPr>
              <a:tblGrid>
                <a:gridCol w="5877708">
                  <a:extLst>
                    <a:ext uri="{9D8B030D-6E8A-4147-A177-3AD203B41FA5}">
                      <a16:colId xmlns:a16="http://schemas.microsoft.com/office/drawing/2014/main" val="2232338029"/>
                    </a:ext>
                  </a:extLst>
                </a:gridCol>
                <a:gridCol w="5877708">
                  <a:extLst>
                    <a:ext uri="{9D8B030D-6E8A-4147-A177-3AD203B41FA5}">
                      <a16:colId xmlns:a16="http://schemas.microsoft.com/office/drawing/2014/main" val="2599433825"/>
                    </a:ext>
                  </a:extLst>
                </a:gridCol>
                <a:gridCol w="6837853">
                  <a:extLst>
                    <a:ext uri="{9D8B030D-6E8A-4147-A177-3AD203B41FA5}">
                      <a16:colId xmlns:a16="http://schemas.microsoft.com/office/drawing/2014/main" val="1076191212"/>
                    </a:ext>
                  </a:extLst>
                </a:gridCol>
              </a:tblGrid>
              <a:tr h="412364">
                <a:tc>
                  <a:txBody>
                    <a:bodyPr/>
                    <a:lstStyle/>
                    <a:p>
                      <a:pPr lvl="0" algn="ctr">
                        <a:lnSpc>
                          <a:spcPct val="100000"/>
                        </a:lnSpc>
                        <a:spcBef>
                          <a:spcPts val="0"/>
                        </a:spcBef>
                        <a:spcAft>
                          <a:spcPts val="0"/>
                        </a:spcAft>
                        <a:buNone/>
                      </a:pPr>
                      <a:r>
                        <a:rPr lang="en-GB" sz="1900" b="1" i="0" u="none" strike="noStrike" kern="1200" cap="none" spc="0" normalizeH="0" baseline="0" noProof="0" dirty="0">
                          <a:ln>
                            <a:noFill/>
                          </a:ln>
                          <a:solidFill>
                            <a:schemeClr val="bg1"/>
                          </a:solidFill>
                          <a:effectLst/>
                          <a:uFillTx/>
                          <a:latin typeface="Arial"/>
                        </a:rPr>
                        <a:t>Aprovisionamiento &amp; Ejecución Automática</a:t>
                      </a:r>
                      <a:endParaRPr lang="es-ES" sz="1900" b="0" i="0" u="none" strike="noStrike" kern="1200" cap="none" spc="0" normalizeH="0" baseline="0" noProof="0" dirty="0">
                        <a:ln>
                          <a:noFill/>
                        </a:ln>
                        <a:effectLst/>
                        <a:uFillTx/>
                        <a:latin typeface="Arial"/>
                      </a:endParaRPr>
                    </a:p>
                  </a:txBody>
                  <a:tcPr marL="71176" marR="71176" marT="35588" marB="35588"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r>
                        <a:rPr lang="es-ES" sz="1900" b="1" i="0" u="none" strike="noStrike" kern="1200" cap="none" spc="0" normalizeH="0" baseline="0" noProof="0" dirty="0">
                          <a:ln>
                            <a:noFill/>
                          </a:ln>
                          <a:solidFill>
                            <a:schemeClr val="bg1"/>
                          </a:solidFill>
                          <a:effectLst/>
                          <a:uFillTx/>
                          <a:latin typeface="Arial"/>
                          <a:cs typeface="Arial"/>
                        </a:rPr>
                        <a:t>KPIs</a:t>
                      </a:r>
                      <a:endParaRPr kumimoji="0" lang="es-ES" sz="1900" b="1" i="0" u="none" strike="noStrike" kern="1200" cap="none" spc="0" normalizeH="0" baseline="0" noProof="0" dirty="0">
                        <a:ln>
                          <a:noFill/>
                        </a:ln>
                        <a:solidFill>
                          <a:schemeClr val="bg1"/>
                        </a:solidFill>
                        <a:effectLst/>
                        <a:uFillTx/>
                        <a:latin typeface="Arial"/>
                        <a:cs typeface="Arial"/>
                        <a:sym typeface="Helvetica"/>
                      </a:endParaRPr>
                    </a:p>
                  </a:txBody>
                  <a:tcPr marL="71176" marR="71176" marT="35588" marB="35588"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r>
                        <a:rPr lang="es-ES" sz="1900" b="1" i="0" u="none" strike="noStrike" kern="1200" cap="none" spc="0" normalizeH="0" baseline="0" noProof="0" dirty="0">
                          <a:ln>
                            <a:noFill/>
                          </a:ln>
                          <a:solidFill>
                            <a:schemeClr val="bg1"/>
                          </a:solidFill>
                          <a:effectLst/>
                          <a:uFillTx/>
                          <a:latin typeface="Arial"/>
                          <a:cs typeface="Arial"/>
                        </a:rPr>
                        <a:t>Objetivo</a:t>
                      </a:r>
                      <a:endParaRPr kumimoji="0" lang="es-ES" sz="1900" b="1" i="0" u="none" strike="noStrike" kern="1200" cap="none" spc="0" normalizeH="0" baseline="0" noProof="0" dirty="0">
                        <a:ln>
                          <a:noFill/>
                        </a:ln>
                        <a:solidFill>
                          <a:schemeClr val="bg1"/>
                        </a:solidFill>
                        <a:effectLst/>
                        <a:uFillTx/>
                        <a:latin typeface="Arial"/>
                        <a:cs typeface="Arial"/>
                        <a:sym typeface="Helvetica"/>
                      </a:endParaRPr>
                    </a:p>
                  </a:txBody>
                  <a:tcPr marL="71176" marR="71176" marT="35588" marB="35588"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4218262327"/>
                  </a:ext>
                </a:extLst>
              </a:tr>
              <a:tr h="898364">
                <a:tc rowSpan="5">
                  <a:txBody>
                    <a:bodyPr/>
                    <a:lstStyle/>
                    <a:p>
                      <a:pPr lvl="0" algn="ctr">
                        <a:lnSpc>
                          <a:spcPct val="100000"/>
                        </a:lnSpc>
                        <a:spcBef>
                          <a:spcPts val="0"/>
                        </a:spcBef>
                        <a:spcAft>
                          <a:spcPts val="0"/>
                        </a:spcAft>
                        <a:buNone/>
                      </a:pPr>
                      <a:r>
                        <a:rPr lang="es-ES" sz="2000" b="1" i="0" u="none" strike="noStrike" kern="1200" cap="none" spc="0" normalizeH="0" baseline="0" noProof="0" dirty="0">
                          <a:ln>
                            <a:noFill/>
                          </a:ln>
                          <a:solidFill>
                            <a:schemeClr val="tx1"/>
                          </a:solidFill>
                          <a:effectLst/>
                          <a:uFillTx/>
                          <a:latin typeface="Arial"/>
                        </a:rPr>
                        <a:t>Aprovisionamiento de entornos de plataforma</a:t>
                      </a:r>
                      <a:endParaRPr lang="es-ES" sz="2000" b="0" i="0" u="none" strike="noStrike" kern="1200" cap="none" spc="0" normalizeH="0" baseline="0" noProof="0" dirty="0">
                        <a:ln>
                          <a:noFill/>
                        </a:ln>
                        <a:effectLst/>
                        <a:uFillTx/>
                        <a:latin typeface="Arial"/>
                      </a:endParaRPr>
                    </a:p>
                  </a:txBody>
                  <a:tcPr marL="71176" marR="71176" marT="35588" marB="355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buNone/>
                      </a:pPr>
                      <a:r>
                        <a:rPr lang="es-ES" sz="1900" b="0" i="0" u="none" strike="noStrike" kern="1200" cap="none" spc="0" normalizeH="0" baseline="0" noProof="0" dirty="0">
                          <a:ln>
                            <a:noFill/>
                          </a:ln>
                          <a:solidFill>
                            <a:schemeClr val="tx1"/>
                          </a:solidFill>
                          <a:effectLst/>
                          <a:uFillTx/>
                          <a:latin typeface="Arial"/>
                          <a:ea typeface="+mn-ea"/>
                          <a:cs typeface="+mn-cs"/>
                        </a:rPr>
                        <a:t>Tiempo requerido para aprovisionar y decomisionar  un entorno PaaS</a:t>
                      </a:r>
                      <a:endParaRPr kumimoji="0" lang="es-ES" sz="1900" b="0" i="0" u="none" strike="noStrike" kern="1200" cap="none" spc="0" normalizeH="0" baseline="0" noProof="0" dirty="0">
                        <a:ln>
                          <a:noFill/>
                        </a:ln>
                        <a:solidFill>
                          <a:schemeClr val="tx1"/>
                        </a:solidFill>
                        <a:effectLst/>
                        <a:uFillTx/>
                        <a:latin typeface="Arial"/>
                        <a:ea typeface="+mn-ea"/>
                        <a:cs typeface="+mn-cs"/>
                        <a:sym typeface="Helvetica"/>
                      </a:endParaRPr>
                    </a:p>
                  </a:txBody>
                  <a:tcPr marL="71176" marR="71176" marT="35588" marB="355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buNone/>
                      </a:pPr>
                      <a:r>
                        <a:rPr lang="es-ES" sz="1900" b="0" i="0" u="none" strike="noStrike" kern="1200" cap="none" spc="0" normalizeH="0" baseline="0" noProof="0" dirty="0">
                          <a:ln>
                            <a:noFill/>
                          </a:ln>
                          <a:solidFill>
                            <a:schemeClr val="tx1"/>
                          </a:solidFill>
                          <a:effectLst/>
                          <a:uFillTx/>
                          <a:latin typeface="Arial"/>
                          <a:ea typeface="+mn-ea"/>
                          <a:cs typeface="+mn-cs"/>
                        </a:rPr>
                        <a:t>Tiempo de aprovisionamiento/decomisión menor de 2 horas</a:t>
                      </a:r>
                      <a:endParaRPr kumimoji="0" lang="es-ES" sz="1900" b="0" i="0" u="none" strike="noStrike" kern="1200" cap="none" spc="0" normalizeH="0" baseline="0" noProof="0" dirty="0">
                        <a:ln>
                          <a:noFill/>
                        </a:ln>
                        <a:solidFill>
                          <a:schemeClr val="tx1"/>
                        </a:solidFill>
                        <a:effectLst/>
                        <a:uFillTx/>
                        <a:latin typeface="Arial"/>
                        <a:ea typeface="+mn-ea"/>
                        <a:cs typeface="+mn-cs"/>
                        <a:sym typeface="Helvetica"/>
                      </a:endParaRPr>
                    </a:p>
                  </a:txBody>
                  <a:tcPr marL="71176" marR="71176" marT="35588" marB="355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0596002"/>
                  </a:ext>
                </a:extLst>
              </a:tr>
              <a:tr h="927813">
                <a:tc vMerge="1">
                  <a:txBody>
                    <a:bodyPr/>
                    <a:lstStyle/>
                    <a:p>
                      <a:pPr lvl="0" algn="ctr">
                        <a:lnSpc>
                          <a:spcPct val="100000"/>
                        </a:lnSpc>
                        <a:spcBef>
                          <a:spcPts val="0"/>
                        </a:spcBef>
                        <a:spcAft>
                          <a:spcPts val="0"/>
                        </a:spcAft>
                        <a:buNone/>
                      </a:pPr>
                      <a:endParaRPr lang="es-ES" sz="2000" b="0" i="0" u="none" strike="noStrike" kern="1200" cap="none" spc="0" normalizeH="0" baseline="0" noProof="0">
                        <a:ln>
                          <a:noFill/>
                        </a:ln>
                        <a:effectLst/>
                        <a:uFillTx/>
                        <a:latin typeface="+mn-lt"/>
                      </a:endParaRPr>
                    </a:p>
                  </a:txBody>
                  <a:tcPr marL="71176" marR="71176" marT="35588" marB="355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buNone/>
                      </a:pPr>
                      <a:r>
                        <a:rPr lang="es-ES" sz="1900" b="0" i="0" u="none" strike="noStrike" kern="1200" cap="none" spc="0" normalizeH="0" baseline="0" noProof="0" dirty="0">
                          <a:ln>
                            <a:noFill/>
                          </a:ln>
                          <a:solidFill>
                            <a:schemeClr val="tx1"/>
                          </a:solidFill>
                          <a:effectLst/>
                          <a:uFillTx/>
                          <a:latin typeface="+mn-lt"/>
                          <a:ea typeface="+mn-ea"/>
                          <a:cs typeface="+mn-cs"/>
                        </a:rPr>
                        <a:t>Tiempo requerido para aprovisionar y decomisionar  un entorno de Cloud Privada (IaaS)</a:t>
                      </a:r>
                      <a:endParaRPr kumimoji="0" lang="es-ES" sz="1900" b="0" i="0" u="none" strike="noStrike" kern="1200" cap="none" spc="0" normalizeH="0" baseline="0" noProof="0" dirty="0">
                        <a:ln>
                          <a:noFill/>
                        </a:ln>
                        <a:solidFill>
                          <a:schemeClr val="tx1"/>
                        </a:solidFill>
                        <a:effectLst/>
                        <a:uFillTx/>
                        <a:latin typeface="+mn-lt"/>
                        <a:ea typeface="+mn-ea"/>
                        <a:cs typeface="+mn-cs"/>
                        <a:sym typeface="Helvetica"/>
                      </a:endParaRPr>
                    </a:p>
                  </a:txBody>
                  <a:tcPr marL="71176" marR="71176" marT="35588" marB="355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buNone/>
                      </a:pPr>
                      <a:r>
                        <a:rPr lang="es-ES" sz="1900" b="0" i="0" u="none" strike="noStrike" kern="1200" cap="none" spc="0" normalizeH="0" baseline="0" noProof="0" dirty="0">
                          <a:ln>
                            <a:noFill/>
                          </a:ln>
                          <a:solidFill>
                            <a:schemeClr val="tx1"/>
                          </a:solidFill>
                          <a:effectLst/>
                          <a:uFillTx/>
                          <a:latin typeface="+mn-lt"/>
                          <a:ea typeface="+mn-ea"/>
                          <a:cs typeface="+mn-cs"/>
                        </a:rPr>
                        <a:t>Tiempo de aprovisionamiento/decomisión menor de 1 mes</a:t>
                      </a:r>
                      <a:endParaRPr kumimoji="0" lang="es-ES" sz="1900" b="0" i="0" u="none" strike="noStrike" kern="1200" cap="none" spc="0" normalizeH="0" baseline="0" noProof="0" dirty="0">
                        <a:ln>
                          <a:noFill/>
                        </a:ln>
                        <a:solidFill>
                          <a:schemeClr val="tx1"/>
                        </a:solidFill>
                        <a:effectLst/>
                        <a:uFillTx/>
                        <a:latin typeface="+mn-lt"/>
                        <a:ea typeface="+mn-ea"/>
                        <a:cs typeface="+mn-cs"/>
                        <a:sym typeface="Helvetica"/>
                      </a:endParaRPr>
                    </a:p>
                  </a:txBody>
                  <a:tcPr marL="71176" marR="71176" marT="35588" marB="355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2042265"/>
                  </a:ext>
                </a:extLst>
              </a:tr>
              <a:tr h="1310729">
                <a:tc vMerge="1">
                  <a:txBody>
                    <a:bodyPr/>
                    <a:lstStyle/>
                    <a:p>
                      <a:pPr lvl="0" algn="ctr">
                        <a:lnSpc>
                          <a:spcPct val="100000"/>
                        </a:lnSpc>
                        <a:spcBef>
                          <a:spcPts val="0"/>
                        </a:spcBef>
                        <a:spcAft>
                          <a:spcPts val="0"/>
                        </a:spcAft>
                        <a:buNone/>
                      </a:pPr>
                      <a:endParaRPr lang="es-ES" sz="2000" b="0" i="0" u="none" strike="noStrike" kern="1200" cap="none" spc="0" normalizeH="0" baseline="0" noProof="0">
                        <a:ln>
                          <a:noFill/>
                        </a:ln>
                        <a:effectLst/>
                        <a:uFillTx/>
                        <a:latin typeface="+mn-lt"/>
                      </a:endParaRPr>
                    </a:p>
                  </a:txBody>
                  <a:tcPr marL="71176" marR="71176" marT="35588" marB="355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buNone/>
                      </a:pPr>
                      <a:r>
                        <a:rPr lang="es-ES" sz="1900" b="0" i="0" u="none" strike="noStrike" kern="1200" cap="none" spc="0" normalizeH="0" baseline="0" noProof="0" dirty="0">
                          <a:ln>
                            <a:noFill/>
                          </a:ln>
                          <a:solidFill>
                            <a:schemeClr val="tx1"/>
                          </a:solidFill>
                          <a:effectLst/>
                          <a:uFillTx/>
                          <a:latin typeface="+mn-lt"/>
                          <a:ea typeface="+mn-ea"/>
                          <a:cs typeface="+mn-cs"/>
                        </a:rPr>
                        <a:t>Tiempo requerido para aprovisionar y decomisionar  un entorno de Cloud Publica (IaaS)</a:t>
                      </a:r>
                      <a:endParaRPr kumimoji="0" lang="es-ES" sz="1900" b="0" i="0" u="none" strike="noStrike" kern="1200" cap="none" spc="0" normalizeH="0" baseline="0" noProof="0" dirty="0">
                        <a:ln>
                          <a:noFill/>
                        </a:ln>
                        <a:solidFill>
                          <a:schemeClr val="tx1"/>
                        </a:solidFill>
                        <a:effectLst/>
                        <a:uFillTx/>
                        <a:latin typeface="+mn-lt"/>
                        <a:ea typeface="+mn-ea"/>
                        <a:cs typeface="+mn-cs"/>
                        <a:sym typeface="Helvetica"/>
                      </a:endParaRPr>
                    </a:p>
                  </a:txBody>
                  <a:tcPr marL="71176" marR="71176" marT="35588" marB="355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buNone/>
                      </a:pPr>
                      <a:r>
                        <a:rPr lang="es-ES" sz="1900" b="0" i="0" u="none" strike="noStrike" kern="1200" cap="none" spc="0" normalizeH="0" baseline="0" noProof="0" dirty="0">
                          <a:ln>
                            <a:noFill/>
                          </a:ln>
                          <a:solidFill>
                            <a:schemeClr val="tx1"/>
                          </a:solidFill>
                          <a:effectLst/>
                          <a:uFillTx/>
                          <a:latin typeface="+mn-lt"/>
                          <a:ea typeface="+mn-ea"/>
                          <a:cs typeface="+mn-cs"/>
                        </a:rPr>
                        <a:t>Tiempo de aprovisionamiento/decomisión menor de 8 horas</a:t>
                      </a:r>
                      <a:endParaRPr kumimoji="0" lang="es-ES" sz="1900" b="0" i="0" u="none" strike="noStrike" kern="1200" cap="none" spc="0" normalizeH="0" baseline="0" noProof="0" dirty="0">
                        <a:ln>
                          <a:noFill/>
                        </a:ln>
                        <a:solidFill>
                          <a:schemeClr val="tx1"/>
                        </a:solidFill>
                        <a:effectLst/>
                        <a:uFillTx/>
                        <a:latin typeface="+mn-lt"/>
                        <a:ea typeface="+mn-ea"/>
                        <a:cs typeface="+mn-cs"/>
                        <a:sym typeface="Helvetica"/>
                      </a:endParaRPr>
                    </a:p>
                  </a:txBody>
                  <a:tcPr marL="71176" marR="71176" marT="35588" marB="355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86079431"/>
                  </a:ext>
                </a:extLst>
              </a:tr>
              <a:tr h="1310730">
                <a:tc vMerge="1">
                  <a:txBody>
                    <a:bodyPr/>
                    <a:lstStyle/>
                    <a:p>
                      <a:pPr lvl="0" algn="ctr">
                        <a:lnSpc>
                          <a:spcPct val="100000"/>
                        </a:lnSpc>
                        <a:spcBef>
                          <a:spcPts val="0"/>
                        </a:spcBef>
                        <a:spcAft>
                          <a:spcPts val="0"/>
                        </a:spcAft>
                        <a:buNone/>
                      </a:pPr>
                      <a:endParaRPr lang="es-ES" sz="2000" b="0" i="0" u="none" strike="noStrike" kern="1200" cap="none" spc="0" normalizeH="0" baseline="0" noProof="0">
                        <a:ln>
                          <a:noFill/>
                        </a:ln>
                        <a:effectLst/>
                        <a:uFillTx/>
                        <a:latin typeface="+mn-lt"/>
                      </a:endParaRPr>
                    </a:p>
                  </a:txBody>
                  <a:tcPr marL="71176" marR="71176" marT="35588" marB="355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buNone/>
                      </a:pPr>
                      <a:r>
                        <a:rPr lang="es-ES" sz="1900" b="0" i="0" u="none" strike="noStrike" kern="1200" cap="none" spc="0" normalizeH="0" baseline="0" noProof="0" dirty="0">
                          <a:ln>
                            <a:noFill/>
                          </a:ln>
                          <a:solidFill>
                            <a:schemeClr val="tx1"/>
                          </a:solidFill>
                          <a:effectLst/>
                          <a:uFillTx/>
                          <a:latin typeface="+mn-lt"/>
                          <a:ea typeface="+mn-ea"/>
                          <a:cs typeface="+mn-cs"/>
                        </a:rPr>
                        <a:t>Tiempo requerido para aprovisionar y decomisionar  un entorno On-Premise</a:t>
                      </a:r>
                      <a:endParaRPr kumimoji="0" lang="es-ES" sz="1900" b="0" i="0" u="none" strike="noStrike" kern="1200" cap="none" spc="0" normalizeH="0" baseline="0" noProof="0" dirty="0">
                        <a:ln>
                          <a:noFill/>
                        </a:ln>
                        <a:solidFill>
                          <a:schemeClr val="tx1"/>
                        </a:solidFill>
                        <a:effectLst/>
                        <a:uFillTx/>
                        <a:latin typeface="+mn-lt"/>
                        <a:ea typeface="+mn-ea"/>
                        <a:cs typeface="+mn-cs"/>
                        <a:sym typeface="Helvetica"/>
                      </a:endParaRPr>
                    </a:p>
                  </a:txBody>
                  <a:tcPr marL="71176" marR="71176" marT="35588" marB="355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buNone/>
                      </a:pPr>
                      <a:r>
                        <a:rPr lang="es-ES" sz="1900" b="0" i="0" u="none" strike="noStrike" kern="1200" cap="none" spc="0" normalizeH="0" baseline="0" noProof="0" dirty="0">
                          <a:ln>
                            <a:noFill/>
                          </a:ln>
                          <a:solidFill>
                            <a:schemeClr val="tx1"/>
                          </a:solidFill>
                          <a:effectLst/>
                          <a:uFillTx/>
                          <a:latin typeface="+mn-lt"/>
                          <a:ea typeface="+mn-ea"/>
                          <a:cs typeface="+mn-cs"/>
                        </a:rPr>
                        <a:t>Tiempo de aprovisionamiento/decomisión menor de 3 meses</a:t>
                      </a:r>
                      <a:endParaRPr kumimoji="0" lang="es-ES" sz="1900" b="0" i="0" u="none" strike="noStrike" kern="1200" cap="none" spc="0" normalizeH="0" baseline="0" noProof="0" dirty="0">
                        <a:ln>
                          <a:noFill/>
                        </a:ln>
                        <a:solidFill>
                          <a:schemeClr val="tx1"/>
                        </a:solidFill>
                        <a:effectLst/>
                        <a:uFillTx/>
                        <a:latin typeface="+mn-lt"/>
                        <a:ea typeface="+mn-ea"/>
                        <a:cs typeface="+mn-cs"/>
                        <a:sym typeface="Helvetica"/>
                      </a:endParaRPr>
                    </a:p>
                  </a:txBody>
                  <a:tcPr marL="71176" marR="71176" marT="35588" marB="355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98375222"/>
                  </a:ext>
                </a:extLst>
              </a:tr>
              <a:tr h="1310730">
                <a:tc vMerge="1">
                  <a:txBody>
                    <a:bodyPr/>
                    <a:lstStyle/>
                    <a:p>
                      <a:pPr lvl="0" algn="ctr">
                        <a:lnSpc>
                          <a:spcPct val="100000"/>
                        </a:lnSpc>
                        <a:spcBef>
                          <a:spcPts val="0"/>
                        </a:spcBef>
                        <a:spcAft>
                          <a:spcPts val="0"/>
                        </a:spcAft>
                        <a:buNone/>
                      </a:pPr>
                      <a:endParaRPr lang="es-ES" sz="2000" b="0" i="0" u="none" strike="noStrike" kern="1200" cap="none" spc="0" normalizeH="0" baseline="0" noProof="0" dirty="0">
                        <a:ln>
                          <a:noFill/>
                        </a:ln>
                        <a:effectLst/>
                        <a:uFillTx/>
                        <a:latin typeface="Arial"/>
                      </a:endParaRPr>
                    </a:p>
                  </a:txBody>
                  <a:tcPr marL="71176" marR="71176" marT="35588" marB="355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rtl="0">
                        <a:buNone/>
                      </a:pPr>
                      <a:endParaRPr kumimoji="0" lang="es-ES" sz="1900" b="0" i="0" u="none" strike="noStrike" kern="1200" cap="none" spc="0" normalizeH="0" baseline="0" noProof="0" dirty="0">
                        <a:ln>
                          <a:noFill/>
                        </a:ln>
                        <a:solidFill>
                          <a:schemeClr val="tx1"/>
                        </a:solidFill>
                        <a:effectLst/>
                        <a:uFillTx/>
                        <a:latin typeface="+mn-lt"/>
                        <a:ea typeface="+mn-ea"/>
                        <a:cs typeface="+mn-cs"/>
                        <a:sym typeface="Helvetica"/>
                      </a:endParaRPr>
                    </a:p>
                  </a:txBody>
                  <a:tcPr marL="71176" marR="71176" marT="35588" marB="355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lvl="0" indent="0" algn="l" rtl="0">
                        <a:buNone/>
                      </a:pPr>
                      <a:endParaRPr kumimoji="0" lang="es-ES" sz="1900" b="0" i="0" u="none" strike="noStrike" kern="1200" cap="none" spc="0" normalizeH="0" baseline="0" noProof="0" dirty="0">
                        <a:ln>
                          <a:noFill/>
                        </a:ln>
                        <a:solidFill>
                          <a:schemeClr val="tx1"/>
                        </a:solidFill>
                        <a:effectLst/>
                        <a:uFillTx/>
                        <a:latin typeface="+mn-lt"/>
                        <a:ea typeface="+mn-ea"/>
                        <a:cs typeface="+mn-cs"/>
                        <a:sym typeface="Helvetica"/>
                      </a:endParaRPr>
                    </a:p>
                  </a:txBody>
                  <a:tcPr marL="71176" marR="71176" marT="35588" marB="355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3914678710"/>
                  </a:ext>
                </a:extLst>
              </a:tr>
            </a:tbl>
          </a:graphicData>
        </a:graphic>
      </p:graphicFrame>
      <p:sp>
        <p:nvSpPr>
          <p:cNvPr id="37" name="Rectangle 491">
            <a:extLst>
              <a:ext uri="{FF2B5EF4-FFF2-40B4-BE49-F238E27FC236}">
                <a16:creationId xmlns:a16="http://schemas.microsoft.com/office/drawing/2014/main" id="{F807DF85-FE98-4250-A183-DC4B3C7507DF}"/>
              </a:ext>
            </a:extLst>
          </p:cNvPr>
          <p:cNvSpPr>
            <a:spLocks noChangeArrowheads="1"/>
          </p:cNvSpPr>
          <p:nvPr/>
        </p:nvSpPr>
        <p:spPr bwMode="auto">
          <a:xfrm>
            <a:off x="2124110" y="3389162"/>
            <a:ext cx="1598400" cy="604800"/>
          </a:xfrm>
          <a:prstGeom prst="rect">
            <a:avLst/>
          </a:prstGeom>
          <a:solidFill>
            <a:schemeClr val="bg2">
              <a:lumMod val="85000"/>
            </a:schemeClr>
          </a:solidFill>
          <a:ln w="11113" cap="rnd">
            <a:solidFill>
              <a:srgbClr val="0070C0"/>
            </a:solidFill>
            <a:miter lim="800000"/>
            <a:headEnd/>
            <a:tailEnd/>
          </a:ln>
          <a:effectLst/>
        </p:spPr>
        <p:txBody>
          <a:bodyPr anchor="ctr"/>
          <a:lstStyle/>
          <a:p>
            <a:pPr algn="ctr" defTabSz="1097280" fontAlgn="base">
              <a:spcBef>
                <a:spcPct val="0"/>
              </a:spcBef>
              <a:spcAft>
                <a:spcPct val="0"/>
              </a:spcAft>
            </a:pPr>
            <a:r>
              <a:rPr lang="en-GB" altLang="en-US" sz="1026" b="1" kern="0" dirty="0">
                <a:solidFill>
                  <a:srgbClr val="000000"/>
                </a:solidFill>
                <a:latin typeface="Arial" charset="0"/>
                <a:ea typeface="MS PGothic" charset="-128"/>
              </a:rPr>
              <a:t>Sourcing and Partner Management</a:t>
            </a:r>
          </a:p>
        </p:txBody>
      </p:sp>
      <p:sp>
        <p:nvSpPr>
          <p:cNvPr id="38" name="Rectangle 491">
            <a:extLst>
              <a:ext uri="{FF2B5EF4-FFF2-40B4-BE49-F238E27FC236}">
                <a16:creationId xmlns:a16="http://schemas.microsoft.com/office/drawing/2014/main" id="{8866B764-EA2F-4611-983E-EBD66700A68B}"/>
              </a:ext>
            </a:extLst>
          </p:cNvPr>
          <p:cNvSpPr>
            <a:spLocks noChangeArrowheads="1"/>
          </p:cNvSpPr>
          <p:nvPr/>
        </p:nvSpPr>
        <p:spPr bwMode="auto">
          <a:xfrm>
            <a:off x="1189466" y="9893366"/>
            <a:ext cx="2572877" cy="973523"/>
          </a:xfrm>
          <a:prstGeom prst="rect">
            <a:avLst/>
          </a:prstGeom>
          <a:solidFill>
            <a:schemeClr val="accent1">
              <a:lumMod val="20000"/>
              <a:lumOff val="8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a:solidFill>
                  <a:schemeClr val="tx1"/>
                </a:solidFill>
                <a:latin typeface="Arial" panose="020B0604020202020204"/>
                <a:ea typeface="MS PGothic"/>
                <a:cs typeface="+mn-cs"/>
              </a:rPr>
              <a:t>Formación &amp; Gestión del talento</a:t>
            </a:r>
          </a:p>
        </p:txBody>
      </p:sp>
      <p:sp>
        <p:nvSpPr>
          <p:cNvPr id="39" name="Rectangle 510">
            <a:extLst>
              <a:ext uri="{FF2B5EF4-FFF2-40B4-BE49-F238E27FC236}">
                <a16:creationId xmlns:a16="http://schemas.microsoft.com/office/drawing/2014/main" id="{8278DE77-F67D-485A-A5CB-0C5BDCE07991}"/>
              </a:ext>
            </a:extLst>
          </p:cNvPr>
          <p:cNvSpPr>
            <a:spLocks noChangeArrowheads="1"/>
          </p:cNvSpPr>
          <p:nvPr/>
        </p:nvSpPr>
        <p:spPr bwMode="auto">
          <a:xfrm>
            <a:off x="1189466" y="5447709"/>
            <a:ext cx="2572877" cy="973523"/>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dirty="0">
                <a:solidFill>
                  <a:schemeClr val="tx1"/>
                </a:solidFill>
                <a:latin typeface="Arial" panose="020B0604020202020204"/>
                <a:ea typeface="MS PGothic"/>
              </a:rPr>
              <a:t>Aprovisionamiento de entornos de plataforma</a:t>
            </a:r>
          </a:p>
        </p:txBody>
      </p:sp>
      <p:sp>
        <p:nvSpPr>
          <p:cNvPr id="40" name="Rectangle 507">
            <a:extLst>
              <a:ext uri="{FF2B5EF4-FFF2-40B4-BE49-F238E27FC236}">
                <a16:creationId xmlns:a16="http://schemas.microsoft.com/office/drawing/2014/main" id="{491C8BFE-F4EF-4B5F-B4DA-51AAD85F81C4}"/>
              </a:ext>
            </a:extLst>
          </p:cNvPr>
          <p:cNvSpPr>
            <a:spLocks noChangeArrowheads="1"/>
          </p:cNvSpPr>
          <p:nvPr/>
        </p:nvSpPr>
        <p:spPr bwMode="auto">
          <a:xfrm>
            <a:off x="1189466" y="6562698"/>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solidFill>
                  <a:srgbClr val="000000"/>
                </a:solidFill>
                <a:latin typeface="Arial"/>
                <a:ea typeface="MS PGothic"/>
                <a:cs typeface="Arial"/>
              </a:rPr>
              <a:t>Aprovisionamiento de aplicación &amp; Datos</a:t>
            </a:r>
          </a:p>
        </p:txBody>
      </p:sp>
      <p:sp>
        <p:nvSpPr>
          <p:cNvPr id="41" name="Rectangle 103">
            <a:extLst>
              <a:ext uri="{FF2B5EF4-FFF2-40B4-BE49-F238E27FC236}">
                <a16:creationId xmlns:a16="http://schemas.microsoft.com/office/drawing/2014/main" id="{1D6D4FB3-504E-416B-8103-68012EE27596}"/>
              </a:ext>
            </a:extLst>
          </p:cNvPr>
          <p:cNvSpPr/>
          <p:nvPr/>
        </p:nvSpPr>
        <p:spPr>
          <a:xfrm>
            <a:off x="1189466" y="2841236"/>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solidFill>
                <a:ea typeface="MS PGothic" charset="-128"/>
              </a:rPr>
              <a:t>Aprovisionamiento &amp; Ejecución Automática</a:t>
            </a:r>
            <a:endParaRPr lang="en-US" sz="1600" b="1" dirty="0">
              <a:solidFill>
                <a:schemeClr val="bg1"/>
              </a:solidFill>
              <a:ea typeface="MS PGothic" charset="-128"/>
            </a:endParaRPr>
          </a:p>
        </p:txBody>
      </p:sp>
      <p:sp>
        <p:nvSpPr>
          <p:cNvPr id="42" name="Rectangle 491">
            <a:extLst>
              <a:ext uri="{FF2B5EF4-FFF2-40B4-BE49-F238E27FC236}">
                <a16:creationId xmlns:a16="http://schemas.microsoft.com/office/drawing/2014/main" id="{2119C021-7B93-4429-9B56-A006DF57BF80}"/>
              </a:ext>
            </a:extLst>
          </p:cNvPr>
          <p:cNvSpPr>
            <a:spLocks noChangeArrowheads="1"/>
          </p:cNvSpPr>
          <p:nvPr/>
        </p:nvSpPr>
        <p:spPr bwMode="auto">
          <a:xfrm>
            <a:off x="1189466" y="7677687"/>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latin typeface="Arial"/>
                <a:ea typeface="MS PGothic"/>
                <a:cs typeface="Arial"/>
              </a:rPr>
              <a:t>Gestión de la Capacidad</a:t>
            </a:r>
          </a:p>
        </p:txBody>
      </p:sp>
      <p:sp>
        <p:nvSpPr>
          <p:cNvPr id="43" name="Rectangle 491">
            <a:extLst>
              <a:ext uri="{FF2B5EF4-FFF2-40B4-BE49-F238E27FC236}">
                <a16:creationId xmlns:a16="http://schemas.microsoft.com/office/drawing/2014/main" id="{FAEAF1DE-6259-4906-89C3-CDC0163181C0}"/>
              </a:ext>
            </a:extLst>
          </p:cNvPr>
          <p:cNvSpPr>
            <a:spLocks noChangeArrowheads="1"/>
          </p:cNvSpPr>
          <p:nvPr/>
        </p:nvSpPr>
        <p:spPr bwMode="auto">
          <a:xfrm>
            <a:off x="1189466" y="8787522"/>
            <a:ext cx="2572877" cy="973523"/>
          </a:xfrm>
          <a:prstGeom prst="rect">
            <a:avLst/>
          </a:prstGeom>
          <a:solidFill>
            <a:schemeClr val="accent1">
              <a:lumMod val="20000"/>
              <a:lumOff val="8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400" b="1">
                <a:solidFill>
                  <a:schemeClr val="tx1"/>
                </a:solidFill>
                <a:latin typeface="Arial" panose="020B0604020202020204"/>
                <a:ea typeface="MS PGothic"/>
                <a:cs typeface="+mn-cs"/>
              </a:rPr>
              <a:t>Disponibilidad &amp; Ingeniería de confiabilidad del servicio (SRE)</a:t>
            </a:r>
          </a:p>
        </p:txBody>
      </p:sp>
      <p:sp>
        <p:nvSpPr>
          <p:cNvPr id="44" name="Rectangle 491">
            <a:extLst>
              <a:ext uri="{FF2B5EF4-FFF2-40B4-BE49-F238E27FC236}">
                <a16:creationId xmlns:a16="http://schemas.microsoft.com/office/drawing/2014/main" id="{B495AA50-D674-4E32-B6B6-55EE28295267}"/>
              </a:ext>
            </a:extLst>
          </p:cNvPr>
          <p:cNvSpPr>
            <a:spLocks noChangeArrowheads="1"/>
          </p:cNvSpPr>
          <p:nvPr/>
        </p:nvSpPr>
        <p:spPr bwMode="auto">
          <a:xfrm>
            <a:off x="1189466" y="4330337"/>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latin typeface="Arial"/>
                <a:ea typeface="MS PGothic"/>
                <a:cs typeface="Arial"/>
              </a:rPr>
              <a:t>Orquestación &amp; Accesos de servicios</a:t>
            </a:r>
          </a:p>
        </p:txBody>
      </p:sp>
      <p:sp>
        <p:nvSpPr>
          <p:cNvPr id="21" name="Elipse 20">
            <a:extLst>
              <a:ext uri="{FF2B5EF4-FFF2-40B4-BE49-F238E27FC236}">
                <a16:creationId xmlns:a16="http://schemas.microsoft.com/office/drawing/2014/main" id="{6F9A9748-BA7E-442B-94A9-DA3FFA7EC9C7}"/>
              </a:ext>
            </a:extLst>
          </p:cNvPr>
          <p:cNvSpPr/>
          <p:nvPr/>
        </p:nvSpPr>
        <p:spPr>
          <a:xfrm>
            <a:off x="1045795" y="5326641"/>
            <a:ext cx="2860218" cy="1337069"/>
          </a:xfrm>
          <a:prstGeom prst="ellipse">
            <a:avLst/>
          </a:prstGeom>
          <a:noFill/>
          <a:ln w="28575">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2" name="CuadroTexto 21">
            <a:extLst>
              <a:ext uri="{FF2B5EF4-FFF2-40B4-BE49-F238E27FC236}">
                <a16:creationId xmlns:a16="http://schemas.microsoft.com/office/drawing/2014/main" id="{32480B73-00A8-402E-9083-0C69BA7603A3}"/>
              </a:ext>
            </a:extLst>
          </p:cNvPr>
          <p:cNvSpPr txBox="1"/>
          <p:nvPr/>
        </p:nvSpPr>
        <p:spPr>
          <a:xfrm>
            <a:off x="6539788" y="11856904"/>
            <a:ext cx="5750293" cy="369332"/>
          </a:xfrm>
          <a:prstGeom prst="rect">
            <a:avLst/>
          </a:prstGeom>
          <a:noFill/>
        </p:spPr>
        <p:txBody>
          <a:bodyPr wrap="none" rtlCol="0">
            <a:spAutoFit/>
          </a:bodyPr>
          <a:lstStyle/>
          <a:p>
            <a:r>
              <a:rPr lang="es-ES" sz="1800" dirty="0"/>
              <a:t>* KPIs en rojo pendientes de Infraestructura (SanTec))</a:t>
            </a:r>
          </a:p>
        </p:txBody>
      </p:sp>
    </p:spTree>
    <p:extLst>
      <p:ext uri="{BB962C8B-B14F-4D97-AF65-F5344CB8AC3E}">
        <p14:creationId xmlns:p14="http://schemas.microsoft.com/office/powerpoint/2010/main" val="263073962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484CC5A5-4D01-E74B-81CC-2C943FBAF55A}"/>
              </a:ex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24384001" cy="16256001"/>
          </a:xfrm>
          <a:prstGeom prst="rect">
            <a:avLst/>
          </a:prstGeom>
        </p:spPr>
      </p:pic>
      <p:pic>
        <p:nvPicPr>
          <p:cNvPr id="11" name="Imagen 1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9444946" y="585968"/>
            <a:ext cx="1624528" cy="640800"/>
          </a:xfrm>
          <a:prstGeom prst="rect">
            <a:avLst/>
          </a:prstGeom>
        </p:spPr>
      </p:pic>
      <p:grpSp>
        <p:nvGrpSpPr>
          <p:cNvPr id="4" name="Grupo 3">
            <a:extLst>
              <a:ext uri="{FF2B5EF4-FFF2-40B4-BE49-F238E27FC236}">
                <a16:creationId xmlns:a16="http://schemas.microsoft.com/office/drawing/2014/main" id="{98FF583A-1884-E44E-A2EC-48E0260ECD1C}"/>
              </a:ext>
            </a:extLst>
          </p:cNvPr>
          <p:cNvGrpSpPr/>
          <p:nvPr/>
        </p:nvGrpSpPr>
        <p:grpSpPr>
          <a:xfrm>
            <a:off x="806935" y="3660639"/>
            <a:ext cx="12847054" cy="6904180"/>
            <a:chOff x="1751815" y="2654799"/>
            <a:chExt cx="12847054" cy="6904180"/>
          </a:xfrm>
        </p:grpSpPr>
        <p:sp>
          <p:nvSpPr>
            <p:cNvPr id="497" name="Rectángulo redondeado"/>
            <p:cNvSpPr/>
            <p:nvPr/>
          </p:nvSpPr>
          <p:spPr>
            <a:xfrm>
              <a:off x="1751815" y="2654799"/>
              <a:ext cx="12847054" cy="6904180"/>
            </a:xfrm>
            <a:prstGeom prst="roundRect">
              <a:avLst>
                <a:gd name="adj" fmla="val 2881"/>
              </a:avLst>
            </a:prstGeom>
            <a:solidFill>
              <a:srgbClr val="CC0000"/>
            </a:solidFill>
            <a:ln w="12700">
              <a:miter lim="400000"/>
            </a:ln>
            <a:effectLst>
              <a:outerShdw blurRad="1193800" dist="39140" dir="5400000" rotWithShape="0">
                <a:srgbClr val="000000">
                  <a:alpha val="73900"/>
                </a:srgbClr>
              </a:outerShdw>
            </a:effectLst>
          </p:spPr>
          <p:txBody>
            <a:bodyPr lIns="0" tIns="0" rIns="0" bIns="0" anchor="ctr"/>
            <a:lstStyle/>
            <a:p>
              <a:pPr>
                <a:defRPr>
                  <a:latin typeface="Helvetica Neue Medium"/>
                  <a:ea typeface="Helvetica Neue Medium"/>
                  <a:cs typeface="Helvetica Neue Medium"/>
                  <a:sym typeface="Helvetica Neue Medium"/>
                </a:defRPr>
              </a:pPr>
              <a:endParaRPr/>
            </a:p>
          </p:txBody>
        </p:sp>
        <p:sp>
          <p:nvSpPr>
            <p:cNvPr id="500" name="December 2017"/>
            <p:cNvSpPr txBox="1"/>
            <p:nvPr/>
          </p:nvSpPr>
          <p:spPr>
            <a:xfrm>
              <a:off x="2939144" y="8127382"/>
              <a:ext cx="1827423" cy="564257"/>
            </a:xfrm>
            <a:prstGeom prst="rect">
              <a:avLst/>
            </a:prstGeom>
            <a:ln w="12700">
              <a:miter lim="400000"/>
            </a:ln>
            <a:extLst>
              <a:ext uri="{C572A759-6A51-4108-AA02-DFA0A04FC94B}">
                <ma14:wrappingTextBoxFlag xmlns="" xmlns:ma14="http://schemas.microsoft.com/office/mac/drawingml/2011/main" val="1"/>
              </a:ext>
            </a:extLst>
          </p:spPr>
          <p:txBody>
            <a:bodyPr wrap="none" lIns="50800" tIns="50800" rIns="50800" bIns="50800" anchor="ctr">
              <a:spAutoFit/>
            </a:bodyPr>
            <a:lstStyle>
              <a:lvl1pPr algn="l">
                <a:defRPr>
                  <a:solidFill>
                    <a:srgbClr val="FFFFFF">
                      <a:alpha val="70000"/>
                    </a:srgbClr>
                  </a:solidFill>
                  <a:latin typeface="Arial"/>
                  <a:ea typeface="Arial"/>
                  <a:cs typeface="Arial"/>
                  <a:sym typeface="Arial"/>
                </a:defRPr>
              </a:lvl1pPr>
            </a:lstStyle>
            <a:p>
              <a:r>
                <a:rPr lang="es-ES">
                  <a:latin typeface="IBM Plex Sans" panose="020B0503050203000203" pitchFamily="34" charset="77"/>
                </a:rPr>
                <a:t>May 2020</a:t>
              </a:r>
              <a:endParaRPr>
                <a:latin typeface="IBM Plex Sans" panose="020B0503050203000203" pitchFamily="34" charset="77"/>
              </a:endParaRPr>
            </a:p>
          </p:txBody>
        </p:sp>
        <p:pic>
          <p:nvPicPr>
            <p:cNvPr id="10" name="Gráfico 8">
              <a:extLst>
                <a:ext uri="{FF2B5EF4-FFF2-40B4-BE49-F238E27FC236}">
                  <a16:creationId xmlns:a16="http://schemas.microsoft.com/office/drawing/2014/main" id="{9012236B-6821-499F-B6D4-F11EC0EF0CAC}"/>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939143" y="3741121"/>
              <a:ext cx="3631861" cy="636886"/>
            </a:xfrm>
            <a:prstGeom prst="rect">
              <a:avLst/>
            </a:prstGeom>
          </p:spPr>
        </p:pic>
      </p:grpSp>
      <p:sp>
        <p:nvSpPr>
          <p:cNvPr id="14" name="Group Strategy">
            <a:extLst>
              <a:ext uri="{FF2B5EF4-FFF2-40B4-BE49-F238E27FC236}">
                <a16:creationId xmlns:a16="http://schemas.microsoft.com/office/drawing/2014/main" id="{F066AE9F-6A2F-7542-A3E9-59109D628769}"/>
              </a:ext>
            </a:extLst>
          </p:cNvPr>
          <p:cNvSpPr txBox="1"/>
          <p:nvPr/>
        </p:nvSpPr>
        <p:spPr>
          <a:xfrm>
            <a:off x="1898378" y="6591685"/>
            <a:ext cx="10598865" cy="1333698"/>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ctr">
            <a:spAutoFit/>
          </a:bodyPr>
          <a:lstStyle/>
          <a:p>
            <a:pPr algn="l">
              <a:defRPr sz="8000" b="1">
                <a:solidFill>
                  <a:srgbClr val="FFFFFF"/>
                </a:solidFill>
                <a:latin typeface="Arial"/>
                <a:ea typeface="Arial"/>
                <a:cs typeface="Arial"/>
                <a:sym typeface="Arial"/>
              </a:defRPr>
            </a:pPr>
            <a:r>
              <a:rPr lang="es-ES"/>
              <a:t>Thank You</a:t>
            </a:r>
            <a:endParaRPr/>
          </a:p>
        </p:txBody>
      </p:sp>
    </p:spTree>
    <p:extLst>
      <p:ext uri="{BB962C8B-B14F-4D97-AF65-F5344CB8AC3E}">
        <p14:creationId xmlns:p14="http://schemas.microsoft.com/office/powerpoint/2010/main" val="2459078608"/>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Box 21">
            <a:extLst>
              <a:ext uri="{FF2B5EF4-FFF2-40B4-BE49-F238E27FC236}">
                <a16:creationId xmlns:a16="http://schemas.microsoft.com/office/drawing/2014/main" id="{5A573C33-E0DB-4263-BA0F-42C228CC77EF}"/>
              </a:ext>
            </a:extLst>
          </p:cNvPr>
          <p:cNvSpPr txBox="1"/>
          <p:nvPr/>
        </p:nvSpPr>
        <p:spPr>
          <a:xfrm>
            <a:off x="8298693" y="7464705"/>
            <a:ext cx="1603324" cy="3154710"/>
          </a:xfrm>
          <a:prstGeom prst="rect">
            <a:avLst/>
          </a:prstGeom>
          <a:noFill/>
        </p:spPr>
        <p:txBody>
          <a:bodyPr wrap="none" rtlCol="0">
            <a:spAutoFit/>
          </a:bodyPr>
          <a:lstStyle/>
          <a:p>
            <a:r>
              <a:rPr lang="es-ES" sz="19900" dirty="0">
                <a:solidFill>
                  <a:srgbClr val="FEC8C8"/>
                </a:solidFill>
              </a:rPr>
              <a:t>3</a:t>
            </a:r>
          </a:p>
        </p:txBody>
      </p:sp>
      <p:sp>
        <p:nvSpPr>
          <p:cNvPr id="3" name="TextBox 2">
            <a:extLst>
              <a:ext uri="{FF2B5EF4-FFF2-40B4-BE49-F238E27FC236}">
                <a16:creationId xmlns:a16="http://schemas.microsoft.com/office/drawing/2014/main" id="{3C42F48F-B3BC-4995-AD37-50BAA0F67719}"/>
              </a:ext>
            </a:extLst>
          </p:cNvPr>
          <p:cNvSpPr txBox="1"/>
          <p:nvPr/>
        </p:nvSpPr>
        <p:spPr>
          <a:xfrm>
            <a:off x="14096329" y="7499025"/>
            <a:ext cx="1603324" cy="3154710"/>
          </a:xfrm>
          <a:prstGeom prst="rect">
            <a:avLst/>
          </a:prstGeom>
          <a:noFill/>
        </p:spPr>
        <p:txBody>
          <a:bodyPr wrap="none" rtlCol="0">
            <a:spAutoFit/>
          </a:bodyPr>
          <a:lstStyle/>
          <a:p>
            <a:r>
              <a:rPr lang="es-ES" sz="19900" dirty="0">
                <a:solidFill>
                  <a:srgbClr val="FEC8C8"/>
                </a:solidFill>
              </a:rPr>
              <a:t>4</a:t>
            </a:r>
          </a:p>
        </p:txBody>
      </p:sp>
      <p:sp>
        <p:nvSpPr>
          <p:cNvPr id="23" name="TextBox 22">
            <a:extLst>
              <a:ext uri="{FF2B5EF4-FFF2-40B4-BE49-F238E27FC236}">
                <a16:creationId xmlns:a16="http://schemas.microsoft.com/office/drawing/2014/main" id="{A2CDDFDF-E8C9-40EA-ADE1-A799F6AD6EE1}"/>
              </a:ext>
            </a:extLst>
          </p:cNvPr>
          <p:cNvSpPr txBox="1"/>
          <p:nvPr/>
        </p:nvSpPr>
        <p:spPr>
          <a:xfrm>
            <a:off x="14064111" y="3977514"/>
            <a:ext cx="1603324" cy="3154710"/>
          </a:xfrm>
          <a:prstGeom prst="rect">
            <a:avLst/>
          </a:prstGeom>
          <a:noFill/>
        </p:spPr>
        <p:txBody>
          <a:bodyPr wrap="none" rtlCol="0">
            <a:spAutoFit/>
          </a:bodyPr>
          <a:lstStyle/>
          <a:p>
            <a:r>
              <a:rPr lang="es-ES" sz="19900" dirty="0">
                <a:solidFill>
                  <a:srgbClr val="FEC8C8"/>
                </a:solidFill>
              </a:rPr>
              <a:t>2</a:t>
            </a:r>
          </a:p>
        </p:txBody>
      </p:sp>
      <p:sp>
        <p:nvSpPr>
          <p:cNvPr id="21" name="TextBox 20">
            <a:extLst>
              <a:ext uri="{FF2B5EF4-FFF2-40B4-BE49-F238E27FC236}">
                <a16:creationId xmlns:a16="http://schemas.microsoft.com/office/drawing/2014/main" id="{56D9D787-9726-4F84-8B0C-17C829E491FF}"/>
              </a:ext>
            </a:extLst>
          </p:cNvPr>
          <p:cNvSpPr txBox="1"/>
          <p:nvPr/>
        </p:nvSpPr>
        <p:spPr>
          <a:xfrm>
            <a:off x="4652495" y="5620627"/>
            <a:ext cx="1603324" cy="3154710"/>
          </a:xfrm>
          <a:prstGeom prst="rect">
            <a:avLst/>
          </a:prstGeom>
          <a:noFill/>
        </p:spPr>
        <p:txBody>
          <a:bodyPr wrap="none" rtlCol="0">
            <a:spAutoFit/>
          </a:bodyPr>
          <a:lstStyle/>
          <a:p>
            <a:r>
              <a:rPr lang="es-ES" sz="19900" dirty="0">
                <a:solidFill>
                  <a:srgbClr val="FEC8C8"/>
                </a:solidFill>
              </a:rPr>
              <a:t>5</a:t>
            </a:r>
          </a:p>
        </p:txBody>
      </p:sp>
      <p:sp>
        <p:nvSpPr>
          <p:cNvPr id="20" name="TextBox 19">
            <a:extLst>
              <a:ext uri="{FF2B5EF4-FFF2-40B4-BE49-F238E27FC236}">
                <a16:creationId xmlns:a16="http://schemas.microsoft.com/office/drawing/2014/main" id="{A36EFAFB-CD7E-4D07-8A1F-054989FE22FC}"/>
              </a:ext>
            </a:extLst>
          </p:cNvPr>
          <p:cNvSpPr txBox="1"/>
          <p:nvPr/>
        </p:nvSpPr>
        <p:spPr>
          <a:xfrm>
            <a:off x="8257087" y="3977514"/>
            <a:ext cx="1603324" cy="3154710"/>
          </a:xfrm>
          <a:prstGeom prst="rect">
            <a:avLst/>
          </a:prstGeom>
          <a:noFill/>
        </p:spPr>
        <p:txBody>
          <a:bodyPr wrap="none" rtlCol="0">
            <a:spAutoFit/>
          </a:bodyPr>
          <a:lstStyle/>
          <a:p>
            <a:r>
              <a:rPr lang="es-ES" sz="19900" dirty="0">
                <a:solidFill>
                  <a:srgbClr val="FEC8C8"/>
                </a:solidFill>
              </a:rPr>
              <a:t>1</a:t>
            </a:r>
          </a:p>
        </p:txBody>
      </p:sp>
      <p:sp>
        <p:nvSpPr>
          <p:cNvPr id="27650" name="Rectangle 5"/>
          <p:cNvSpPr txBox="1">
            <a:spLocks noGrp="1" noChangeArrowheads="1"/>
          </p:cNvSpPr>
          <p:nvPr/>
        </p:nvSpPr>
        <p:spPr bwMode="black">
          <a:xfrm>
            <a:off x="3413126" y="13074650"/>
            <a:ext cx="733424" cy="368300"/>
          </a:xfrm>
          <a:prstGeom prst="rect">
            <a:avLst/>
          </a:prstGeom>
          <a:noFill/>
          <a:ln w="9525">
            <a:noFill/>
            <a:miter lim="800000"/>
            <a:headEnd/>
            <a:tailEnd/>
          </a:ln>
        </p:spPr>
        <p:txBody>
          <a:bodyPr lIns="184150" tIns="92076" rIns="184150" bIns="92076"/>
          <a:lstStyle/>
          <a:p>
            <a:fld id="{91ECDFF8-1E9F-4B22-BFC9-D56DCD534717}" type="slidenum">
              <a:rPr lang="en-US" sz="1600" u="none"/>
              <a:pPr/>
              <a:t>6</a:t>
            </a:fld>
            <a:endParaRPr lang="en-US" sz="1600" u="none" dirty="0"/>
          </a:p>
        </p:txBody>
      </p:sp>
      <p:sp>
        <p:nvSpPr>
          <p:cNvPr id="2" name="TextBox 1">
            <a:extLst>
              <a:ext uri="{FF2B5EF4-FFF2-40B4-BE49-F238E27FC236}">
                <a16:creationId xmlns:a16="http://schemas.microsoft.com/office/drawing/2014/main" id="{6BC7F5CB-B6BC-4D05-A604-F3D88B70792E}"/>
              </a:ext>
            </a:extLst>
          </p:cNvPr>
          <p:cNvSpPr txBox="1"/>
          <p:nvPr/>
        </p:nvSpPr>
        <p:spPr>
          <a:xfrm>
            <a:off x="650240" y="541319"/>
            <a:ext cx="22611504" cy="1138773"/>
          </a:xfrm>
          <a:prstGeom prst="rect">
            <a:avLst/>
          </a:prstGeom>
          <a:noFill/>
        </p:spPr>
        <p:txBody>
          <a:bodyPr wrap="square" rtlCol="0" anchor="t">
            <a:spAutoFit/>
          </a:bodyPr>
          <a:lstStyle/>
          <a:p>
            <a:pPr algn="l"/>
            <a:r>
              <a:rPr lang="en-US" sz="4000" b="1" kern="1200" dirty="0">
                <a:solidFill>
                  <a:srgbClr val="C00000"/>
                </a:solidFill>
              </a:rPr>
              <a:t>Overview CTOM</a:t>
            </a:r>
          </a:p>
          <a:p>
            <a:pPr algn="l"/>
            <a:r>
              <a:rPr lang="en-GB" altLang="en-US" sz="2800" kern="1200" dirty="0">
                <a:solidFill>
                  <a:schemeClr val="tx1"/>
                </a:solidFill>
              </a:rPr>
              <a:t>Definición de TOM</a:t>
            </a:r>
          </a:p>
        </p:txBody>
      </p:sp>
      <p:sp>
        <p:nvSpPr>
          <p:cNvPr id="5" name="TextBox 4">
            <a:extLst>
              <a:ext uri="{FF2B5EF4-FFF2-40B4-BE49-F238E27FC236}">
                <a16:creationId xmlns:a16="http://schemas.microsoft.com/office/drawing/2014/main" id="{2C359F2F-0533-4952-B0BB-8F979A98D37B}"/>
              </a:ext>
            </a:extLst>
          </p:cNvPr>
          <p:cNvSpPr txBox="1"/>
          <p:nvPr/>
        </p:nvSpPr>
        <p:spPr>
          <a:xfrm>
            <a:off x="701192" y="2068873"/>
            <a:ext cx="22560545"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GB" dirty="0">
                <a:latin typeface="+mn-lt"/>
              </a:rPr>
              <a:t>Moverse hacia un Modelo operativo Cloud objetivo posiciona a Santander Tecnología España en una optimización Cloud y le ayuda en la consecución de los beneficios esperados</a:t>
            </a:r>
            <a:endParaRPr lang="en-GB" dirty="0">
              <a:latin typeface="+mn-lt"/>
              <a:cs typeface="Arial"/>
            </a:endParaRPr>
          </a:p>
        </p:txBody>
      </p:sp>
      <p:sp>
        <p:nvSpPr>
          <p:cNvPr id="7" name="Rectangle 6">
            <a:extLst>
              <a:ext uri="{FF2B5EF4-FFF2-40B4-BE49-F238E27FC236}">
                <a16:creationId xmlns:a16="http://schemas.microsoft.com/office/drawing/2014/main" id="{5A1C56E9-71C0-4189-A24C-2B6BACB9DD4A}"/>
              </a:ext>
            </a:extLst>
          </p:cNvPr>
          <p:cNvSpPr/>
          <p:nvPr/>
        </p:nvSpPr>
        <p:spPr>
          <a:xfrm>
            <a:off x="5684210" y="7677410"/>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solidFill>
                <a:latin typeface="Arial" panose="020B0604020202020204"/>
                <a:ea typeface="MS PGothic" charset="-128"/>
              </a:rPr>
              <a:t>Governance</a:t>
            </a:r>
            <a:br>
              <a:rPr lang="en-GB" sz="1600" b="1" dirty="0">
                <a:solidFill>
                  <a:schemeClr val="bg1"/>
                </a:solidFill>
                <a:latin typeface="Arial" panose="020B0604020202020204"/>
                <a:ea typeface="MS PGothic" charset="-128"/>
              </a:rPr>
            </a:br>
            <a:r>
              <a:rPr lang="en-GB" sz="1600" b="1" dirty="0">
                <a:solidFill>
                  <a:schemeClr val="bg1"/>
                </a:solidFill>
                <a:latin typeface="Arial" panose="020B0604020202020204"/>
                <a:ea typeface="MS PGothic" charset="-128"/>
              </a:rPr>
              <a:t>&amp; Control</a:t>
            </a:r>
            <a:endParaRPr lang="en-US" sz="1600" b="1" dirty="0">
              <a:solidFill>
                <a:schemeClr val="bg1"/>
              </a:solidFill>
              <a:latin typeface="Arial" panose="020B0604020202020204"/>
              <a:ea typeface="MS PGothic" charset="-128"/>
            </a:endParaRPr>
          </a:p>
        </p:txBody>
      </p:sp>
      <p:sp>
        <p:nvSpPr>
          <p:cNvPr id="8" name="Rectangle 7">
            <a:extLst>
              <a:ext uri="{FF2B5EF4-FFF2-40B4-BE49-F238E27FC236}">
                <a16:creationId xmlns:a16="http://schemas.microsoft.com/office/drawing/2014/main" id="{B0C8E6BD-F028-4B9A-AD8A-AC3DF2BA0ED7}"/>
              </a:ext>
            </a:extLst>
          </p:cNvPr>
          <p:cNvSpPr/>
          <p:nvPr/>
        </p:nvSpPr>
        <p:spPr>
          <a:xfrm>
            <a:off x="9317649" y="9512357"/>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a:spcBef>
                <a:spcPct val="0"/>
              </a:spcBef>
              <a:spcAft>
                <a:spcPct val="0"/>
              </a:spcAft>
            </a:pPr>
            <a:r>
              <a:rPr lang="en-GB" sz="1600" b="1" dirty="0">
                <a:solidFill>
                  <a:schemeClr val="bg1"/>
                </a:solidFill>
                <a:latin typeface="Arial" panose="020B0604020202020204"/>
                <a:ea typeface="MS PGothic"/>
              </a:rPr>
              <a:t>Operaciones de servicio continuas</a:t>
            </a:r>
            <a:endParaRPr lang="en-US" dirty="0">
              <a:solidFill>
                <a:schemeClr val="bg1"/>
              </a:solidFill>
            </a:endParaRPr>
          </a:p>
        </p:txBody>
      </p:sp>
      <p:sp>
        <p:nvSpPr>
          <p:cNvPr id="9" name="Rectangle 8">
            <a:extLst>
              <a:ext uri="{FF2B5EF4-FFF2-40B4-BE49-F238E27FC236}">
                <a16:creationId xmlns:a16="http://schemas.microsoft.com/office/drawing/2014/main" id="{C549C7C8-1F86-4324-8162-CB3456E99224}"/>
              </a:ext>
            </a:extLst>
          </p:cNvPr>
          <p:cNvSpPr/>
          <p:nvPr/>
        </p:nvSpPr>
        <p:spPr>
          <a:xfrm>
            <a:off x="12075626" y="5976219"/>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solidFill>
                <a:latin typeface="Arial" panose="020B0604020202020204"/>
                <a:ea typeface="MS PGothic"/>
              </a:rPr>
              <a:t>CI / CD de releases</a:t>
            </a:r>
            <a:endParaRPr lang="en-GB" sz="1600" b="1" dirty="0">
              <a:solidFill>
                <a:schemeClr val="bg1"/>
              </a:solidFill>
              <a:latin typeface="Arial" panose="020B0604020202020204"/>
              <a:ea typeface="MS PGothic"/>
              <a:cs typeface="Arial"/>
            </a:endParaRPr>
          </a:p>
        </p:txBody>
      </p:sp>
      <p:sp>
        <p:nvSpPr>
          <p:cNvPr id="10" name="Rectangle 9">
            <a:extLst>
              <a:ext uri="{FF2B5EF4-FFF2-40B4-BE49-F238E27FC236}">
                <a16:creationId xmlns:a16="http://schemas.microsoft.com/office/drawing/2014/main" id="{39A854F1-CD9A-47C0-BD59-74D4CEB34EC1}"/>
              </a:ext>
            </a:extLst>
          </p:cNvPr>
          <p:cNvSpPr/>
          <p:nvPr/>
        </p:nvSpPr>
        <p:spPr>
          <a:xfrm>
            <a:off x="9272696" y="5993427"/>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solidFill>
                <a:latin typeface="Arial" panose="020B0604020202020204"/>
                <a:ea typeface="MS PGothic"/>
                <a:cs typeface="Arial"/>
              </a:rPr>
              <a:t>Servicios de demanda ágiles</a:t>
            </a:r>
            <a:endParaRPr lang="en-GB" sz="1600" b="1" dirty="0">
              <a:solidFill>
                <a:schemeClr val="bg1"/>
              </a:solidFill>
              <a:latin typeface="Arial" panose="020B0604020202020204"/>
              <a:ea typeface="MS PGothic" charset="-128"/>
              <a:cs typeface="Arial"/>
            </a:endParaRPr>
          </a:p>
        </p:txBody>
      </p:sp>
      <p:sp>
        <p:nvSpPr>
          <p:cNvPr id="11" name="Rectangle 10">
            <a:extLst>
              <a:ext uri="{FF2B5EF4-FFF2-40B4-BE49-F238E27FC236}">
                <a16:creationId xmlns:a16="http://schemas.microsoft.com/office/drawing/2014/main" id="{685705BB-C4CC-40AD-AE6E-D6F862AA344B}"/>
              </a:ext>
            </a:extLst>
          </p:cNvPr>
          <p:cNvSpPr/>
          <p:nvPr/>
        </p:nvSpPr>
        <p:spPr>
          <a:xfrm>
            <a:off x="12107820" y="9512357"/>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solidFill>
                <a:ea typeface="MS PGothic" charset="-128"/>
              </a:rPr>
              <a:t>Aprovisionamiento &amp; Ejecución Automática</a:t>
            </a:r>
            <a:endParaRPr lang="en-US" sz="1600" b="1" dirty="0">
              <a:solidFill>
                <a:schemeClr val="bg1"/>
              </a:solidFill>
              <a:ea typeface="MS PGothic" charset="-128"/>
            </a:endParaRPr>
          </a:p>
        </p:txBody>
      </p:sp>
      <p:sp>
        <p:nvSpPr>
          <p:cNvPr id="12" name="Rectangle 11">
            <a:extLst>
              <a:ext uri="{FF2B5EF4-FFF2-40B4-BE49-F238E27FC236}">
                <a16:creationId xmlns:a16="http://schemas.microsoft.com/office/drawing/2014/main" id="{49CA0214-AA75-445C-98A5-E83C3266EF93}"/>
              </a:ext>
            </a:extLst>
          </p:cNvPr>
          <p:cNvSpPr/>
          <p:nvPr/>
        </p:nvSpPr>
        <p:spPr>
          <a:xfrm>
            <a:off x="9101740" y="5791857"/>
            <a:ext cx="5711535" cy="1693717"/>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ectangle 42">
            <a:extLst>
              <a:ext uri="{FF2B5EF4-FFF2-40B4-BE49-F238E27FC236}">
                <a16:creationId xmlns:a16="http://schemas.microsoft.com/office/drawing/2014/main" id="{B19D62D8-2A4E-4604-AA0C-9C862B85551A}"/>
              </a:ext>
            </a:extLst>
          </p:cNvPr>
          <p:cNvSpPr/>
          <p:nvPr/>
        </p:nvSpPr>
        <p:spPr>
          <a:xfrm>
            <a:off x="9154238" y="9316274"/>
            <a:ext cx="5711535" cy="1693717"/>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3" name="Straight Arrow Connector 12">
            <a:extLst>
              <a:ext uri="{FF2B5EF4-FFF2-40B4-BE49-F238E27FC236}">
                <a16:creationId xmlns:a16="http://schemas.microsoft.com/office/drawing/2014/main" id="{5AE0B69D-8745-4CBD-B25B-08656C343804}"/>
              </a:ext>
            </a:extLst>
          </p:cNvPr>
          <p:cNvCxnSpPr>
            <a:cxnSpLocks/>
          </p:cNvCxnSpPr>
          <p:nvPr/>
        </p:nvCxnSpPr>
        <p:spPr>
          <a:xfrm flipH="1">
            <a:off x="12007621" y="7739119"/>
            <a:ext cx="24614" cy="1295438"/>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3760EADD-EABB-4C66-9E8D-BE0E4459B241}"/>
              </a:ext>
            </a:extLst>
          </p:cNvPr>
          <p:cNvSpPr txBox="1"/>
          <p:nvPr/>
        </p:nvSpPr>
        <p:spPr>
          <a:xfrm>
            <a:off x="18090065" y="2914938"/>
            <a:ext cx="4310939" cy="1785104"/>
          </a:xfrm>
          <a:prstGeom prst="rect">
            <a:avLst/>
          </a:prstGeom>
          <a:noFill/>
        </p:spPr>
        <p:txBody>
          <a:bodyPr wrap="square" rtlCol="0" anchor="t">
            <a:spAutoFit/>
          </a:bodyPr>
          <a:lstStyle/>
          <a:p>
            <a:pPr algn="l"/>
            <a:r>
              <a:rPr lang="es-ES" sz="2000" b="1" dirty="0">
                <a:solidFill>
                  <a:srgbClr val="AC0000"/>
                </a:solidFill>
              </a:rPr>
              <a:t>2. CI / CD de Releases optimizado</a:t>
            </a:r>
          </a:p>
          <a:p>
            <a:endParaRPr lang="es-ES" sz="1800" dirty="0"/>
          </a:p>
          <a:p>
            <a:pPr marL="514350" indent="-514350" algn="l">
              <a:buFont typeface="+mj-lt"/>
              <a:buAutoNum type="arabicPeriod"/>
            </a:pPr>
            <a:r>
              <a:rPr lang="es-ES" sz="1800" dirty="0"/>
              <a:t>Central Configuration</a:t>
            </a:r>
          </a:p>
          <a:p>
            <a:pPr marL="514350" indent="-514350" algn="l">
              <a:buFont typeface="+mj-lt"/>
              <a:buAutoNum type="arabicPeriod"/>
            </a:pPr>
            <a:r>
              <a:rPr lang="es-ES" sz="1800" dirty="0">
                <a:cs typeface="Arial"/>
              </a:rPr>
              <a:t>Gestión</a:t>
            </a:r>
          </a:p>
          <a:p>
            <a:pPr marL="514350" indent="-514350" algn="l">
              <a:buFont typeface="+mj-lt"/>
              <a:buAutoNum type="arabicPeriod"/>
            </a:pPr>
            <a:r>
              <a:rPr lang="es-ES" sz="1800" dirty="0"/>
              <a:t>Desarrollo "Test driven"</a:t>
            </a:r>
            <a:endParaRPr lang="es-ES" sz="1800" dirty="0">
              <a:cs typeface="Arial"/>
            </a:endParaRPr>
          </a:p>
          <a:p>
            <a:pPr marL="514350" indent="-514350" algn="l">
              <a:buFont typeface="+mj-lt"/>
              <a:buAutoNum type="arabicPeriod"/>
            </a:pPr>
            <a:r>
              <a:rPr lang="es-ES" sz="1800" dirty="0"/>
              <a:t>Uso de APIs</a:t>
            </a:r>
            <a:endParaRPr lang="es-ES" sz="1800" dirty="0">
              <a:cs typeface="Arial"/>
            </a:endParaRPr>
          </a:p>
        </p:txBody>
      </p:sp>
      <p:sp>
        <p:nvSpPr>
          <p:cNvPr id="25" name="TextBox 24">
            <a:extLst>
              <a:ext uri="{FF2B5EF4-FFF2-40B4-BE49-F238E27FC236}">
                <a16:creationId xmlns:a16="http://schemas.microsoft.com/office/drawing/2014/main" id="{D27D253A-06C0-4E08-972B-3DA8BF58487A}"/>
              </a:ext>
            </a:extLst>
          </p:cNvPr>
          <p:cNvSpPr txBox="1"/>
          <p:nvPr/>
        </p:nvSpPr>
        <p:spPr>
          <a:xfrm>
            <a:off x="17453890" y="10863455"/>
            <a:ext cx="5070619" cy="1508105"/>
          </a:xfrm>
          <a:prstGeom prst="rect">
            <a:avLst/>
          </a:prstGeom>
          <a:noFill/>
        </p:spPr>
        <p:txBody>
          <a:bodyPr wrap="none" rtlCol="0" anchor="t">
            <a:spAutoFit/>
          </a:bodyPr>
          <a:lstStyle/>
          <a:p>
            <a:pPr algn="l"/>
            <a:r>
              <a:rPr lang="es-ES" sz="2000" b="1" dirty="0">
                <a:solidFill>
                  <a:srgbClr val="AC0000"/>
                </a:solidFill>
              </a:rPr>
              <a:t>4. Aprovisionamiento Cloud end-to-end:</a:t>
            </a:r>
            <a:endParaRPr lang="es-ES" sz="2000" b="1" dirty="0">
              <a:solidFill>
                <a:srgbClr val="AC0000"/>
              </a:solidFill>
              <a:cs typeface="Arial"/>
            </a:endParaRPr>
          </a:p>
          <a:p>
            <a:endParaRPr lang="es-ES" sz="1800" dirty="0"/>
          </a:p>
          <a:p>
            <a:pPr marL="514350" indent="-514350" algn="l">
              <a:buFont typeface="+mj-lt"/>
              <a:buAutoNum type="arabicPeriod"/>
            </a:pPr>
            <a:r>
              <a:rPr lang="es-ES" sz="1800" dirty="0"/>
              <a:t>Entornos</a:t>
            </a:r>
          </a:p>
          <a:p>
            <a:pPr marL="514350" indent="-514350" algn="l">
              <a:buFont typeface="+mj-lt"/>
              <a:buAutoNum type="arabicPeriod"/>
            </a:pPr>
            <a:r>
              <a:rPr lang="es-ES" sz="1800" dirty="0"/>
              <a:t>Bases de datos</a:t>
            </a:r>
          </a:p>
          <a:p>
            <a:pPr marL="514350" indent="-514350" algn="l">
              <a:buAutoNum type="arabicPeriod"/>
            </a:pPr>
            <a:r>
              <a:rPr lang="es-ES" sz="1800" dirty="0"/>
              <a:t>Capacity and Availability</a:t>
            </a:r>
          </a:p>
        </p:txBody>
      </p:sp>
      <p:sp>
        <p:nvSpPr>
          <p:cNvPr id="26" name="TextBox 25">
            <a:extLst>
              <a:ext uri="{FF2B5EF4-FFF2-40B4-BE49-F238E27FC236}">
                <a16:creationId xmlns:a16="http://schemas.microsoft.com/office/drawing/2014/main" id="{B73C875F-0CEE-4962-A3E3-282971F8DB10}"/>
              </a:ext>
            </a:extLst>
          </p:cNvPr>
          <p:cNvSpPr txBox="1"/>
          <p:nvPr/>
        </p:nvSpPr>
        <p:spPr>
          <a:xfrm>
            <a:off x="1657675" y="9642606"/>
            <a:ext cx="4549579" cy="2339102"/>
          </a:xfrm>
          <a:prstGeom prst="rect">
            <a:avLst/>
          </a:prstGeom>
          <a:noFill/>
        </p:spPr>
        <p:txBody>
          <a:bodyPr wrap="square" rtlCol="0" anchor="t">
            <a:spAutoFit/>
          </a:bodyPr>
          <a:lstStyle/>
          <a:p>
            <a:pPr algn="l"/>
            <a:r>
              <a:rPr lang="es-ES" sz="2000" b="1" dirty="0">
                <a:solidFill>
                  <a:srgbClr val="AC0000"/>
                </a:solidFill>
              </a:rPr>
              <a:t>5. Control centralizado:</a:t>
            </a:r>
          </a:p>
          <a:p>
            <a:pPr marL="514350" indent="-514350" algn="l">
              <a:buFont typeface="+mj-lt"/>
              <a:buAutoNum type="arabicPeriod"/>
            </a:pPr>
            <a:endParaRPr lang="es-ES" sz="1800" dirty="0"/>
          </a:p>
          <a:p>
            <a:pPr marL="514350" indent="-514350" algn="l">
              <a:buFont typeface="+mj-lt"/>
              <a:buAutoNum type="arabicPeriod"/>
            </a:pPr>
            <a:r>
              <a:rPr lang="es-ES" sz="1800" dirty="0"/>
              <a:t>Self-serve y cloud first</a:t>
            </a:r>
          </a:p>
          <a:p>
            <a:pPr marL="514350" indent="-514350" algn="l">
              <a:buFont typeface="+mj-lt"/>
              <a:buAutoNum type="arabicPeriod"/>
            </a:pPr>
            <a:r>
              <a:rPr lang="es-ES" sz="1800" dirty="0"/>
              <a:t>Mecanismos y politicas de control de seguridad</a:t>
            </a:r>
          </a:p>
          <a:p>
            <a:pPr marL="514350" indent="-514350" algn="l">
              <a:buFont typeface="+mj-lt"/>
              <a:buAutoNum type="arabicPeriod"/>
            </a:pPr>
            <a:r>
              <a:rPr lang="es-ES" sz="1800" dirty="0"/>
              <a:t>Sourcing como hito basado en servicios Cloud (Fixed Price a largo plazo)</a:t>
            </a:r>
          </a:p>
        </p:txBody>
      </p:sp>
      <p:sp>
        <p:nvSpPr>
          <p:cNvPr id="27" name="TextBox 26">
            <a:extLst>
              <a:ext uri="{FF2B5EF4-FFF2-40B4-BE49-F238E27FC236}">
                <a16:creationId xmlns:a16="http://schemas.microsoft.com/office/drawing/2014/main" id="{0A73404C-3B4B-45EE-89E7-90A9FFDE4C6E}"/>
              </a:ext>
            </a:extLst>
          </p:cNvPr>
          <p:cNvSpPr txBox="1"/>
          <p:nvPr/>
        </p:nvSpPr>
        <p:spPr>
          <a:xfrm>
            <a:off x="1749436" y="4554521"/>
            <a:ext cx="4900701" cy="1508105"/>
          </a:xfrm>
          <a:prstGeom prst="rect">
            <a:avLst/>
          </a:prstGeom>
          <a:noFill/>
          <a:ln>
            <a:noFill/>
          </a:ln>
        </p:spPr>
        <p:txBody>
          <a:bodyPr wrap="none" rtlCol="0" anchor="t">
            <a:spAutoFit/>
          </a:bodyPr>
          <a:lstStyle/>
          <a:p>
            <a:pPr algn="l"/>
            <a:r>
              <a:rPr lang="es-ES" sz="2000" b="1" dirty="0">
                <a:solidFill>
                  <a:srgbClr val="AC0000"/>
                </a:solidFill>
              </a:rPr>
              <a:t>1. Nuevas formas de adaptación Cloud</a:t>
            </a:r>
            <a:endParaRPr lang="es-ES" sz="2000" b="1" dirty="0">
              <a:solidFill>
                <a:srgbClr val="AC0000"/>
              </a:solidFill>
              <a:cs typeface="Arial"/>
            </a:endParaRPr>
          </a:p>
          <a:p>
            <a:endParaRPr lang="es-ES" sz="1800" dirty="0"/>
          </a:p>
          <a:p>
            <a:pPr marL="514350" indent="-514350" algn="l">
              <a:buFont typeface="+mj-lt"/>
              <a:buAutoNum type="arabicPeriod"/>
            </a:pPr>
            <a:r>
              <a:rPr lang="es-ES" sz="1800" dirty="0"/>
              <a:t>Uso de MVP</a:t>
            </a:r>
          </a:p>
          <a:p>
            <a:pPr marL="514350" indent="-514350" algn="l">
              <a:buFont typeface="+mj-lt"/>
              <a:buAutoNum type="arabicPeriod"/>
            </a:pPr>
            <a:r>
              <a:rPr lang="es-ES" sz="1800" dirty="0"/>
              <a:t>Uso de Agile at scale</a:t>
            </a:r>
          </a:p>
          <a:p>
            <a:pPr marL="514350" indent="-514350" algn="l">
              <a:buFont typeface="+mj-lt"/>
              <a:buAutoNum type="arabicPeriod"/>
            </a:pPr>
            <a:r>
              <a:rPr lang="es-ES" sz="1800" dirty="0"/>
              <a:t>Pruebas con clientes</a:t>
            </a:r>
          </a:p>
        </p:txBody>
      </p:sp>
      <p:sp>
        <p:nvSpPr>
          <p:cNvPr id="28" name="TextBox 27">
            <a:extLst>
              <a:ext uri="{FF2B5EF4-FFF2-40B4-BE49-F238E27FC236}">
                <a16:creationId xmlns:a16="http://schemas.microsoft.com/office/drawing/2014/main" id="{4B2CA3E3-A2D8-437C-86C6-18ECC48C23D4}"/>
              </a:ext>
            </a:extLst>
          </p:cNvPr>
          <p:cNvSpPr txBox="1"/>
          <p:nvPr/>
        </p:nvSpPr>
        <p:spPr>
          <a:xfrm>
            <a:off x="17206170" y="5601301"/>
            <a:ext cx="6563030" cy="1754326"/>
          </a:xfrm>
          <a:prstGeom prst="rect">
            <a:avLst/>
          </a:prstGeom>
          <a:noFill/>
        </p:spPr>
        <p:txBody>
          <a:bodyPr wrap="square" rtlCol="0" anchor="t">
            <a:spAutoFit/>
          </a:bodyPr>
          <a:lstStyle/>
          <a:p>
            <a:pPr algn="l"/>
            <a:r>
              <a:rPr lang="es-ES" sz="1800" dirty="0"/>
              <a:t>Habilita la integración de Partners y el tool-chain estándar de DevOps (Usado parao la gestión de continua del Lifecycle de releases)</a:t>
            </a:r>
            <a:endParaRPr lang="en-US" dirty="0"/>
          </a:p>
          <a:p>
            <a:pPr marL="285750" indent="-285750" algn="l">
              <a:buFont typeface="Arial" panose="020B0604020202020204" pitchFamily="34" charset="0"/>
              <a:buChar char="•"/>
            </a:pPr>
            <a:endParaRPr lang="es-ES" sz="1800" dirty="0"/>
          </a:p>
          <a:p>
            <a:pPr algn="l"/>
            <a:r>
              <a:rPr lang="es-ES" sz="1800" dirty="0"/>
              <a:t>Se inicia con la distinción entre la mezcla de desarrollo y mantenimiento</a:t>
            </a:r>
            <a:endParaRPr lang="es-ES" sz="1800" dirty="0">
              <a:cs typeface="Arial"/>
            </a:endParaRPr>
          </a:p>
        </p:txBody>
      </p:sp>
      <p:sp>
        <p:nvSpPr>
          <p:cNvPr id="24" name="Rectangle: Rounded Corners 23">
            <a:extLst>
              <a:ext uri="{FF2B5EF4-FFF2-40B4-BE49-F238E27FC236}">
                <a16:creationId xmlns:a16="http://schemas.microsoft.com/office/drawing/2014/main" id="{AECDFCCA-CF1C-4CEA-816F-A2F93E8DBA8D}"/>
              </a:ext>
            </a:extLst>
          </p:cNvPr>
          <p:cNvSpPr/>
          <p:nvPr/>
        </p:nvSpPr>
        <p:spPr>
          <a:xfrm>
            <a:off x="6705813" y="3340716"/>
            <a:ext cx="10500357" cy="1115507"/>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2400" b="1" dirty="0"/>
              <a:t>DOMINIOS DE NEGOCIO DE CLIENTE</a:t>
            </a:r>
          </a:p>
          <a:p>
            <a:pPr algn="ctr"/>
            <a:endParaRPr lang="es-ES" sz="1600" dirty="0"/>
          </a:p>
          <a:p>
            <a:pPr algn="ctr"/>
            <a:r>
              <a:rPr lang="es-ES" sz="2000" dirty="0"/>
              <a:t>(Digital, Circulation, Editorial, Advertising, Manufacturig, Shared Service)</a:t>
            </a:r>
          </a:p>
        </p:txBody>
      </p:sp>
      <p:sp>
        <p:nvSpPr>
          <p:cNvPr id="32" name="TextBox 31">
            <a:extLst>
              <a:ext uri="{FF2B5EF4-FFF2-40B4-BE49-F238E27FC236}">
                <a16:creationId xmlns:a16="http://schemas.microsoft.com/office/drawing/2014/main" id="{C2198EB0-D802-4FF3-8345-5373CE98BC3E}"/>
              </a:ext>
            </a:extLst>
          </p:cNvPr>
          <p:cNvSpPr txBox="1"/>
          <p:nvPr/>
        </p:nvSpPr>
        <p:spPr>
          <a:xfrm>
            <a:off x="7125498" y="11507758"/>
            <a:ext cx="8616058" cy="1508105"/>
          </a:xfrm>
          <a:prstGeom prst="rect">
            <a:avLst/>
          </a:prstGeom>
          <a:noFill/>
        </p:spPr>
        <p:txBody>
          <a:bodyPr wrap="square" rtlCol="0" anchor="t">
            <a:spAutoFit/>
          </a:bodyPr>
          <a:lstStyle/>
          <a:p>
            <a:pPr algn="l"/>
            <a:r>
              <a:rPr lang="es-ES" sz="2000" b="1" dirty="0">
                <a:solidFill>
                  <a:srgbClr val="AC0000"/>
                </a:solidFill>
              </a:rPr>
              <a:t>3. Gestión optimizada de servicios usando Cloud:</a:t>
            </a:r>
          </a:p>
          <a:p>
            <a:endParaRPr lang="es-ES" sz="1800" dirty="0"/>
          </a:p>
          <a:p>
            <a:pPr marL="514350" indent="-514350" algn="l">
              <a:buFont typeface="+mj-lt"/>
              <a:buAutoNum type="arabicPeriod"/>
            </a:pPr>
            <a:r>
              <a:rPr lang="es-ES" sz="1800" dirty="0"/>
              <a:t>Monitorización automatizada (Servicios de catálogo y APIs)</a:t>
            </a:r>
          </a:p>
          <a:p>
            <a:pPr marL="514350" indent="-514350" algn="l">
              <a:buFont typeface="+mj-lt"/>
              <a:buAutoNum type="arabicPeriod"/>
            </a:pPr>
            <a:r>
              <a:rPr lang="es-ES" sz="1800" dirty="0"/>
              <a:t>Gestión rápida de Incidencias y problemas</a:t>
            </a:r>
          </a:p>
          <a:p>
            <a:pPr marL="514350" indent="-514350" algn="l">
              <a:buFont typeface="+mj-lt"/>
              <a:buAutoNum type="arabicPeriod"/>
            </a:pPr>
            <a:r>
              <a:rPr lang="es-ES" sz="1800" dirty="0"/>
              <a:t>Continuidad de negocio fluida (incluyendo DR)</a:t>
            </a:r>
          </a:p>
        </p:txBody>
      </p:sp>
      <p:cxnSp>
        <p:nvCxnSpPr>
          <p:cNvPr id="31" name="Straight Connector 30">
            <a:extLst>
              <a:ext uri="{FF2B5EF4-FFF2-40B4-BE49-F238E27FC236}">
                <a16:creationId xmlns:a16="http://schemas.microsoft.com/office/drawing/2014/main" id="{A1D0A393-5C70-4FA2-A4B2-752646F659A0}"/>
              </a:ext>
            </a:extLst>
          </p:cNvPr>
          <p:cNvCxnSpPr>
            <a:cxnSpLocks/>
          </p:cNvCxnSpPr>
          <p:nvPr/>
        </p:nvCxnSpPr>
        <p:spPr>
          <a:xfrm>
            <a:off x="18036494" y="3421829"/>
            <a:ext cx="0" cy="1247435"/>
          </a:xfrm>
          <a:prstGeom prst="line">
            <a:avLst/>
          </a:prstGeom>
          <a:ln w="31750"/>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9C139E1-1573-477A-ABD5-A90E51DE16CF}"/>
              </a:ext>
            </a:extLst>
          </p:cNvPr>
          <p:cNvCxnSpPr>
            <a:cxnSpLocks/>
          </p:cNvCxnSpPr>
          <p:nvPr/>
        </p:nvCxnSpPr>
        <p:spPr>
          <a:xfrm>
            <a:off x="17050430" y="5628534"/>
            <a:ext cx="0" cy="1727093"/>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C876239E-AB32-4E10-9B27-DDF3D815E749}"/>
              </a:ext>
            </a:extLst>
          </p:cNvPr>
          <p:cNvSpPr txBox="1"/>
          <p:nvPr/>
        </p:nvSpPr>
        <p:spPr>
          <a:xfrm>
            <a:off x="16110867" y="7736823"/>
            <a:ext cx="6563030" cy="923330"/>
          </a:xfrm>
          <a:prstGeom prst="rect">
            <a:avLst/>
          </a:prstGeom>
          <a:noFill/>
        </p:spPr>
        <p:txBody>
          <a:bodyPr wrap="square" rtlCol="0" anchor="t">
            <a:spAutoFit/>
          </a:bodyPr>
          <a:lstStyle/>
          <a:p>
            <a:pPr algn="l"/>
            <a:r>
              <a:rPr lang="es-ES" sz="1800" dirty="0"/>
              <a:t>Demanda centralizada basada en la gestión continua del  lyfe cycle de releases para optimizar el uso de un Cloud Brokerage automatizado.</a:t>
            </a:r>
            <a:endParaRPr lang="es-ES" sz="1800" dirty="0">
              <a:cs typeface="Arial"/>
            </a:endParaRPr>
          </a:p>
        </p:txBody>
      </p:sp>
      <p:cxnSp>
        <p:nvCxnSpPr>
          <p:cNvPr id="44" name="Straight Connector 43">
            <a:extLst>
              <a:ext uri="{FF2B5EF4-FFF2-40B4-BE49-F238E27FC236}">
                <a16:creationId xmlns:a16="http://schemas.microsoft.com/office/drawing/2014/main" id="{7D17D8C3-D784-4DE1-A97D-A5866813613A}"/>
              </a:ext>
            </a:extLst>
          </p:cNvPr>
          <p:cNvCxnSpPr>
            <a:cxnSpLocks/>
          </p:cNvCxnSpPr>
          <p:nvPr/>
        </p:nvCxnSpPr>
        <p:spPr>
          <a:xfrm>
            <a:off x="16041175" y="7678008"/>
            <a:ext cx="0" cy="896097"/>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A87798F9-9568-481A-9FE0-3FCD73A137D4}"/>
              </a:ext>
            </a:extLst>
          </p:cNvPr>
          <p:cNvSpPr txBox="1"/>
          <p:nvPr/>
        </p:nvSpPr>
        <p:spPr>
          <a:xfrm>
            <a:off x="16854282" y="9180941"/>
            <a:ext cx="6563030" cy="923330"/>
          </a:xfrm>
          <a:prstGeom prst="rect">
            <a:avLst/>
          </a:prstGeom>
          <a:noFill/>
        </p:spPr>
        <p:txBody>
          <a:bodyPr wrap="square" rtlCol="0" anchor="t">
            <a:spAutoFit/>
          </a:bodyPr>
          <a:lstStyle/>
          <a:p>
            <a:pPr algn="l"/>
            <a:r>
              <a:rPr lang="es-ES" sz="1800" dirty="0"/>
              <a:t>Único punto de acceso al aprovisionamiento de servicios transformado para maximizar y forzarcel uso  de los estándares y catálogos Cloud</a:t>
            </a:r>
            <a:endParaRPr lang="es-ES" sz="1800" dirty="0">
              <a:cs typeface="Arial"/>
            </a:endParaRPr>
          </a:p>
        </p:txBody>
      </p:sp>
      <p:cxnSp>
        <p:nvCxnSpPr>
          <p:cNvPr id="47" name="Straight Connector 46">
            <a:extLst>
              <a:ext uri="{FF2B5EF4-FFF2-40B4-BE49-F238E27FC236}">
                <a16:creationId xmlns:a16="http://schemas.microsoft.com/office/drawing/2014/main" id="{1459D94E-8F6C-4EEE-9E41-97CA5B9BF7EF}"/>
              </a:ext>
            </a:extLst>
          </p:cNvPr>
          <p:cNvCxnSpPr>
            <a:cxnSpLocks/>
          </p:cNvCxnSpPr>
          <p:nvPr/>
        </p:nvCxnSpPr>
        <p:spPr>
          <a:xfrm>
            <a:off x="16698542" y="9208174"/>
            <a:ext cx="0" cy="896097"/>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8AB6789C-9F85-4215-BECF-90C9D3E048C1}"/>
              </a:ext>
            </a:extLst>
          </p:cNvPr>
          <p:cNvSpPr txBox="1"/>
          <p:nvPr/>
        </p:nvSpPr>
        <p:spPr>
          <a:xfrm>
            <a:off x="11945974" y="7447354"/>
            <a:ext cx="2989922" cy="400110"/>
          </a:xfrm>
          <a:prstGeom prst="rect">
            <a:avLst/>
          </a:prstGeom>
          <a:noFill/>
        </p:spPr>
        <p:txBody>
          <a:bodyPr wrap="none" rtlCol="0" anchor="t">
            <a:spAutoFit/>
          </a:bodyPr>
          <a:lstStyle/>
          <a:p>
            <a:r>
              <a:rPr lang="es-ES" sz="2000" b="1" dirty="0">
                <a:solidFill>
                  <a:srgbClr val="AC0000"/>
                </a:solidFill>
              </a:rPr>
              <a:t>Gestión de la demanda</a:t>
            </a:r>
            <a:endParaRPr lang="en-US" dirty="0"/>
          </a:p>
        </p:txBody>
      </p:sp>
      <p:sp>
        <p:nvSpPr>
          <p:cNvPr id="49" name="TextBox 48">
            <a:extLst>
              <a:ext uri="{FF2B5EF4-FFF2-40B4-BE49-F238E27FC236}">
                <a16:creationId xmlns:a16="http://schemas.microsoft.com/office/drawing/2014/main" id="{B77AA2AD-4653-46D4-9F7F-63DDCD9E8399}"/>
              </a:ext>
            </a:extLst>
          </p:cNvPr>
          <p:cNvSpPr txBox="1"/>
          <p:nvPr/>
        </p:nvSpPr>
        <p:spPr>
          <a:xfrm>
            <a:off x="11968299" y="8821852"/>
            <a:ext cx="3190296" cy="400110"/>
          </a:xfrm>
          <a:prstGeom prst="rect">
            <a:avLst/>
          </a:prstGeom>
          <a:noFill/>
        </p:spPr>
        <p:txBody>
          <a:bodyPr wrap="none" rtlCol="0" anchor="t">
            <a:spAutoFit/>
          </a:bodyPr>
          <a:lstStyle/>
          <a:p>
            <a:r>
              <a:rPr lang="es-ES" sz="2000" b="1" dirty="0">
                <a:solidFill>
                  <a:srgbClr val="AC0000"/>
                </a:solidFill>
              </a:rPr>
              <a:t>Integración &amp; Brokerage</a:t>
            </a:r>
          </a:p>
        </p:txBody>
      </p:sp>
      <p:cxnSp>
        <p:nvCxnSpPr>
          <p:cNvPr id="50" name="Straight Connector 49">
            <a:extLst>
              <a:ext uri="{FF2B5EF4-FFF2-40B4-BE49-F238E27FC236}">
                <a16:creationId xmlns:a16="http://schemas.microsoft.com/office/drawing/2014/main" id="{171D841F-7250-40B3-90F3-D7AB612916B3}"/>
              </a:ext>
            </a:extLst>
          </p:cNvPr>
          <p:cNvCxnSpPr>
            <a:stCxn id="49" idx="3"/>
          </p:cNvCxnSpPr>
          <p:nvPr/>
        </p:nvCxnSpPr>
        <p:spPr>
          <a:xfrm>
            <a:off x="15158595" y="9021907"/>
            <a:ext cx="1539947" cy="634315"/>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26946576-A90F-4C86-A00F-A8FD1353DB67}"/>
              </a:ext>
            </a:extLst>
          </p:cNvPr>
          <p:cNvCxnSpPr>
            <a:cxnSpLocks/>
          </p:cNvCxnSpPr>
          <p:nvPr/>
        </p:nvCxnSpPr>
        <p:spPr>
          <a:xfrm>
            <a:off x="13754807" y="7795065"/>
            <a:ext cx="2286368" cy="29869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3623320C-2696-4772-87F2-C040673F0653}"/>
              </a:ext>
            </a:extLst>
          </p:cNvPr>
          <p:cNvCxnSpPr>
            <a:cxnSpLocks/>
          </p:cNvCxnSpPr>
          <p:nvPr/>
        </p:nvCxnSpPr>
        <p:spPr>
          <a:xfrm>
            <a:off x="17453890" y="11500092"/>
            <a:ext cx="0" cy="913073"/>
          </a:xfrm>
          <a:prstGeom prst="line">
            <a:avLst/>
          </a:prstGeom>
          <a:ln w="31750"/>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F8603CA7-4F2E-4F36-9E56-A137B4334F16}"/>
              </a:ext>
            </a:extLst>
          </p:cNvPr>
          <p:cNvCxnSpPr>
            <a:cxnSpLocks/>
          </p:cNvCxnSpPr>
          <p:nvPr/>
        </p:nvCxnSpPr>
        <p:spPr>
          <a:xfrm>
            <a:off x="14388621" y="10878733"/>
            <a:ext cx="3065268" cy="111128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DA68F3CB-AA7E-451C-A268-7B945CE8886B}"/>
              </a:ext>
            </a:extLst>
          </p:cNvPr>
          <p:cNvCxnSpPr>
            <a:cxnSpLocks/>
          </p:cNvCxnSpPr>
          <p:nvPr/>
        </p:nvCxnSpPr>
        <p:spPr>
          <a:xfrm>
            <a:off x="14813275" y="6588041"/>
            <a:ext cx="2237155" cy="25273"/>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53631A7-6DFD-4D76-AF5F-F3CB5AF2CA6E}"/>
              </a:ext>
            </a:extLst>
          </p:cNvPr>
          <p:cNvCxnSpPr>
            <a:cxnSpLocks/>
          </p:cNvCxnSpPr>
          <p:nvPr/>
        </p:nvCxnSpPr>
        <p:spPr>
          <a:xfrm flipV="1">
            <a:off x="14714455" y="4126253"/>
            <a:ext cx="3322039" cy="1991907"/>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6250D442-F28D-41F7-9F3D-CA6FE5FB80D9}"/>
              </a:ext>
            </a:extLst>
          </p:cNvPr>
          <p:cNvCxnSpPr>
            <a:cxnSpLocks/>
          </p:cNvCxnSpPr>
          <p:nvPr/>
        </p:nvCxnSpPr>
        <p:spPr>
          <a:xfrm>
            <a:off x="4708524" y="5122206"/>
            <a:ext cx="0" cy="871221"/>
          </a:xfrm>
          <a:prstGeom prst="line">
            <a:avLst/>
          </a:prstGeom>
          <a:ln w="31750"/>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FB1E7A40-7915-41E5-863B-FCF58442D57B}"/>
              </a:ext>
            </a:extLst>
          </p:cNvPr>
          <p:cNvCxnSpPr>
            <a:cxnSpLocks/>
          </p:cNvCxnSpPr>
          <p:nvPr/>
        </p:nvCxnSpPr>
        <p:spPr>
          <a:xfrm>
            <a:off x="4724952" y="5479635"/>
            <a:ext cx="4443355" cy="625427"/>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BE0BC45-46F1-420A-9C92-43594A592DED}"/>
              </a:ext>
            </a:extLst>
          </p:cNvPr>
          <p:cNvCxnSpPr>
            <a:cxnSpLocks/>
          </p:cNvCxnSpPr>
          <p:nvPr/>
        </p:nvCxnSpPr>
        <p:spPr>
          <a:xfrm flipH="1">
            <a:off x="1682832" y="9526116"/>
            <a:ext cx="4549579"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D4A9A560-0F1A-4C04-A118-EB06B57E49C4}"/>
              </a:ext>
            </a:extLst>
          </p:cNvPr>
          <p:cNvCxnSpPr>
            <a:cxnSpLocks/>
          </p:cNvCxnSpPr>
          <p:nvPr/>
        </p:nvCxnSpPr>
        <p:spPr>
          <a:xfrm flipV="1">
            <a:off x="3462532" y="8574105"/>
            <a:ext cx="2180072" cy="952012"/>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E6623DB2-D3E5-48CA-8021-35C89E8AFC66}"/>
              </a:ext>
            </a:extLst>
          </p:cNvPr>
          <p:cNvCxnSpPr>
            <a:cxnSpLocks/>
          </p:cNvCxnSpPr>
          <p:nvPr/>
        </p:nvCxnSpPr>
        <p:spPr>
          <a:xfrm flipH="1">
            <a:off x="7271978" y="11434373"/>
            <a:ext cx="6168956"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E1DDCA65-3464-4BD8-8FC9-12EEA42597D1}"/>
              </a:ext>
            </a:extLst>
          </p:cNvPr>
          <p:cNvCxnSpPr>
            <a:cxnSpLocks/>
          </p:cNvCxnSpPr>
          <p:nvPr/>
        </p:nvCxnSpPr>
        <p:spPr>
          <a:xfrm flipV="1">
            <a:off x="9352729" y="10878733"/>
            <a:ext cx="1036373" cy="55564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69307F6A-C12B-4E5F-9937-52007458A0DF}"/>
              </a:ext>
            </a:extLst>
          </p:cNvPr>
          <p:cNvCxnSpPr/>
          <p:nvPr/>
        </p:nvCxnSpPr>
        <p:spPr>
          <a:xfrm>
            <a:off x="6929432" y="6634982"/>
            <a:ext cx="2048483"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944C40E-20CF-49DB-82D5-5FDDCFF317B0}"/>
              </a:ext>
            </a:extLst>
          </p:cNvPr>
          <p:cNvCxnSpPr>
            <a:cxnSpLocks/>
          </p:cNvCxnSpPr>
          <p:nvPr/>
        </p:nvCxnSpPr>
        <p:spPr>
          <a:xfrm flipH="1" flipV="1">
            <a:off x="6956689" y="6603789"/>
            <a:ext cx="5609" cy="1010584"/>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89C81E22-E742-4FC4-B346-4B98B7DA2F23}"/>
              </a:ext>
            </a:extLst>
          </p:cNvPr>
          <p:cNvCxnSpPr>
            <a:cxnSpLocks/>
          </p:cNvCxnSpPr>
          <p:nvPr/>
        </p:nvCxnSpPr>
        <p:spPr>
          <a:xfrm>
            <a:off x="6927644" y="10303218"/>
            <a:ext cx="2048483"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F58172D4-75DB-4E22-AC20-14ACAEAE1741}"/>
              </a:ext>
            </a:extLst>
          </p:cNvPr>
          <p:cNvCxnSpPr>
            <a:cxnSpLocks/>
          </p:cNvCxnSpPr>
          <p:nvPr/>
        </p:nvCxnSpPr>
        <p:spPr>
          <a:xfrm flipH="1" flipV="1">
            <a:off x="6944948" y="9061657"/>
            <a:ext cx="1" cy="126496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DCF32D7B-184E-4E1A-AB9A-78DB2AF61210}"/>
              </a:ext>
            </a:extLst>
          </p:cNvPr>
          <p:cNvCxnSpPr>
            <a:cxnSpLocks/>
            <a:stCxn id="12" idx="0"/>
            <a:endCxn id="24" idx="2"/>
          </p:cNvCxnSpPr>
          <p:nvPr/>
        </p:nvCxnSpPr>
        <p:spPr>
          <a:xfrm flipH="1" flipV="1">
            <a:off x="11955992" y="4456223"/>
            <a:ext cx="1516" cy="1335634"/>
          </a:xfrm>
          <a:prstGeom prst="line">
            <a:avLst/>
          </a:prstGeom>
          <a:ln w="285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99622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a:extLst>
              <a:ext uri="{FF2B5EF4-FFF2-40B4-BE49-F238E27FC236}">
                <a16:creationId xmlns:a16="http://schemas.microsoft.com/office/drawing/2014/main" id="{DECC4C6B-B9C2-4134-8477-3703B9F22FCC}"/>
              </a:ext>
            </a:extLst>
          </p:cNvPr>
          <p:cNvSpPr txBox="1"/>
          <p:nvPr/>
        </p:nvSpPr>
        <p:spPr>
          <a:xfrm>
            <a:off x="9960418" y="1006667"/>
            <a:ext cx="1603324" cy="3154710"/>
          </a:xfrm>
          <a:prstGeom prst="rect">
            <a:avLst/>
          </a:prstGeom>
          <a:noFill/>
        </p:spPr>
        <p:txBody>
          <a:bodyPr wrap="none" rtlCol="0">
            <a:spAutoFit/>
          </a:bodyPr>
          <a:lstStyle/>
          <a:p>
            <a:r>
              <a:rPr lang="es-ES" sz="19900" dirty="0">
                <a:solidFill>
                  <a:srgbClr val="FEC8C8"/>
                </a:solidFill>
              </a:rPr>
              <a:t>2</a:t>
            </a:r>
          </a:p>
        </p:txBody>
      </p:sp>
      <p:sp>
        <p:nvSpPr>
          <p:cNvPr id="61" name="TextBox 60">
            <a:extLst>
              <a:ext uri="{FF2B5EF4-FFF2-40B4-BE49-F238E27FC236}">
                <a16:creationId xmlns:a16="http://schemas.microsoft.com/office/drawing/2014/main" id="{193B0423-E380-4CB5-A0CD-863A048FCEC0}"/>
              </a:ext>
            </a:extLst>
          </p:cNvPr>
          <p:cNvSpPr txBox="1"/>
          <p:nvPr/>
        </p:nvSpPr>
        <p:spPr>
          <a:xfrm>
            <a:off x="4153394" y="1006667"/>
            <a:ext cx="1603324" cy="3154710"/>
          </a:xfrm>
          <a:prstGeom prst="rect">
            <a:avLst/>
          </a:prstGeom>
          <a:noFill/>
        </p:spPr>
        <p:txBody>
          <a:bodyPr wrap="none" rtlCol="0">
            <a:spAutoFit/>
          </a:bodyPr>
          <a:lstStyle/>
          <a:p>
            <a:r>
              <a:rPr lang="es-ES" sz="19900" dirty="0">
                <a:solidFill>
                  <a:srgbClr val="FEC8C8"/>
                </a:solidFill>
              </a:rPr>
              <a:t>1</a:t>
            </a:r>
          </a:p>
        </p:txBody>
      </p:sp>
      <p:sp>
        <p:nvSpPr>
          <p:cNvPr id="63" name="TextBox 62">
            <a:extLst>
              <a:ext uri="{FF2B5EF4-FFF2-40B4-BE49-F238E27FC236}">
                <a16:creationId xmlns:a16="http://schemas.microsoft.com/office/drawing/2014/main" id="{7CBC748D-8FDA-4CCB-94B5-9F0FA3E5D5CB}"/>
              </a:ext>
            </a:extLst>
          </p:cNvPr>
          <p:cNvSpPr txBox="1"/>
          <p:nvPr/>
        </p:nvSpPr>
        <p:spPr>
          <a:xfrm>
            <a:off x="548802" y="2540925"/>
            <a:ext cx="1603324" cy="3154710"/>
          </a:xfrm>
          <a:prstGeom prst="rect">
            <a:avLst/>
          </a:prstGeom>
          <a:noFill/>
        </p:spPr>
        <p:txBody>
          <a:bodyPr wrap="none" rtlCol="0">
            <a:spAutoFit/>
          </a:bodyPr>
          <a:lstStyle/>
          <a:p>
            <a:r>
              <a:rPr lang="es-ES" sz="19900" dirty="0">
                <a:solidFill>
                  <a:srgbClr val="FEC8C8"/>
                </a:solidFill>
              </a:rPr>
              <a:t>5</a:t>
            </a:r>
          </a:p>
        </p:txBody>
      </p:sp>
      <p:sp>
        <p:nvSpPr>
          <p:cNvPr id="65" name="TextBox 64">
            <a:extLst>
              <a:ext uri="{FF2B5EF4-FFF2-40B4-BE49-F238E27FC236}">
                <a16:creationId xmlns:a16="http://schemas.microsoft.com/office/drawing/2014/main" id="{F040F03B-FE1A-4F03-8E80-C48224BCC4F6}"/>
              </a:ext>
            </a:extLst>
          </p:cNvPr>
          <p:cNvSpPr txBox="1"/>
          <p:nvPr/>
        </p:nvSpPr>
        <p:spPr>
          <a:xfrm>
            <a:off x="4195000" y="4385003"/>
            <a:ext cx="1603324" cy="3154710"/>
          </a:xfrm>
          <a:prstGeom prst="rect">
            <a:avLst/>
          </a:prstGeom>
          <a:noFill/>
        </p:spPr>
        <p:txBody>
          <a:bodyPr wrap="none" rtlCol="0">
            <a:spAutoFit/>
          </a:bodyPr>
          <a:lstStyle/>
          <a:p>
            <a:r>
              <a:rPr lang="es-ES" sz="19900" dirty="0">
                <a:solidFill>
                  <a:srgbClr val="FEC8C8"/>
                </a:solidFill>
              </a:rPr>
              <a:t>3</a:t>
            </a:r>
          </a:p>
        </p:txBody>
      </p:sp>
      <p:sp>
        <p:nvSpPr>
          <p:cNvPr id="2" name="TextBox 1">
            <a:extLst>
              <a:ext uri="{FF2B5EF4-FFF2-40B4-BE49-F238E27FC236}">
                <a16:creationId xmlns:a16="http://schemas.microsoft.com/office/drawing/2014/main" id="{6BC7F5CB-B6BC-4D05-A604-F3D88B70792E}"/>
              </a:ext>
            </a:extLst>
          </p:cNvPr>
          <p:cNvSpPr txBox="1"/>
          <p:nvPr/>
        </p:nvSpPr>
        <p:spPr>
          <a:xfrm>
            <a:off x="650240" y="541319"/>
            <a:ext cx="22611504" cy="1138773"/>
          </a:xfrm>
          <a:prstGeom prst="rect">
            <a:avLst/>
          </a:prstGeom>
          <a:noFill/>
        </p:spPr>
        <p:txBody>
          <a:bodyPr wrap="square" rtlCol="0" anchor="t">
            <a:spAutoFit/>
          </a:bodyPr>
          <a:lstStyle/>
          <a:p>
            <a:pPr algn="l"/>
            <a:r>
              <a:rPr lang="en-US" sz="4000" b="1" kern="1200" dirty="0">
                <a:solidFill>
                  <a:srgbClr val="C00000"/>
                </a:solidFill>
              </a:rPr>
              <a:t>Overview CTOM</a:t>
            </a:r>
          </a:p>
          <a:p>
            <a:pPr algn="l"/>
            <a:r>
              <a:rPr lang="en-GB" altLang="en-US" sz="2800" kern="1200" dirty="0">
                <a:solidFill>
                  <a:schemeClr val="tx1"/>
                </a:solidFill>
              </a:rPr>
              <a:t>División TOM (Competences &amp; Capabilities)</a:t>
            </a:r>
          </a:p>
        </p:txBody>
      </p:sp>
      <p:sp>
        <p:nvSpPr>
          <p:cNvPr id="5" name="TextBox 4">
            <a:extLst>
              <a:ext uri="{FF2B5EF4-FFF2-40B4-BE49-F238E27FC236}">
                <a16:creationId xmlns:a16="http://schemas.microsoft.com/office/drawing/2014/main" id="{2C359F2F-0533-4952-B0BB-8F979A98D37B}"/>
              </a:ext>
            </a:extLst>
          </p:cNvPr>
          <p:cNvSpPr txBox="1"/>
          <p:nvPr/>
        </p:nvSpPr>
        <p:spPr>
          <a:xfrm>
            <a:off x="1494560" y="8881780"/>
            <a:ext cx="21394880" cy="400109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en-GB" sz="2800" dirty="0">
                <a:latin typeface="Arial"/>
                <a:ea typeface="ＭＳ Ｐゴシック"/>
                <a:cs typeface="Arial"/>
              </a:rPr>
              <a:t>Un Cloud Target Operating Model (CTOM) comienza con la definición del </a:t>
            </a:r>
            <a:r>
              <a:rPr lang="en-GB" sz="2800" b="1" dirty="0">
                <a:solidFill>
                  <a:srgbClr val="AC0000"/>
                </a:solidFill>
                <a:latin typeface="Arial"/>
                <a:ea typeface="ＭＳ Ｐゴシック"/>
                <a:cs typeface="Arial"/>
              </a:rPr>
              <a:t>modelo organizacional </a:t>
            </a:r>
            <a:r>
              <a:rPr lang="en-GB" sz="2800" dirty="0">
                <a:solidFill>
                  <a:schemeClr val="tx1"/>
                </a:solidFill>
                <a:latin typeface="Arial"/>
                <a:ea typeface="ＭＳ Ｐゴシック"/>
                <a:cs typeface="Arial"/>
              </a:rPr>
              <a:t>y el </a:t>
            </a:r>
            <a:r>
              <a:rPr lang="en-GB" sz="2800" b="1" dirty="0">
                <a:solidFill>
                  <a:srgbClr val="AC0000"/>
                </a:solidFill>
                <a:latin typeface="Arial"/>
                <a:ea typeface="ＭＳ Ｐゴシック"/>
                <a:cs typeface="Arial"/>
              </a:rPr>
              <a:t>modelo operativo</a:t>
            </a:r>
            <a:r>
              <a:rPr lang="en-GB" sz="2800" dirty="0">
                <a:solidFill>
                  <a:srgbClr val="AC0000"/>
                </a:solidFill>
                <a:latin typeface="Arial"/>
                <a:ea typeface="ＭＳ Ｐゴシック"/>
                <a:cs typeface="Arial"/>
              </a:rPr>
              <a:t> </a:t>
            </a:r>
            <a:r>
              <a:rPr lang="en-GB" sz="2800" dirty="0">
                <a:latin typeface="Arial"/>
                <a:ea typeface="ＭＳ Ｐゴシック"/>
                <a:cs typeface="Arial"/>
              </a:rPr>
              <a:t>y los cambios de componentes asociados al modelo necesarios para completar una adopción cloud satisfactoria.</a:t>
            </a:r>
          </a:p>
          <a:p>
            <a:pPr algn="just"/>
            <a:endParaRPr lang="en-GB" sz="2800" dirty="0">
              <a:latin typeface="Arial"/>
              <a:ea typeface="ＭＳ Ｐゴシック"/>
              <a:cs typeface="Arial"/>
            </a:endParaRPr>
          </a:p>
          <a:p>
            <a:pPr algn="just"/>
            <a:r>
              <a:rPr lang="es-ES" sz="2800" dirty="0">
                <a:latin typeface="Arial"/>
                <a:ea typeface="ＭＳ Ｐゴシック"/>
                <a:cs typeface="Arial"/>
              </a:rPr>
              <a:t>El uso de estos modelos y las mejoras operativas y organizativas de los componentes relacionados, </a:t>
            </a:r>
            <a:r>
              <a:rPr lang="es-ES" sz="2800" b="1" dirty="0">
                <a:solidFill>
                  <a:srgbClr val="AC0000"/>
                </a:solidFill>
                <a:latin typeface="Arial"/>
                <a:ea typeface="ＭＳ Ｐゴシック"/>
                <a:cs typeface="Arial"/>
              </a:rPr>
              <a:t>acelerarán la adopción Cloud </a:t>
            </a:r>
            <a:r>
              <a:rPr lang="es-ES" sz="2800" dirty="0">
                <a:latin typeface="Arial"/>
                <a:ea typeface="ＭＳ Ｐゴシック"/>
                <a:cs typeface="Arial"/>
              </a:rPr>
              <a:t>lo que dará como resultado una </a:t>
            </a:r>
            <a:r>
              <a:rPr lang="es-ES" sz="2800" b="1" dirty="0">
                <a:solidFill>
                  <a:srgbClr val="AC0000"/>
                </a:solidFill>
                <a:latin typeface="Arial"/>
                <a:ea typeface="ＭＳ Ｐゴシック"/>
                <a:cs typeface="Arial"/>
              </a:rPr>
              <a:t>transformación digital empresarial </a:t>
            </a:r>
            <a:r>
              <a:rPr lang="es-ES" sz="2800" dirty="0">
                <a:latin typeface="Arial"/>
                <a:ea typeface="ＭＳ Ｐゴシック"/>
                <a:cs typeface="Arial"/>
              </a:rPr>
              <a:t>y una integración de terceros.</a:t>
            </a:r>
          </a:p>
          <a:p>
            <a:pPr algn="just"/>
            <a:endParaRPr lang="es-ES" sz="2800" dirty="0">
              <a:latin typeface="Arial"/>
              <a:ea typeface="ＭＳ Ｐゴシック"/>
              <a:cs typeface="Arial"/>
            </a:endParaRPr>
          </a:p>
          <a:p>
            <a:pPr algn="just"/>
            <a:r>
              <a:rPr lang="es-ES" sz="2800" dirty="0">
                <a:latin typeface="Arial"/>
                <a:ea typeface="ＭＳ Ｐゴシック"/>
                <a:cs typeface="Arial"/>
              </a:rPr>
              <a:t>Las acciones específicas se pueden definir y secuenciar mejor a nivel de competencia y capacidad para desarrollar un </a:t>
            </a:r>
            <a:r>
              <a:rPr lang="es-ES" sz="2800" b="1" dirty="0">
                <a:solidFill>
                  <a:srgbClr val="AC0000"/>
                </a:solidFill>
                <a:latin typeface="Arial"/>
                <a:ea typeface="ＭＳ Ｐゴシック"/>
                <a:cs typeface="Arial"/>
              </a:rPr>
              <a:t>roadmap detallado</a:t>
            </a:r>
            <a:r>
              <a:rPr lang="es-ES" sz="2800" dirty="0">
                <a:latin typeface="Arial"/>
                <a:ea typeface="ＭＳ Ｐゴシック"/>
                <a:cs typeface="Arial"/>
              </a:rPr>
              <a:t> para lograr una adopción Cloud.</a:t>
            </a:r>
          </a:p>
          <a:p>
            <a:pPr algn="l"/>
            <a:endParaRPr lang="en-GB" dirty="0">
              <a:cs typeface="Arial"/>
            </a:endParaRPr>
          </a:p>
        </p:txBody>
      </p:sp>
      <p:grpSp>
        <p:nvGrpSpPr>
          <p:cNvPr id="90" name="Group 89">
            <a:extLst>
              <a:ext uri="{FF2B5EF4-FFF2-40B4-BE49-F238E27FC236}">
                <a16:creationId xmlns:a16="http://schemas.microsoft.com/office/drawing/2014/main" id="{F4F3616A-3BC7-4433-AF41-D1D7B8F45C51}"/>
              </a:ext>
            </a:extLst>
          </p:cNvPr>
          <p:cNvGrpSpPr/>
          <p:nvPr/>
        </p:nvGrpSpPr>
        <p:grpSpPr>
          <a:xfrm>
            <a:off x="13637153" y="2475134"/>
            <a:ext cx="9793474" cy="5458503"/>
            <a:chOff x="2743953" y="3366978"/>
            <a:chExt cx="14815747" cy="8316000"/>
          </a:xfrm>
        </p:grpSpPr>
        <p:sp>
          <p:nvSpPr>
            <p:cNvPr id="3" name="Rectangle 491">
              <a:extLst>
                <a:ext uri="{FF2B5EF4-FFF2-40B4-BE49-F238E27FC236}">
                  <a16:creationId xmlns:a16="http://schemas.microsoft.com/office/drawing/2014/main" id="{1D9EAF2C-4D05-4775-8309-B25D6CD9E1B5}"/>
                </a:ext>
              </a:extLst>
            </p:cNvPr>
            <p:cNvSpPr>
              <a:spLocks noChangeArrowheads="1"/>
            </p:cNvSpPr>
            <p:nvPr/>
          </p:nvSpPr>
          <p:spPr bwMode="auto">
            <a:xfrm>
              <a:off x="9772651" y="3961914"/>
              <a:ext cx="1598400" cy="604800"/>
            </a:xfrm>
            <a:prstGeom prst="rect">
              <a:avLst/>
            </a:prstGeom>
            <a:solidFill>
              <a:schemeClr val="bg2">
                <a:lumMod val="85000"/>
              </a:schemeClr>
            </a:solidFill>
            <a:ln w="11113" cap="rnd">
              <a:solidFill>
                <a:srgbClr val="0070C0"/>
              </a:solidFill>
              <a:miter lim="800000"/>
              <a:headEnd/>
              <a:tailEnd/>
            </a:ln>
            <a:effectLst/>
          </p:spPr>
          <p:txBody>
            <a:bodyPr anchor="ctr"/>
            <a:lstStyle/>
            <a:p>
              <a:pPr algn="ctr" defTabSz="1097280" fontAlgn="base">
                <a:spcBef>
                  <a:spcPct val="0"/>
                </a:spcBef>
                <a:spcAft>
                  <a:spcPct val="0"/>
                </a:spcAft>
              </a:pPr>
              <a:r>
                <a:rPr lang="en-GB" altLang="en-US" sz="1026" b="1" kern="0">
                  <a:solidFill>
                    <a:srgbClr val="000000"/>
                  </a:solidFill>
                  <a:latin typeface="Arial" charset="0"/>
                  <a:ea typeface="MS PGothic" charset="-128"/>
                </a:rPr>
                <a:t>Sourcing and Partner Management</a:t>
              </a:r>
            </a:p>
          </p:txBody>
        </p:sp>
        <p:sp>
          <p:nvSpPr>
            <p:cNvPr id="4" name="Rectangle 3">
              <a:extLst>
                <a:ext uri="{FF2B5EF4-FFF2-40B4-BE49-F238E27FC236}">
                  <a16:creationId xmlns:a16="http://schemas.microsoft.com/office/drawing/2014/main" id="{54C978B1-A483-4BF4-AF72-D3F0FC3358D2}"/>
                </a:ext>
              </a:extLst>
            </p:cNvPr>
            <p:cNvSpPr/>
            <p:nvPr/>
          </p:nvSpPr>
          <p:spPr>
            <a:xfrm>
              <a:off x="2743953" y="4544479"/>
              <a:ext cx="14815747" cy="7138499"/>
            </a:xfrm>
            <a:prstGeom prst="rect">
              <a:avLst/>
            </a:prstGeom>
            <a:solidFill>
              <a:schemeClr val="bg1">
                <a:lumMod val="95000"/>
              </a:schemeClr>
            </a:solidFill>
            <a:ln w="25400" cap="flat" cmpd="sng" algn="ctr">
              <a:solidFill>
                <a:schemeClr val="accent1"/>
              </a:solidFill>
              <a:prstDash val="solid"/>
            </a:ln>
            <a:effectLst>
              <a:outerShdw blurRad="50800" dist="76200" dir="2700000" algn="tl" rotWithShape="0">
                <a:prstClr val="black">
                  <a:alpha val="40000"/>
                </a:prstClr>
              </a:outerShdw>
            </a:effectLst>
          </p:spPr>
          <p:txBody>
            <a:bodyPr lIns="0" rIns="0" anchor="ctr"/>
            <a:lstStyle/>
            <a:p>
              <a:pPr algn="ctr" defTabSz="937937">
                <a:defRPr/>
              </a:pPr>
              <a:endParaRPr lang="en-US" sz="1400" b="1" kern="0">
                <a:solidFill>
                  <a:srgbClr val="FFFFFF"/>
                </a:solidFill>
                <a:latin typeface="Arial" panose="020B0604020202020204"/>
              </a:endParaRPr>
            </a:p>
          </p:txBody>
        </p:sp>
        <p:sp>
          <p:nvSpPr>
            <p:cNvPr id="6" name="Rectangle 478">
              <a:extLst>
                <a:ext uri="{FF2B5EF4-FFF2-40B4-BE49-F238E27FC236}">
                  <a16:creationId xmlns:a16="http://schemas.microsoft.com/office/drawing/2014/main" id="{254F1DD5-D3E5-43E2-9059-EFBA5DD13974}"/>
                </a:ext>
              </a:extLst>
            </p:cNvPr>
            <p:cNvSpPr>
              <a:spLocks noChangeArrowheads="1"/>
            </p:cNvSpPr>
            <p:nvPr/>
          </p:nvSpPr>
          <p:spPr bwMode="auto">
            <a:xfrm>
              <a:off x="14641033" y="9361317"/>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200" b="1">
                  <a:ea typeface="MS PGothic"/>
                  <a:cs typeface="Arial"/>
                </a:rPr>
                <a:t>Control de seguridad &amp; Información </a:t>
              </a:r>
            </a:p>
          </p:txBody>
        </p:sp>
        <p:sp>
          <p:nvSpPr>
            <p:cNvPr id="16" name="Rectangle 483">
              <a:extLst>
                <a:ext uri="{FF2B5EF4-FFF2-40B4-BE49-F238E27FC236}">
                  <a16:creationId xmlns:a16="http://schemas.microsoft.com/office/drawing/2014/main" id="{9F517AD2-7865-4824-90AA-A04025B99CC6}"/>
                </a:ext>
              </a:extLst>
            </p:cNvPr>
            <p:cNvSpPr>
              <a:spLocks noChangeArrowheads="1"/>
            </p:cNvSpPr>
            <p:nvPr/>
          </p:nvSpPr>
          <p:spPr bwMode="auto">
            <a:xfrm>
              <a:off x="5949031" y="7135450"/>
              <a:ext cx="2572877" cy="973523"/>
            </a:xfrm>
            <a:prstGeom prst="rect">
              <a:avLst/>
            </a:prstGeom>
            <a:solidFill>
              <a:schemeClr val="tx2">
                <a:lumMod val="40000"/>
                <a:lumOff val="6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defRPr/>
              </a:pPr>
              <a:r>
                <a:rPr lang="en-GB" altLang="en-US" sz="1200" b="1">
                  <a:solidFill>
                    <a:schemeClr val="tx1"/>
                  </a:solidFill>
                  <a:latin typeface="Arial" panose="020B0604020202020204"/>
                  <a:ea typeface="MS PGothic"/>
                  <a:cs typeface="Arial"/>
                </a:rPr>
                <a:t>Desarrollo de releases</a:t>
              </a:r>
            </a:p>
          </p:txBody>
        </p:sp>
        <p:sp>
          <p:nvSpPr>
            <p:cNvPr id="18" name="Rectangle 491">
              <a:extLst>
                <a:ext uri="{FF2B5EF4-FFF2-40B4-BE49-F238E27FC236}">
                  <a16:creationId xmlns:a16="http://schemas.microsoft.com/office/drawing/2014/main" id="{97F4F7F7-2F5F-4AB7-A54D-F54358F2FAB1}"/>
                </a:ext>
              </a:extLst>
            </p:cNvPr>
            <p:cNvSpPr>
              <a:spLocks noChangeArrowheads="1"/>
            </p:cNvSpPr>
            <p:nvPr/>
          </p:nvSpPr>
          <p:spPr bwMode="auto">
            <a:xfrm>
              <a:off x="8838007" y="10466118"/>
              <a:ext cx="2572877" cy="973523"/>
            </a:xfrm>
            <a:prstGeom prst="rect">
              <a:avLst/>
            </a:prstGeom>
            <a:solidFill>
              <a:schemeClr val="tx2">
                <a:lumMod val="40000"/>
                <a:lumOff val="6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defRPr/>
              </a:pPr>
              <a:r>
                <a:rPr lang="en-GB" altLang="en-US" sz="1200" b="1">
                  <a:solidFill>
                    <a:schemeClr val="tx1"/>
                  </a:solidFill>
                  <a:latin typeface="Arial" panose="020B0604020202020204"/>
                  <a:ea typeface="MS PGothic"/>
                  <a:cs typeface="Arial"/>
                </a:rPr>
                <a:t>Formación &amp; Gestión del talento</a:t>
              </a:r>
            </a:p>
          </p:txBody>
        </p:sp>
        <p:sp>
          <p:nvSpPr>
            <p:cNvPr id="20" name="Rectangle 495">
              <a:extLst>
                <a:ext uri="{FF2B5EF4-FFF2-40B4-BE49-F238E27FC236}">
                  <a16:creationId xmlns:a16="http://schemas.microsoft.com/office/drawing/2014/main" id="{89369C12-1257-413C-B5E0-D69BFE881973}"/>
                </a:ext>
              </a:extLst>
            </p:cNvPr>
            <p:cNvSpPr>
              <a:spLocks noChangeArrowheads="1"/>
            </p:cNvSpPr>
            <p:nvPr/>
          </p:nvSpPr>
          <p:spPr bwMode="auto">
            <a:xfrm>
              <a:off x="5949031" y="4903089"/>
              <a:ext cx="2572877" cy="973523"/>
            </a:xfrm>
            <a:prstGeom prst="rect">
              <a:avLst/>
            </a:prstGeom>
            <a:solidFill>
              <a:schemeClr val="tx2">
                <a:lumMod val="40000"/>
                <a:lumOff val="6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defRPr/>
              </a:pPr>
              <a:r>
                <a:rPr lang="en-GB" altLang="en-US" sz="1200" b="1">
                  <a:solidFill>
                    <a:schemeClr val="tx1"/>
                  </a:solidFill>
                  <a:latin typeface="Arial" panose="020B0604020202020204"/>
                  <a:ea typeface="MS PGothic"/>
                  <a:cs typeface="Arial"/>
                </a:rPr>
                <a:t>Diseño &amp; Arquitectura de servicios</a:t>
              </a:r>
              <a:endParaRPr lang="en-US" sz="1200" b="1">
                <a:solidFill>
                  <a:schemeClr val="tx1"/>
                </a:solidFill>
                <a:latin typeface="Arial" panose="020B0604020202020204"/>
                <a:ea typeface="MS PGothic"/>
                <a:cs typeface="Arial"/>
              </a:endParaRPr>
            </a:p>
          </p:txBody>
        </p:sp>
        <p:sp>
          <p:nvSpPr>
            <p:cNvPr id="22" name="Rectangle 499">
              <a:extLst>
                <a:ext uri="{FF2B5EF4-FFF2-40B4-BE49-F238E27FC236}">
                  <a16:creationId xmlns:a16="http://schemas.microsoft.com/office/drawing/2014/main" id="{6EED64C4-917D-4C2C-8655-05390DF67AD3}"/>
                </a:ext>
              </a:extLst>
            </p:cNvPr>
            <p:cNvSpPr>
              <a:spLocks noChangeArrowheads="1"/>
            </p:cNvSpPr>
            <p:nvPr/>
          </p:nvSpPr>
          <p:spPr bwMode="auto">
            <a:xfrm>
              <a:off x="3060054" y="4903089"/>
              <a:ext cx="2572877" cy="973523"/>
            </a:xfrm>
            <a:prstGeom prst="rect">
              <a:avLst/>
            </a:prstGeom>
            <a:solidFill>
              <a:schemeClr val="tx2">
                <a:lumMod val="40000"/>
                <a:lumOff val="6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defTabSz="912813" eaLnBrk="0" fontAlgn="base" hangingPunct="0">
                <a:spcBef>
                  <a:spcPct val="0"/>
                </a:spcBef>
                <a:spcAft>
                  <a:spcPct val="0"/>
                </a:spcAft>
                <a:defRPr>
                  <a:solidFill>
                    <a:schemeClr val="tx1"/>
                  </a:solidFill>
                  <a:latin typeface="Arial" charset="0"/>
                  <a:ea typeface="MS PGothic" charset="-128"/>
                </a:defRPr>
              </a:lvl6pPr>
              <a:lvl7pPr marL="2971800" indent="-228600" defTabSz="912813" eaLnBrk="0" fontAlgn="base" hangingPunct="0">
                <a:spcBef>
                  <a:spcPct val="0"/>
                </a:spcBef>
                <a:spcAft>
                  <a:spcPct val="0"/>
                </a:spcAft>
                <a:defRPr>
                  <a:solidFill>
                    <a:schemeClr val="tx1"/>
                  </a:solidFill>
                  <a:latin typeface="Arial" charset="0"/>
                  <a:ea typeface="MS PGothic" charset="-128"/>
                </a:defRPr>
              </a:lvl7pPr>
              <a:lvl8pPr marL="3429000" indent="-228600" defTabSz="912813" eaLnBrk="0" fontAlgn="base" hangingPunct="0">
                <a:spcBef>
                  <a:spcPct val="0"/>
                </a:spcBef>
                <a:spcAft>
                  <a:spcPct val="0"/>
                </a:spcAft>
                <a:defRPr>
                  <a:solidFill>
                    <a:schemeClr val="tx1"/>
                  </a:solidFill>
                  <a:latin typeface="Arial" charset="0"/>
                  <a:ea typeface="MS PGothic" charset="-128"/>
                </a:defRPr>
              </a:lvl8pPr>
              <a:lvl9pPr marL="3886200" indent="-228600" defTabSz="912813" eaLnBrk="0" fontAlgn="base" hangingPunct="0">
                <a:spcBef>
                  <a:spcPct val="0"/>
                </a:spcBef>
                <a:spcAft>
                  <a:spcPct val="0"/>
                </a:spcAft>
                <a:defRPr>
                  <a:solidFill>
                    <a:schemeClr val="tx1"/>
                  </a:solidFill>
                  <a:latin typeface="Arial" charset="0"/>
                  <a:ea typeface="MS PGothic" charset="-128"/>
                </a:defRPr>
              </a:lvl9pPr>
            </a:lstStyle>
            <a:p>
              <a:pPr defTabSz="1097280" fontAlgn="base">
                <a:spcBef>
                  <a:spcPct val="0"/>
                </a:spcBef>
                <a:spcAft>
                  <a:spcPct val="0"/>
                </a:spcAft>
              </a:pPr>
              <a:r>
                <a:rPr lang="en-US" altLang="en-US" sz="1200" b="1">
                  <a:latin typeface="Arial" panose="020B0604020202020204"/>
                  <a:ea typeface="MS PGothic"/>
                  <a:cs typeface="Arial"/>
                </a:rPr>
                <a:t>Tecnología Digital &amp; Estrategia de Servicios</a:t>
              </a:r>
              <a:endParaRPr lang="en-US" sz="1200" b="1">
                <a:latin typeface="Arial" panose="020B0604020202020204"/>
                <a:ea typeface="MS PGothic"/>
                <a:cs typeface="Arial"/>
              </a:endParaRPr>
            </a:p>
          </p:txBody>
        </p:sp>
        <p:sp>
          <p:nvSpPr>
            <p:cNvPr id="24" name="Rectangle 503">
              <a:extLst>
                <a:ext uri="{FF2B5EF4-FFF2-40B4-BE49-F238E27FC236}">
                  <a16:creationId xmlns:a16="http://schemas.microsoft.com/office/drawing/2014/main" id="{061C827A-E74B-4054-A4D7-963C4D8940F1}"/>
                </a:ext>
              </a:extLst>
            </p:cNvPr>
            <p:cNvSpPr>
              <a:spLocks noChangeArrowheads="1"/>
            </p:cNvSpPr>
            <p:nvPr/>
          </p:nvSpPr>
          <p:spPr bwMode="auto">
            <a:xfrm>
              <a:off x="14641033" y="10471153"/>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200" b="1">
                  <a:latin typeface="Arial"/>
                  <a:ea typeface="MS PGothic"/>
                  <a:cs typeface="Arial"/>
                </a:rPr>
                <a:t>Riesgo, auditoria &amp; Cumplimiento normativo</a:t>
              </a:r>
              <a:endParaRPr lang="en-GB" altLang="en-US" sz="1200" b="1">
                <a:latin typeface="Arial" charset="0"/>
                <a:ea typeface="MS PGothic" charset="-128"/>
                <a:cs typeface="Arial"/>
              </a:endParaRPr>
            </a:p>
          </p:txBody>
        </p:sp>
        <p:sp>
          <p:nvSpPr>
            <p:cNvPr id="26" name="Rectangle 510">
              <a:extLst>
                <a:ext uri="{FF2B5EF4-FFF2-40B4-BE49-F238E27FC236}">
                  <a16:creationId xmlns:a16="http://schemas.microsoft.com/office/drawing/2014/main" id="{1685FC95-9B75-42F7-A0E2-5F0DA3C76077}"/>
                </a:ext>
              </a:extLst>
            </p:cNvPr>
            <p:cNvSpPr>
              <a:spLocks noChangeArrowheads="1"/>
            </p:cNvSpPr>
            <p:nvPr/>
          </p:nvSpPr>
          <p:spPr bwMode="auto">
            <a:xfrm>
              <a:off x="3060054" y="6020461"/>
              <a:ext cx="2572877" cy="973523"/>
            </a:xfrm>
            <a:prstGeom prst="rect">
              <a:avLst/>
            </a:prstGeom>
            <a:solidFill>
              <a:schemeClr val="tx2">
                <a:lumMod val="40000"/>
                <a:lumOff val="6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200" b="1">
                  <a:solidFill>
                    <a:schemeClr val="tx1"/>
                  </a:solidFill>
                  <a:latin typeface="Arial" panose="020B0604020202020204"/>
                  <a:ea typeface="MS PGothic"/>
                  <a:cs typeface="Arial"/>
                </a:rPr>
                <a:t>Gestión de la demanda</a:t>
              </a:r>
            </a:p>
          </p:txBody>
        </p:sp>
        <p:sp>
          <p:nvSpPr>
            <p:cNvPr id="28" name="Rectangle 510">
              <a:extLst>
                <a:ext uri="{FF2B5EF4-FFF2-40B4-BE49-F238E27FC236}">
                  <a16:creationId xmlns:a16="http://schemas.microsoft.com/office/drawing/2014/main" id="{BBCA0AB4-768A-4292-A72C-A342C0CB4036}"/>
                </a:ext>
              </a:extLst>
            </p:cNvPr>
            <p:cNvSpPr>
              <a:spLocks noChangeArrowheads="1"/>
            </p:cNvSpPr>
            <p:nvPr/>
          </p:nvSpPr>
          <p:spPr bwMode="auto">
            <a:xfrm>
              <a:off x="8838007" y="6020461"/>
              <a:ext cx="2572877" cy="973523"/>
            </a:xfrm>
            <a:prstGeom prst="rect">
              <a:avLst/>
            </a:prstGeom>
            <a:solidFill>
              <a:schemeClr val="tx2">
                <a:lumMod val="40000"/>
                <a:lumOff val="6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defRPr/>
              </a:pPr>
              <a:r>
                <a:rPr lang="en-GB" altLang="en-US" sz="1200" b="1">
                  <a:solidFill>
                    <a:schemeClr val="tx1"/>
                  </a:solidFill>
                  <a:latin typeface="Arial" panose="020B0604020202020204"/>
                  <a:ea typeface="MS PGothic"/>
                  <a:cs typeface="Arial"/>
                </a:rPr>
                <a:t>Aprovisionamiento de entornos de plataforma</a:t>
              </a:r>
            </a:p>
          </p:txBody>
        </p:sp>
        <p:sp>
          <p:nvSpPr>
            <p:cNvPr id="30" name="Rectangle 507">
              <a:extLst>
                <a:ext uri="{FF2B5EF4-FFF2-40B4-BE49-F238E27FC236}">
                  <a16:creationId xmlns:a16="http://schemas.microsoft.com/office/drawing/2014/main" id="{36A85EB7-809C-433E-B240-833F998F13CF}"/>
                </a:ext>
              </a:extLst>
            </p:cNvPr>
            <p:cNvSpPr>
              <a:spLocks noChangeArrowheads="1"/>
            </p:cNvSpPr>
            <p:nvPr/>
          </p:nvSpPr>
          <p:spPr bwMode="auto">
            <a:xfrm>
              <a:off x="8838007" y="7135450"/>
              <a:ext cx="2572877" cy="973523"/>
            </a:xfrm>
            <a:prstGeom prst="rect">
              <a:avLst/>
            </a:prstGeom>
            <a:solidFill>
              <a:schemeClr val="tx2">
                <a:lumMod val="40000"/>
                <a:lumOff val="6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defRPr/>
              </a:pPr>
              <a:r>
                <a:rPr lang="en-GB" altLang="en-US" sz="1200" b="1">
                  <a:solidFill>
                    <a:schemeClr val="tx1"/>
                  </a:solidFill>
                  <a:latin typeface="Arial" panose="020B0604020202020204"/>
                  <a:ea typeface="MS PGothic"/>
                  <a:cs typeface="Arial"/>
                </a:rPr>
                <a:t>Aprovisionamiento de aplicación &amp; Datos</a:t>
              </a:r>
            </a:p>
          </p:txBody>
        </p:sp>
        <p:sp>
          <p:nvSpPr>
            <p:cNvPr id="32" name="Rectangle 62">
              <a:extLst>
                <a:ext uri="{FF2B5EF4-FFF2-40B4-BE49-F238E27FC236}">
                  <a16:creationId xmlns:a16="http://schemas.microsoft.com/office/drawing/2014/main" id="{BAFAFF82-B2B4-4390-953D-76BE79F64623}"/>
                </a:ext>
              </a:extLst>
            </p:cNvPr>
            <p:cNvSpPr>
              <a:spLocks noChangeArrowheads="1"/>
            </p:cNvSpPr>
            <p:nvPr/>
          </p:nvSpPr>
          <p:spPr bwMode="auto">
            <a:xfrm>
              <a:off x="11722367" y="9347019"/>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200" b="1">
                  <a:latin typeface="Arial"/>
                  <a:ea typeface="MS PGothic"/>
                  <a:cs typeface="Arial"/>
                </a:rPr>
                <a:t>Seguridad &amp; Continuidad del negocio</a:t>
              </a:r>
              <a:endParaRPr lang="en-GB" altLang="en-US" sz="1200" b="1">
                <a:latin typeface="Arial" charset="0"/>
                <a:ea typeface="MS PGothic" charset="-128"/>
                <a:cs typeface="Arial"/>
              </a:endParaRPr>
            </a:p>
          </p:txBody>
        </p:sp>
        <p:sp>
          <p:nvSpPr>
            <p:cNvPr id="34" name="Rectangle 70">
              <a:extLst>
                <a:ext uri="{FF2B5EF4-FFF2-40B4-BE49-F238E27FC236}">
                  <a16:creationId xmlns:a16="http://schemas.microsoft.com/office/drawing/2014/main" id="{862AE13B-45B9-49FD-89B0-280B0F4DFAA1}"/>
                </a:ext>
              </a:extLst>
            </p:cNvPr>
            <p:cNvSpPr>
              <a:spLocks noChangeArrowheads="1"/>
            </p:cNvSpPr>
            <p:nvPr/>
          </p:nvSpPr>
          <p:spPr bwMode="auto">
            <a:xfrm>
              <a:off x="11722367" y="8241175"/>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200" b="1">
                  <a:solidFill>
                    <a:srgbClr val="000000"/>
                  </a:solidFill>
                  <a:latin typeface="Arial"/>
                  <a:ea typeface="MS PGothic"/>
                  <a:cs typeface="Arial"/>
                </a:rPr>
                <a:t>Gestión de Incidencias &amp; Problemas</a:t>
              </a:r>
            </a:p>
          </p:txBody>
        </p:sp>
        <p:sp>
          <p:nvSpPr>
            <p:cNvPr id="36" name="Rectangle 82">
              <a:extLst>
                <a:ext uri="{FF2B5EF4-FFF2-40B4-BE49-F238E27FC236}">
                  <a16:creationId xmlns:a16="http://schemas.microsoft.com/office/drawing/2014/main" id="{69CA44FF-2E1B-405F-A27A-687EBB74744A}"/>
                </a:ext>
              </a:extLst>
            </p:cNvPr>
            <p:cNvSpPr>
              <a:spLocks noChangeArrowheads="1"/>
            </p:cNvSpPr>
            <p:nvPr/>
          </p:nvSpPr>
          <p:spPr bwMode="auto">
            <a:xfrm>
              <a:off x="14641033" y="8248713"/>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200" b="1">
                  <a:latin typeface="Arial"/>
                  <a:ea typeface="MS PGothic"/>
                  <a:cs typeface="Arial"/>
                </a:rPr>
                <a:t>Oficina de gestión del Portfolio Cloud</a:t>
              </a:r>
              <a:endParaRPr lang="en-US" sz="1200"/>
            </a:p>
          </p:txBody>
        </p:sp>
        <p:sp>
          <p:nvSpPr>
            <p:cNvPr id="38" name="Rectangle 86">
              <a:extLst>
                <a:ext uri="{FF2B5EF4-FFF2-40B4-BE49-F238E27FC236}">
                  <a16:creationId xmlns:a16="http://schemas.microsoft.com/office/drawing/2014/main" id="{2156CD38-D837-4EA6-B2B1-1C59875B46CF}"/>
                </a:ext>
              </a:extLst>
            </p:cNvPr>
            <p:cNvSpPr>
              <a:spLocks noChangeArrowheads="1"/>
            </p:cNvSpPr>
            <p:nvPr/>
          </p:nvSpPr>
          <p:spPr bwMode="auto">
            <a:xfrm>
              <a:off x="11726984" y="4903089"/>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200" b="1">
                  <a:solidFill>
                    <a:srgbClr val="000000"/>
                  </a:solidFill>
                  <a:latin typeface="Arial"/>
                  <a:ea typeface="MS PGothic"/>
                  <a:cs typeface="Arial"/>
                </a:rPr>
                <a:t>Gestión del nivel de servicio al cliente</a:t>
              </a:r>
            </a:p>
          </p:txBody>
        </p:sp>
        <p:sp>
          <p:nvSpPr>
            <p:cNvPr id="40" name="Rectangle 90">
              <a:extLst>
                <a:ext uri="{FF2B5EF4-FFF2-40B4-BE49-F238E27FC236}">
                  <a16:creationId xmlns:a16="http://schemas.microsoft.com/office/drawing/2014/main" id="{B68DA96D-BCF1-4E07-9765-28FAC3F87244}"/>
                </a:ext>
              </a:extLst>
            </p:cNvPr>
            <p:cNvSpPr>
              <a:spLocks noChangeArrowheads="1"/>
            </p:cNvSpPr>
            <p:nvPr/>
          </p:nvSpPr>
          <p:spPr bwMode="auto">
            <a:xfrm>
              <a:off x="11732518" y="10466118"/>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200" b="1">
                  <a:latin typeface="Arial"/>
                  <a:ea typeface="MS PGothic"/>
                  <a:cs typeface="Arial"/>
                </a:rPr>
                <a:t>Gestión de Activos &amp; Información</a:t>
              </a:r>
            </a:p>
          </p:txBody>
        </p:sp>
        <p:sp>
          <p:nvSpPr>
            <p:cNvPr id="42" name="Rectangle 102">
              <a:extLst>
                <a:ext uri="{FF2B5EF4-FFF2-40B4-BE49-F238E27FC236}">
                  <a16:creationId xmlns:a16="http://schemas.microsoft.com/office/drawing/2014/main" id="{1D87B0CD-94CC-40C5-8C5F-17AA521D9DB7}"/>
                </a:ext>
              </a:extLst>
            </p:cNvPr>
            <p:cNvSpPr>
              <a:spLocks noChangeArrowheads="1"/>
            </p:cNvSpPr>
            <p:nvPr/>
          </p:nvSpPr>
          <p:spPr bwMode="auto">
            <a:xfrm>
              <a:off x="14650264" y="6020461"/>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200" b="1">
                  <a:latin typeface="Arial"/>
                  <a:ea typeface="MS PGothic"/>
                  <a:cs typeface="Arial"/>
                </a:rPr>
                <a:t>Plan financiero &amp; economía de la nube</a:t>
              </a:r>
            </a:p>
          </p:txBody>
        </p:sp>
        <p:sp>
          <p:nvSpPr>
            <p:cNvPr id="46" name="Rectangle 191">
              <a:extLst>
                <a:ext uri="{FF2B5EF4-FFF2-40B4-BE49-F238E27FC236}">
                  <a16:creationId xmlns:a16="http://schemas.microsoft.com/office/drawing/2014/main" id="{51C4720D-B912-4EB2-AEF3-405E3FFBB4AF}"/>
                </a:ext>
              </a:extLst>
            </p:cNvPr>
            <p:cNvSpPr>
              <a:spLocks noChangeArrowheads="1"/>
            </p:cNvSpPr>
            <p:nvPr/>
          </p:nvSpPr>
          <p:spPr bwMode="auto">
            <a:xfrm>
              <a:off x="3060051" y="9360274"/>
              <a:ext cx="2572877" cy="973523"/>
            </a:xfrm>
            <a:prstGeom prst="rect">
              <a:avLst/>
            </a:prstGeom>
            <a:solidFill>
              <a:schemeClr val="tx2">
                <a:lumMod val="40000"/>
                <a:lumOff val="6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200" b="1">
                  <a:solidFill>
                    <a:schemeClr val="tx1"/>
                  </a:solidFill>
                  <a:latin typeface="Arial" panose="020B0604020202020204"/>
                  <a:ea typeface="MS PGothic"/>
                  <a:cs typeface="Arial"/>
                </a:rPr>
                <a:t>Asistencia del servicio al cliente</a:t>
              </a:r>
            </a:p>
          </p:txBody>
        </p:sp>
        <p:sp>
          <p:nvSpPr>
            <p:cNvPr id="48" name="Rectangle 191">
              <a:extLst>
                <a:ext uri="{FF2B5EF4-FFF2-40B4-BE49-F238E27FC236}">
                  <a16:creationId xmlns:a16="http://schemas.microsoft.com/office/drawing/2014/main" id="{22DB9BA4-9DFD-4DDF-A776-DBF1CEAA673F}"/>
                </a:ext>
              </a:extLst>
            </p:cNvPr>
            <p:cNvSpPr>
              <a:spLocks noChangeArrowheads="1"/>
            </p:cNvSpPr>
            <p:nvPr/>
          </p:nvSpPr>
          <p:spPr bwMode="auto">
            <a:xfrm>
              <a:off x="14641033" y="4903089"/>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200" b="1">
                  <a:latin typeface="Arial"/>
                  <a:ea typeface="MS PGothic"/>
                  <a:cs typeface="Arial"/>
                </a:rPr>
                <a:t>Estándares &amp; Polticas Cloud</a:t>
              </a:r>
            </a:p>
          </p:txBody>
        </p:sp>
        <p:sp>
          <p:nvSpPr>
            <p:cNvPr id="50" name="Rectangle 255">
              <a:extLst>
                <a:ext uri="{FF2B5EF4-FFF2-40B4-BE49-F238E27FC236}">
                  <a16:creationId xmlns:a16="http://schemas.microsoft.com/office/drawing/2014/main" id="{A61EE027-E0C1-4704-8B87-15379FE8C3AF}"/>
                </a:ext>
              </a:extLst>
            </p:cNvPr>
            <p:cNvSpPr>
              <a:spLocks noChangeArrowheads="1"/>
            </p:cNvSpPr>
            <p:nvPr/>
          </p:nvSpPr>
          <p:spPr bwMode="auto">
            <a:xfrm>
              <a:off x="11722367" y="7131339"/>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US" altLang="en-US" sz="1200" b="1">
                  <a:latin typeface="Arial"/>
                  <a:ea typeface="MS PGothic"/>
                  <a:cs typeface="Arial"/>
                </a:rPr>
                <a:t>Monitorización de servicios &amp; eventos API</a:t>
              </a:r>
              <a:endParaRPr lang="en-US" altLang="en-US" sz="1200" b="1">
                <a:ea typeface="MS PGothic"/>
                <a:cs typeface="Arial"/>
              </a:endParaRPr>
            </a:p>
          </p:txBody>
        </p:sp>
        <p:sp>
          <p:nvSpPr>
            <p:cNvPr id="52" name="Rectangle 51">
              <a:extLst>
                <a:ext uri="{FF2B5EF4-FFF2-40B4-BE49-F238E27FC236}">
                  <a16:creationId xmlns:a16="http://schemas.microsoft.com/office/drawing/2014/main" id="{D43EE243-DA22-44BF-8D61-E6A386D49E6C}"/>
                </a:ext>
              </a:extLst>
            </p:cNvPr>
            <p:cNvSpPr/>
            <p:nvPr/>
          </p:nvSpPr>
          <p:spPr>
            <a:xfrm>
              <a:off x="14615958" y="3413988"/>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400" b="1">
                  <a:solidFill>
                    <a:schemeClr val="bg1"/>
                  </a:solidFill>
                  <a:latin typeface="Arial" panose="020B0604020202020204"/>
                  <a:ea typeface="MS PGothic" charset="-128"/>
                </a:rPr>
                <a:t>Governance</a:t>
              </a:r>
              <a:br>
                <a:rPr lang="en-GB" sz="1400" b="1">
                  <a:solidFill>
                    <a:schemeClr val="bg1"/>
                  </a:solidFill>
                  <a:latin typeface="Arial" panose="020B0604020202020204"/>
                  <a:ea typeface="MS PGothic" charset="-128"/>
                </a:rPr>
              </a:br>
              <a:r>
                <a:rPr lang="en-GB" sz="1400" b="1">
                  <a:solidFill>
                    <a:schemeClr val="bg1"/>
                  </a:solidFill>
                  <a:latin typeface="Arial" panose="020B0604020202020204"/>
                  <a:ea typeface="MS PGothic" charset="-128"/>
                </a:rPr>
                <a:t>&amp; Control</a:t>
              </a:r>
              <a:endParaRPr lang="en-US" sz="1400" b="1">
                <a:solidFill>
                  <a:schemeClr val="bg1"/>
                </a:solidFill>
                <a:latin typeface="Arial" panose="020B0604020202020204"/>
                <a:ea typeface="MS PGothic" charset="-128"/>
              </a:endParaRPr>
            </a:p>
          </p:txBody>
        </p:sp>
        <p:sp>
          <p:nvSpPr>
            <p:cNvPr id="54" name="Rectangle 53">
              <a:extLst>
                <a:ext uri="{FF2B5EF4-FFF2-40B4-BE49-F238E27FC236}">
                  <a16:creationId xmlns:a16="http://schemas.microsoft.com/office/drawing/2014/main" id="{0BB837FB-563C-4AFA-AFB6-B438045CA665}"/>
                </a:ext>
              </a:extLst>
            </p:cNvPr>
            <p:cNvSpPr/>
            <p:nvPr/>
          </p:nvSpPr>
          <p:spPr>
            <a:xfrm>
              <a:off x="11726984" y="3413988"/>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a:spcBef>
                  <a:spcPct val="0"/>
                </a:spcBef>
                <a:spcAft>
                  <a:spcPct val="0"/>
                </a:spcAft>
              </a:pPr>
              <a:r>
                <a:rPr lang="en-GB" sz="1400" b="1">
                  <a:solidFill>
                    <a:schemeClr val="bg1"/>
                  </a:solidFill>
                  <a:latin typeface="Arial" panose="020B0604020202020204"/>
                  <a:ea typeface="MS PGothic"/>
                </a:rPr>
                <a:t>Operaciones de servicio continuas</a:t>
              </a:r>
              <a:endParaRPr lang="en-US" sz="2800">
                <a:solidFill>
                  <a:schemeClr val="bg1"/>
                </a:solidFill>
              </a:endParaRPr>
            </a:p>
          </p:txBody>
        </p:sp>
        <p:sp>
          <p:nvSpPr>
            <p:cNvPr id="56" name="Rectangle 55">
              <a:extLst>
                <a:ext uri="{FF2B5EF4-FFF2-40B4-BE49-F238E27FC236}">
                  <a16:creationId xmlns:a16="http://schemas.microsoft.com/office/drawing/2014/main" id="{F7CD98A5-4DA4-4DBA-9AAF-556AE75B2490}"/>
                </a:ext>
              </a:extLst>
            </p:cNvPr>
            <p:cNvSpPr/>
            <p:nvPr/>
          </p:nvSpPr>
          <p:spPr>
            <a:xfrm>
              <a:off x="5949031" y="3366978"/>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400" b="1">
                  <a:solidFill>
                    <a:schemeClr val="bg1"/>
                  </a:solidFill>
                  <a:latin typeface="Arial" panose="020B0604020202020204"/>
                  <a:ea typeface="MS PGothic"/>
                </a:rPr>
                <a:t>CI / CD de releases</a:t>
              </a:r>
              <a:endParaRPr lang="en-GB" sz="1400" b="1">
                <a:solidFill>
                  <a:schemeClr val="bg1"/>
                </a:solidFill>
                <a:latin typeface="Arial" panose="020B0604020202020204"/>
                <a:ea typeface="MS PGothic"/>
                <a:cs typeface="Arial"/>
              </a:endParaRPr>
            </a:p>
          </p:txBody>
        </p:sp>
        <p:sp>
          <p:nvSpPr>
            <p:cNvPr id="58" name="Rectangle 57">
              <a:extLst>
                <a:ext uri="{FF2B5EF4-FFF2-40B4-BE49-F238E27FC236}">
                  <a16:creationId xmlns:a16="http://schemas.microsoft.com/office/drawing/2014/main" id="{EE273892-E8F3-4303-AC9B-F0353A56E0F2}"/>
                </a:ext>
              </a:extLst>
            </p:cNvPr>
            <p:cNvSpPr/>
            <p:nvPr/>
          </p:nvSpPr>
          <p:spPr>
            <a:xfrm>
              <a:off x="3060053" y="3366978"/>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400" b="1">
                  <a:solidFill>
                    <a:schemeClr val="bg1"/>
                  </a:solidFill>
                  <a:latin typeface="Arial" panose="020B0604020202020204"/>
                  <a:ea typeface="MS PGothic"/>
                  <a:cs typeface="Arial"/>
                </a:rPr>
                <a:t>Servicios de demanda ágiles</a:t>
              </a:r>
              <a:endParaRPr lang="en-GB" sz="1400" b="1">
                <a:solidFill>
                  <a:schemeClr val="bg1"/>
                </a:solidFill>
                <a:latin typeface="Arial" panose="020B0604020202020204"/>
                <a:ea typeface="MS PGothic" charset="-128"/>
                <a:cs typeface="Arial"/>
              </a:endParaRPr>
            </a:p>
          </p:txBody>
        </p:sp>
        <p:sp>
          <p:nvSpPr>
            <p:cNvPr id="60" name="Rectangle 59">
              <a:extLst>
                <a:ext uri="{FF2B5EF4-FFF2-40B4-BE49-F238E27FC236}">
                  <a16:creationId xmlns:a16="http://schemas.microsoft.com/office/drawing/2014/main" id="{3318F05B-96DF-4C18-82CD-61FD48061DBD}"/>
                </a:ext>
              </a:extLst>
            </p:cNvPr>
            <p:cNvSpPr/>
            <p:nvPr/>
          </p:nvSpPr>
          <p:spPr>
            <a:xfrm>
              <a:off x="8838007" y="3413988"/>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400" b="1">
                  <a:solidFill>
                    <a:schemeClr val="bg1"/>
                  </a:solidFill>
                  <a:ea typeface="MS PGothic" charset="-128"/>
                </a:rPr>
                <a:t>Aprovisionamiento &amp; Ejecución Automática</a:t>
              </a:r>
              <a:endParaRPr lang="en-US" sz="1400" b="1">
                <a:solidFill>
                  <a:schemeClr val="bg1"/>
                </a:solidFill>
                <a:ea typeface="MS PGothic" charset="-128"/>
              </a:endParaRPr>
            </a:p>
          </p:txBody>
        </p:sp>
        <p:sp>
          <p:nvSpPr>
            <p:cNvPr id="62" name="Rectangle 491">
              <a:extLst>
                <a:ext uri="{FF2B5EF4-FFF2-40B4-BE49-F238E27FC236}">
                  <a16:creationId xmlns:a16="http://schemas.microsoft.com/office/drawing/2014/main" id="{9DACAC11-E4C8-4EE5-94AC-765483A49D9F}"/>
                </a:ext>
              </a:extLst>
            </p:cNvPr>
            <p:cNvSpPr>
              <a:spLocks noChangeArrowheads="1"/>
            </p:cNvSpPr>
            <p:nvPr/>
          </p:nvSpPr>
          <p:spPr bwMode="auto">
            <a:xfrm>
              <a:off x="5949031" y="10466118"/>
              <a:ext cx="2572877" cy="973523"/>
            </a:xfrm>
            <a:prstGeom prst="rect">
              <a:avLst/>
            </a:prstGeom>
            <a:solidFill>
              <a:schemeClr val="tx2">
                <a:lumMod val="40000"/>
                <a:lumOff val="6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defRPr/>
              </a:pPr>
              <a:r>
                <a:rPr lang="en-GB" altLang="en-US" sz="1200" b="1">
                  <a:solidFill>
                    <a:schemeClr val="tx1"/>
                  </a:solidFill>
                  <a:latin typeface="Arial" panose="020B0604020202020204"/>
                  <a:ea typeface="MS PGothic"/>
                  <a:cs typeface="Arial"/>
                </a:rPr>
                <a:t>Despliegue &amp; Empaquetado de releases</a:t>
              </a:r>
            </a:p>
          </p:txBody>
        </p:sp>
        <p:sp>
          <p:nvSpPr>
            <p:cNvPr id="64" name="Rectangle 491">
              <a:extLst>
                <a:ext uri="{FF2B5EF4-FFF2-40B4-BE49-F238E27FC236}">
                  <a16:creationId xmlns:a16="http://schemas.microsoft.com/office/drawing/2014/main" id="{DE53302C-76FD-419E-A0DB-BB89DC3EBC89}"/>
                </a:ext>
              </a:extLst>
            </p:cNvPr>
            <p:cNvSpPr>
              <a:spLocks noChangeArrowheads="1"/>
            </p:cNvSpPr>
            <p:nvPr/>
          </p:nvSpPr>
          <p:spPr bwMode="auto">
            <a:xfrm>
              <a:off x="5949031" y="8250439"/>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200" b="1">
                  <a:solidFill>
                    <a:srgbClr val="000000"/>
                  </a:solidFill>
                  <a:latin typeface="Arial"/>
                  <a:ea typeface="MS PGothic"/>
                  <a:cs typeface="Arial"/>
                </a:rPr>
                <a:t>Gestión &amp; Integración de APIs</a:t>
              </a:r>
            </a:p>
          </p:txBody>
        </p:sp>
        <p:sp>
          <p:nvSpPr>
            <p:cNvPr id="66" name="Rectangle 491">
              <a:extLst>
                <a:ext uri="{FF2B5EF4-FFF2-40B4-BE49-F238E27FC236}">
                  <a16:creationId xmlns:a16="http://schemas.microsoft.com/office/drawing/2014/main" id="{BCF4BEEF-BFB6-45F0-A759-1A0889076113}"/>
                </a:ext>
              </a:extLst>
            </p:cNvPr>
            <p:cNvSpPr>
              <a:spLocks noChangeArrowheads="1"/>
            </p:cNvSpPr>
            <p:nvPr/>
          </p:nvSpPr>
          <p:spPr bwMode="auto">
            <a:xfrm>
              <a:off x="3060051" y="10466118"/>
              <a:ext cx="2572877" cy="973523"/>
            </a:xfrm>
            <a:prstGeom prst="rect">
              <a:avLst/>
            </a:prstGeom>
            <a:solidFill>
              <a:schemeClr val="tx2">
                <a:lumMod val="40000"/>
                <a:lumOff val="6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defRPr/>
              </a:pPr>
              <a:r>
                <a:rPr lang="en-GB" altLang="en-US" sz="1200" b="1">
                  <a:solidFill>
                    <a:schemeClr val="tx1"/>
                  </a:solidFill>
                  <a:latin typeface="Arial" panose="020B0604020202020204"/>
                  <a:ea typeface="MS PGothic"/>
                  <a:cs typeface="Arial"/>
                </a:rPr>
                <a:t>Estrategia</a:t>
              </a:r>
            </a:p>
            <a:p>
              <a:pPr defTabSz="1097280" fontAlgn="base">
                <a:spcBef>
                  <a:spcPct val="0"/>
                </a:spcBef>
                <a:spcAft>
                  <a:spcPct val="0"/>
                </a:spcAft>
                <a:defRPr/>
              </a:pPr>
              <a:r>
                <a:rPr lang="en-GB" altLang="en-US" sz="1200" b="1">
                  <a:solidFill>
                    <a:schemeClr val="tx1"/>
                  </a:solidFill>
                  <a:latin typeface="Arial" panose="020B0604020202020204"/>
                  <a:ea typeface="MS PGothic"/>
                  <a:cs typeface="Arial"/>
                </a:rPr>
                <a:t>Talent &amp; Knowledge</a:t>
              </a:r>
            </a:p>
          </p:txBody>
        </p:sp>
        <p:sp>
          <p:nvSpPr>
            <p:cNvPr id="68" name="Rectangle 491">
              <a:extLst>
                <a:ext uri="{FF2B5EF4-FFF2-40B4-BE49-F238E27FC236}">
                  <a16:creationId xmlns:a16="http://schemas.microsoft.com/office/drawing/2014/main" id="{5040E2D2-8813-4E02-A8EF-1AD5F936D796}"/>
                </a:ext>
              </a:extLst>
            </p:cNvPr>
            <p:cNvSpPr>
              <a:spLocks noChangeArrowheads="1"/>
            </p:cNvSpPr>
            <p:nvPr/>
          </p:nvSpPr>
          <p:spPr bwMode="auto">
            <a:xfrm>
              <a:off x="8838007" y="8250439"/>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200" b="1">
                  <a:latin typeface="Arial"/>
                  <a:ea typeface="MS PGothic"/>
                  <a:cs typeface="Arial"/>
                </a:rPr>
                <a:t>Gestión de la Capacidad</a:t>
              </a:r>
            </a:p>
          </p:txBody>
        </p:sp>
        <p:sp>
          <p:nvSpPr>
            <p:cNvPr id="70" name="Rectangle 491">
              <a:extLst>
                <a:ext uri="{FF2B5EF4-FFF2-40B4-BE49-F238E27FC236}">
                  <a16:creationId xmlns:a16="http://schemas.microsoft.com/office/drawing/2014/main" id="{1D616523-4A6F-434B-8F86-6CDFAE0CA073}"/>
                </a:ext>
              </a:extLst>
            </p:cNvPr>
            <p:cNvSpPr>
              <a:spLocks noChangeArrowheads="1"/>
            </p:cNvSpPr>
            <p:nvPr/>
          </p:nvSpPr>
          <p:spPr bwMode="auto">
            <a:xfrm>
              <a:off x="8838007" y="9360274"/>
              <a:ext cx="2572877" cy="973523"/>
            </a:xfrm>
            <a:prstGeom prst="rect">
              <a:avLst/>
            </a:prstGeom>
            <a:solidFill>
              <a:schemeClr val="tx2">
                <a:lumMod val="40000"/>
                <a:lumOff val="6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defRPr/>
              </a:pPr>
              <a:r>
                <a:rPr lang="en-GB" altLang="en-US" sz="1100" b="1">
                  <a:solidFill>
                    <a:schemeClr val="tx1"/>
                  </a:solidFill>
                  <a:latin typeface="Arial" panose="020B0604020202020204"/>
                  <a:ea typeface="MS PGothic"/>
                  <a:cs typeface="Arial"/>
                </a:rPr>
                <a:t>Disponibilidad &amp; Ingenieria de confiabilidad del servicio (SRE)</a:t>
              </a:r>
            </a:p>
          </p:txBody>
        </p:sp>
        <p:sp>
          <p:nvSpPr>
            <p:cNvPr id="72" name="Rectangle 491">
              <a:extLst>
                <a:ext uri="{FF2B5EF4-FFF2-40B4-BE49-F238E27FC236}">
                  <a16:creationId xmlns:a16="http://schemas.microsoft.com/office/drawing/2014/main" id="{347EDC87-3A19-47C6-B349-328CADD12660}"/>
                </a:ext>
              </a:extLst>
            </p:cNvPr>
            <p:cNvSpPr>
              <a:spLocks noChangeArrowheads="1"/>
            </p:cNvSpPr>
            <p:nvPr/>
          </p:nvSpPr>
          <p:spPr bwMode="auto">
            <a:xfrm>
              <a:off x="3060053" y="8250439"/>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algn="ctr" defTabSz="1097280" fontAlgn="base">
                <a:spcBef>
                  <a:spcPct val="0"/>
                </a:spcBef>
                <a:spcAft>
                  <a:spcPct val="0"/>
                </a:spcAft>
              </a:pPr>
              <a:r>
                <a:rPr lang="en-GB" altLang="en-US" sz="1200" b="1" kern="0">
                  <a:solidFill>
                    <a:srgbClr val="000000"/>
                  </a:solidFill>
                  <a:latin typeface="Arial"/>
                  <a:ea typeface="MS PGothic"/>
                  <a:cs typeface="Arial"/>
                </a:rPr>
                <a:t>Data Science </a:t>
              </a:r>
              <a:r>
                <a:rPr lang="en-GB" altLang="en-US" sz="1200" b="1">
                  <a:latin typeface="Arial"/>
                  <a:ea typeface="MS PGothic"/>
                  <a:cs typeface="Arial"/>
                </a:rPr>
                <a:t>y</a:t>
              </a:r>
              <a:r>
                <a:rPr lang="en-GB" altLang="en-US" sz="1200" b="1" kern="0">
                  <a:solidFill>
                    <a:srgbClr val="000000"/>
                  </a:solidFill>
                  <a:latin typeface="Arial"/>
                  <a:ea typeface="MS PGothic"/>
                  <a:cs typeface="Arial"/>
                </a:rPr>
                <a:t> Analytics</a:t>
              </a:r>
            </a:p>
          </p:txBody>
        </p:sp>
        <p:sp>
          <p:nvSpPr>
            <p:cNvPr id="74" name="Rectangle 254">
              <a:extLst>
                <a:ext uri="{FF2B5EF4-FFF2-40B4-BE49-F238E27FC236}">
                  <a16:creationId xmlns:a16="http://schemas.microsoft.com/office/drawing/2014/main" id="{39505AA9-EFA6-4335-BB67-8C52A0A77380}"/>
                </a:ext>
              </a:extLst>
            </p:cNvPr>
            <p:cNvSpPr>
              <a:spLocks noChangeArrowheads="1"/>
            </p:cNvSpPr>
            <p:nvPr/>
          </p:nvSpPr>
          <p:spPr bwMode="auto">
            <a:xfrm>
              <a:off x="11722367" y="6016351"/>
              <a:ext cx="2572877" cy="973523"/>
            </a:xfrm>
            <a:prstGeom prst="rect">
              <a:avLst/>
            </a:prstGeom>
            <a:solidFill>
              <a:schemeClr val="bg2">
                <a:lumMod val="85000"/>
              </a:schemeClr>
            </a:solidFill>
            <a:ln w="11113" cap="rnd">
              <a:solidFill>
                <a:schemeClr val="accent1"/>
              </a:solidFill>
              <a:miter lim="800000"/>
              <a:headEnd/>
              <a:tailEnd/>
            </a:ln>
            <a:effectLst/>
            <a:extLst>
              <a:ext uri="{91240B29-F687-4f45-9708-019B960494DF}">
                <a14:hiddenLine xmlns="" xmlns:a14="http://schemas.microsoft.com/office/drawing/2010/main" w="9525">
                  <a:solidFill>
                    <a:srgbClr val="000000"/>
                  </a:solidFill>
                  <a:miter lim="800000"/>
                  <a:headEnd/>
                  <a:tailEnd/>
                </a14:hiddenLine>
              </a:ext>
            </a:extLst>
          </p:spPr>
          <p:txBody>
            <a:bodyPr anchor="ctr"/>
            <a:lstStyle/>
            <a:p>
              <a:pPr defTabSz="1097280" fontAlgn="base">
                <a:spcBef>
                  <a:spcPct val="0"/>
                </a:spcBef>
                <a:spcAft>
                  <a:spcPct val="0"/>
                </a:spcAft>
              </a:pPr>
              <a:r>
                <a:rPr lang="en-GB" altLang="en-US" sz="1200" b="1">
                  <a:latin typeface="Arial"/>
                  <a:ea typeface="MS PGothic"/>
                  <a:cs typeface="Arial"/>
                </a:rPr>
                <a:t>Gestión del rendimiento de la plataforma</a:t>
              </a:r>
              <a:endParaRPr lang="en-GB" altLang="en-US" sz="1200" b="1">
                <a:latin typeface="Arial" charset="0"/>
                <a:ea typeface="MS PGothic" charset="-128"/>
                <a:cs typeface="Arial"/>
              </a:endParaRPr>
            </a:p>
          </p:txBody>
        </p:sp>
        <p:sp>
          <p:nvSpPr>
            <p:cNvPr id="76" name="Rectangle 491">
              <a:extLst>
                <a:ext uri="{FF2B5EF4-FFF2-40B4-BE49-F238E27FC236}">
                  <a16:creationId xmlns:a16="http://schemas.microsoft.com/office/drawing/2014/main" id="{0E48ACAC-E590-46DE-9D1D-988E6FF1DBE3}"/>
                </a:ext>
              </a:extLst>
            </p:cNvPr>
            <p:cNvSpPr>
              <a:spLocks noChangeArrowheads="1"/>
            </p:cNvSpPr>
            <p:nvPr/>
          </p:nvSpPr>
          <p:spPr bwMode="auto">
            <a:xfrm>
              <a:off x="3060053" y="7135450"/>
              <a:ext cx="2572877" cy="973523"/>
            </a:xfrm>
            <a:prstGeom prst="rect">
              <a:avLst/>
            </a:prstGeom>
            <a:solidFill>
              <a:schemeClr val="tx2">
                <a:lumMod val="40000"/>
                <a:lumOff val="6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pPr>
              <a:r>
                <a:rPr lang="en-GB" altLang="en-US" sz="1100" b="1">
                  <a:solidFill>
                    <a:schemeClr val="tx1"/>
                  </a:solidFill>
                  <a:latin typeface="Arial" panose="020B0604020202020204"/>
                  <a:ea typeface="MS PGothic"/>
                  <a:cs typeface="Arial"/>
                </a:rPr>
                <a:t>Introducción &amp; Cambio de los servicios de producto</a:t>
              </a:r>
              <a:endParaRPr lang="en-GB" altLang="en-US" sz="1100" b="1">
                <a:solidFill>
                  <a:schemeClr val="tx1"/>
                </a:solidFill>
                <a:latin typeface="Arial" panose="020B0604020202020204"/>
                <a:ea typeface="MS PGothic" charset="-128"/>
                <a:cs typeface="Arial"/>
              </a:endParaRPr>
            </a:p>
          </p:txBody>
        </p:sp>
        <p:sp>
          <p:nvSpPr>
            <p:cNvPr id="78" name="Rectangle 487">
              <a:extLst>
                <a:ext uri="{FF2B5EF4-FFF2-40B4-BE49-F238E27FC236}">
                  <a16:creationId xmlns:a16="http://schemas.microsoft.com/office/drawing/2014/main" id="{A823E046-8ACD-4F4D-85AC-E8EBF13D5954}"/>
                </a:ext>
              </a:extLst>
            </p:cNvPr>
            <p:cNvSpPr>
              <a:spLocks noChangeArrowheads="1"/>
            </p:cNvSpPr>
            <p:nvPr/>
          </p:nvSpPr>
          <p:spPr bwMode="auto">
            <a:xfrm>
              <a:off x="5949031" y="9360274"/>
              <a:ext cx="2572877" cy="973523"/>
            </a:xfrm>
            <a:prstGeom prst="rect">
              <a:avLst/>
            </a:prstGeom>
            <a:solidFill>
              <a:schemeClr val="tx2">
                <a:lumMod val="40000"/>
                <a:lumOff val="60000"/>
              </a:schemeClr>
            </a:solidFill>
            <a:ln>
              <a:solidFill>
                <a:schemeClr val="accent1"/>
              </a:solidFill>
            </a:ln>
            <a:extLst>
              <a:ext uri="{909E8E84-426E-40dd-AFC4-6F175D3DCCD1}">
                <a14:hiddenFill xmlns=""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defRPr/>
              </a:pPr>
              <a:r>
                <a:rPr lang="en-GB" altLang="en-US" sz="1200" b="1">
                  <a:solidFill>
                    <a:schemeClr val="tx1"/>
                  </a:solidFill>
                  <a:latin typeface="Arial" panose="020B0604020202020204"/>
                  <a:ea typeface="MS PGothic"/>
                  <a:cs typeface="Arial"/>
                </a:rPr>
                <a:t>Integración QA &amp; testing de releases</a:t>
              </a:r>
            </a:p>
          </p:txBody>
        </p:sp>
        <p:sp>
          <p:nvSpPr>
            <p:cNvPr id="80" name="Rectangle 491">
              <a:extLst>
                <a:ext uri="{FF2B5EF4-FFF2-40B4-BE49-F238E27FC236}">
                  <a16:creationId xmlns:a16="http://schemas.microsoft.com/office/drawing/2014/main" id="{435064D6-6916-4B8C-B597-6D879AE907ED}"/>
                </a:ext>
              </a:extLst>
            </p:cNvPr>
            <p:cNvSpPr>
              <a:spLocks noChangeArrowheads="1"/>
            </p:cNvSpPr>
            <p:nvPr/>
          </p:nvSpPr>
          <p:spPr bwMode="auto">
            <a:xfrm>
              <a:off x="8838007" y="4903089"/>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200" b="1">
                  <a:latin typeface="Arial"/>
                  <a:ea typeface="MS PGothic"/>
                  <a:cs typeface="Arial"/>
                </a:rPr>
                <a:t>Orquestación &amp; Accesos de servicios</a:t>
              </a:r>
            </a:p>
          </p:txBody>
        </p:sp>
        <p:sp>
          <p:nvSpPr>
            <p:cNvPr id="82" name="Rectangle 491">
              <a:extLst>
                <a:ext uri="{FF2B5EF4-FFF2-40B4-BE49-F238E27FC236}">
                  <a16:creationId xmlns:a16="http://schemas.microsoft.com/office/drawing/2014/main" id="{03EB9A4A-A878-4306-A9DA-2E4154BA14F8}"/>
                </a:ext>
              </a:extLst>
            </p:cNvPr>
            <p:cNvSpPr>
              <a:spLocks noChangeArrowheads="1"/>
            </p:cNvSpPr>
            <p:nvPr/>
          </p:nvSpPr>
          <p:spPr bwMode="auto">
            <a:xfrm>
              <a:off x="5931918" y="6020461"/>
              <a:ext cx="2572877" cy="973523"/>
            </a:xfrm>
            <a:prstGeom prst="rect">
              <a:avLst/>
            </a:prstGeom>
            <a:solidFill>
              <a:schemeClr val="tx2">
                <a:lumMod val="40000"/>
                <a:lumOff val="6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fontAlgn="base">
                <a:spcBef>
                  <a:spcPct val="0"/>
                </a:spcBef>
                <a:spcAft>
                  <a:spcPct val="0"/>
                </a:spcAft>
                <a:defRPr/>
              </a:pPr>
              <a:r>
                <a:rPr lang="en-GB" altLang="en-US" sz="1200" b="1">
                  <a:solidFill>
                    <a:schemeClr val="tx1"/>
                  </a:solidFill>
                  <a:latin typeface="Arial" panose="020B0604020202020204"/>
                  <a:ea typeface="MS PGothic"/>
                  <a:cs typeface="Arial"/>
                </a:rPr>
                <a:t>Gestión &amp; Configuración de versiones</a:t>
              </a:r>
            </a:p>
          </p:txBody>
        </p:sp>
        <p:sp>
          <p:nvSpPr>
            <p:cNvPr id="84" name="Rectangle 255">
              <a:extLst>
                <a:ext uri="{FF2B5EF4-FFF2-40B4-BE49-F238E27FC236}">
                  <a16:creationId xmlns:a16="http://schemas.microsoft.com/office/drawing/2014/main" id="{2EAB8B2E-6663-45FB-BC46-2419EA4DC050}"/>
                </a:ext>
              </a:extLst>
            </p:cNvPr>
            <p:cNvSpPr>
              <a:spLocks noChangeArrowheads="1"/>
            </p:cNvSpPr>
            <p:nvPr/>
          </p:nvSpPr>
          <p:spPr bwMode="auto">
            <a:xfrm>
              <a:off x="14658613" y="7131338"/>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200" b="1">
                  <a:latin typeface="Arial"/>
                  <a:ea typeface="MS PGothic"/>
                  <a:cs typeface="Arial"/>
                </a:rPr>
                <a:t>Abastecimiento y gestión de Partners</a:t>
              </a:r>
            </a:p>
          </p:txBody>
        </p:sp>
      </p:grpSp>
      <p:sp>
        <p:nvSpPr>
          <p:cNvPr id="44" name="TextBox 43">
            <a:extLst>
              <a:ext uri="{FF2B5EF4-FFF2-40B4-BE49-F238E27FC236}">
                <a16:creationId xmlns:a16="http://schemas.microsoft.com/office/drawing/2014/main" id="{38CE3216-6BAB-4CCE-A68B-837D6CA39204}"/>
              </a:ext>
            </a:extLst>
          </p:cNvPr>
          <p:cNvSpPr txBox="1"/>
          <p:nvPr/>
        </p:nvSpPr>
        <p:spPr>
          <a:xfrm>
            <a:off x="9992636" y="4419323"/>
            <a:ext cx="1603324" cy="3154710"/>
          </a:xfrm>
          <a:prstGeom prst="rect">
            <a:avLst/>
          </a:prstGeom>
          <a:noFill/>
        </p:spPr>
        <p:txBody>
          <a:bodyPr wrap="none" rtlCol="0">
            <a:spAutoFit/>
          </a:bodyPr>
          <a:lstStyle/>
          <a:p>
            <a:r>
              <a:rPr lang="es-ES" sz="19900" dirty="0">
                <a:solidFill>
                  <a:srgbClr val="FEC8C8"/>
                </a:solidFill>
              </a:rPr>
              <a:t>4</a:t>
            </a:r>
          </a:p>
        </p:txBody>
      </p:sp>
      <p:sp>
        <p:nvSpPr>
          <p:cNvPr id="45" name="Rectangle 44">
            <a:extLst>
              <a:ext uri="{FF2B5EF4-FFF2-40B4-BE49-F238E27FC236}">
                <a16:creationId xmlns:a16="http://schemas.microsoft.com/office/drawing/2014/main" id="{A492A3FB-2AFC-4874-9E13-26B16A757A6D}"/>
              </a:ext>
            </a:extLst>
          </p:cNvPr>
          <p:cNvSpPr/>
          <p:nvPr/>
        </p:nvSpPr>
        <p:spPr>
          <a:xfrm>
            <a:off x="1580517" y="4597708"/>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solidFill>
                <a:latin typeface="Arial" panose="020B0604020202020204"/>
                <a:ea typeface="MS PGothic" charset="-128"/>
              </a:rPr>
              <a:t>Governance</a:t>
            </a:r>
            <a:br>
              <a:rPr lang="en-GB" sz="1600" b="1" dirty="0">
                <a:solidFill>
                  <a:schemeClr val="bg1"/>
                </a:solidFill>
                <a:latin typeface="Arial" panose="020B0604020202020204"/>
                <a:ea typeface="MS PGothic" charset="-128"/>
              </a:rPr>
            </a:br>
            <a:r>
              <a:rPr lang="en-GB" sz="1600" b="1" dirty="0">
                <a:solidFill>
                  <a:schemeClr val="bg1"/>
                </a:solidFill>
                <a:latin typeface="Arial" panose="020B0604020202020204"/>
                <a:ea typeface="MS PGothic" charset="-128"/>
              </a:rPr>
              <a:t>&amp; Control</a:t>
            </a:r>
            <a:endParaRPr lang="en-US" sz="1600" b="1" dirty="0">
              <a:solidFill>
                <a:schemeClr val="bg1"/>
              </a:solidFill>
              <a:latin typeface="Arial" panose="020B0604020202020204"/>
              <a:ea typeface="MS PGothic" charset="-128"/>
            </a:endParaRPr>
          </a:p>
        </p:txBody>
      </p:sp>
      <p:sp>
        <p:nvSpPr>
          <p:cNvPr id="47" name="Rectangle 46">
            <a:extLst>
              <a:ext uri="{FF2B5EF4-FFF2-40B4-BE49-F238E27FC236}">
                <a16:creationId xmlns:a16="http://schemas.microsoft.com/office/drawing/2014/main" id="{DC2CC58A-D4C2-457F-9CA1-FC5BBD07812C}"/>
              </a:ext>
            </a:extLst>
          </p:cNvPr>
          <p:cNvSpPr/>
          <p:nvPr/>
        </p:nvSpPr>
        <p:spPr>
          <a:xfrm>
            <a:off x="5213956" y="6432655"/>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a:spcBef>
                <a:spcPct val="0"/>
              </a:spcBef>
              <a:spcAft>
                <a:spcPct val="0"/>
              </a:spcAft>
            </a:pPr>
            <a:r>
              <a:rPr lang="en-GB" sz="1600" b="1" dirty="0">
                <a:solidFill>
                  <a:schemeClr val="bg1"/>
                </a:solidFill>
                <a:latin typeface="Arial" panose="020B0604020202020204"/>
                <a:ea typeface="MS PGothic"/>
              </a:rPr>
              <a:t>Operaciones de servicio continuas</a:t>
            </a:r>
            <a:endParaRPr lang="en-US" dirty="0">
              <a:solidFill>
                <a:schemeClr val="bg1"/>
              </a:solidFill>
            </a:endParaRPr>
          </a:p>
        </p:txBody>
      </p:sp>
      <p:sp>
        <p:nvSpPr>
          <p:cNvPr id="49" name="Rectangle 48">
            <a:extLst>
              <a:ext uri="{FF2B5EF4-FFF2-40B4-BE49-F238E27FC236}">
                <a16:creationId xmlns:a16="http://schemas.microsoft.com/office/drawing/2014/main" id="{DE3E9B9A-BCD8-49B8-A0F2-9732D7A1B4D5}"/>
              </a:ext>
            </a:extLst>
          </p:cNvPr>
          <p:cNvSpPr/>
          <p:nvPr/>
        </p:nvSpPr>
        <p:spPr>
          <a:xfrm>
            <a:off x="7971933" y="2896517"/>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solidFill>
                <a:latin typeface="Arial" panose="020B0604020202020204"/>
                <a:ea typeface="MS PGothic"/>
              </a:rPr>
              <a:t>CI / CD de releases</a:t>
            </a:r>
            <a:endParaRPr lang="en-GB" sz="1600" b="1" dirty="0">
              <a:solidFill>
                <a:schemeClr val="bg1"/>
              </a:solidFill>
              <a:latin typeface="Arial" panose="020B0604020202020204"/>
              <a:ea typeface="MS PGothic"/>
              <a:cs typeface="Arial"/>
            </a:endParaRPr>
          </a:p>
        </p:txBody>
      </p:sp>
      <p:sp>
        <p:nvSpPr>
          <p:cNvPr id="51" name="Rectangle 50">
            <a:extLst>
              <a:ext uri="{FF2B5EF4-FFF2-40B4-BE49-F238E27FC236}">
                <a16:creationId xmlns:a16="http://schemas.microsoft.com/office/drawing/2014/main" id="{1D18D975-CB14-413F-9184-53A029F2950F}"/>
              </a:ext>
            </a:extLst>
          </p:cNvPr>
          <p:cNvSpPr/>
          <p:nvPr/>
        </p:nvSpPr>
        <p:spPr>
          <a:xfrm>
            <a:off x="5169003" y="2913725"/>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solidFill>
                <a:latin typeface="Arial" panose="020B0604020202020204"/>
                <a:ea typeface="MS PGothic"/>
                <a:cs typeface="Arial"/>
              </a:rPr>
              <a:t>Servicios de demanda ágiles</a:t>
            </a:r>
            <a:endParaRPr lang="en-GB" sz="1600" b="1" dirty="0">
              <a:solidFill>
                <a:schemeClr val="bg1"/>
              </a:solidFill>
              <a:latin typeface="Arial" panose="020B0604020202020204"/>
              <a:ea typeface="MS PGothic" charset="-128"/>
              <a:cs typeface="Arial"/>
            </a:endParaRPr>
          </a:p>
        </p:txBody>
      </p:sp>
      <p:sp>
        <p:nvSpPr>
          <p:cNvPr id="53" name="Rectangle 52">
            <a:extLst>
              <a:ext uri="{FF2B5EF4-FFF2-40B4-BE49-F238E27FC236}">
                <a16:creationId xmlns:a16="http://schemas.microsoft.com/office/drawing/2014/main" id="{BC76B22F-DACC-4E7E-BC0F-B7843A603B83}"/>
              </a:ext>
            </a:extLst>
          </p:cNvPr>
          <p:cNvSpPr/>
          <p:nvPr/>
        </p:nvSpPr>
        <p:spPr>
          <a:xfrm>
            <a:off x="8004127" y="6432655"/>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solidFill>
                <a:ea typeface="MS PGothic" charset="-128"/>
              </a:rPr>
              <a:t>Aprovisionamiento &amp; Ejecución Automática</a:t>
            </a:r>
            <a:endParaRPr lang="en-US" sz="1600" b="1" dirty="0">
              <a:solidFill>
                <a:schemeClr val="bg1"/>
              </a:solidFill>
              <a:ea typeface="MS PGothic" charset="-128"/>
            </a:endParaRPr>
          </a:p>
        </p:txBody>
      </p:sp>
      <p:sp>
        <p:nvSpPr>
          <p:cNvPr id="55" name="Rectangle 54">
            <a:extLst>
              <a:ext uri="{FF2B5EF4-FFF2-40B4-BE49-F238E27FC236}">
                <a16:creationId xmlns:a16="http://schemas.microsoft.com/office/drawing/2014/main" id="{5FD6FD6F-4530-4645-AE13-C16022DB42E8}"/>
              </a:ext>
            </a:extLst>
          </p:cNvPr>
          <p:cNvSpPr/>
          <p:nvPr/>
        </p:nvSpPr>
        <p:spPr>
          <a:xfrm>
            <a:off x="4998047" y="2712155"/>
            <a:ext cx="5711535" cy="1693717"/>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Rectangle 56">
            <a:extLst>
              <a:ext uri="{FF2B5EF4-FFF2-40B4-BE49-F238E27FC236}">
                <a16:creationId xmlns:a16="http://schemas.microsoft.com/office/drawing/2014/main" id="{9C8EAFDB-7286-4344-9C20-196F50EA3887}"/>
              </a:ext>
            </a:extLst>
          </p:cNvPr>
          <p:cNvSpPr/>
          <p:nvPr/>
        </p:nvSpPr>
        <p:spPr>
          <a:xfrm>
            <a:off x="5050545" y="6236572"/>
            <a:ext cx="5711535" cy="1693717"/>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59" name="Straight Arrow Connector 58">
            <a:extLst>
              <a:ext uri="{FF2B5EF4-FFF2-40B4-BE49-F238E27FC236}">
                <a16:creationId xmlns:a16="http://schemas.microsoft.com/office/drawing/2014/main" id="{0A7D0D75-DA18-465D-9CC9-9166E16BBF8C}"/>
              </a:ext>
            </a:extLst>
          </p:cNvPr>
          <p:cNvCxnSpPr>
            <a:cxnSpLocks/>
          </p:cNvCxnSpPr>
          <p:nvPr/>
        </p:nvCxnSpPr>
        <p:spPr>
          <a:xfrm flipH="1">
            <a:off x="7852299" y="4831512"/>
            <a:ext cx="24614" cy="1295438"/>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60AB67E1-494D-44B6-A0A7-9DE4989F3A3F}"/>
              </a:ext>
            </a:extLst>
          </p:cNvPr>
          <p:cNvSpPr txBox="1"/>
          <p:nvPr/>
        </p:nvSpPr>
        <p:spPr>
          <a:xfrm>
            <a:off x="7799803" y="4367652"/>
            <a:ext cx="3074881" cy="400110"/>
          </a:xfrm>
          <a:prstGeom prst="rect">
            <a:avLst/>
          </a:prstGeom>
          <a:noFill/>
        </p:spPr>
        <p:txBody>
          <a:bodyPr wrap="none" rtlCol="0">
            <a:spAutoFit/>
          </a:bodyPr>
          <a:lstStyle/>
          <a:p>
            <a:r>
              <a:rPr lang="es-ES" sz="2000" b="1" dirty="0">
                <a:solidFill>
                  <a:srgbClr val="AC0000"/>
                </a:solidFill>
              </a:rPr>
              <a:t>Gestión de la demanda</a:t>
            </a:r>
          </a:p>
        </p:txBody>
      </p:sp>
      <p:sp>
        <p:nvSpPr>
          <p:cNvPr id="79" name="TextBox 78">
            <a:extLst>
              <a:ext uri="{FF2B5EF4-FFF2-40B4-BE49-F238E27FC236}">
                <a16:creationId xmlns:a16="http://schemas.microsoft.com/office/drawing/2014/main" id="{A4253F51-2F37-4F42-BBE1-BA7987865F68}"/>
              </a:ext>
            </a:extLst>
          </p:cNvPr>
          <p:cNvSpPr txBox="1"/>
          <p:nvPr/>
        </p:nvSpPr>
        <p:spPr>
          <a:xfrm>
            <a:off x="7878231" y="5742150"/>
            <a:ext cx="3163046" cy="400110"/>
          </a:xfrm>
          <a:prstGeom prst="rect">
            <a:avLst/>
          </a:prstGeom>
          <a:noFill/>
        </p:spPr>
        <p:txBody>
          <a:bodyPr wrap="none" rtlCol="0">
            <a:spAutoFit/>
          </a:bodyPr>
          <a:lstStyle/>
          <a:p>
            <a:r>
              <a:rPr lang="es-ES" sz="2000" b="1" dirty="0">
                <a:solidFill>
                  <a:srgbClr val="AC0000"/>
                </a:solidFill>
              </a:rPr>
              <a:t>Integracion &amp; Brokerage</a:t>
            </a:r>
          </a:p>
        </p:txBody>
      </p:sp>
      <p:cxnSp>
        <p:nvCxnSpPr>
          <p:cNvPr id="86" name="Straight Arrow Connector 85">
            <a:extLst>
              <a:ext uri="{FF2B5EF4-FFF2-40B4-BE49-F238E27FC236}">
                <a16:creationId xmlns:a16="http://schemas.microsoft.com/office/drawing/2014/main" id="{953B7325-364F-4975-9317-956A99053846}"/>
              </a:ext>
            </a:extLst>
          </p:cNvPr>
          <p:cNvCxnSpPr/>
          <p:nvPr/>
        </p:nvCxnSpPr>
        <p:spPr>
          <a:xfrm>
            <a:off x="2825739" y="3555280"/>
            <a:ext cx="2048483"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478691FF-0D8A-4599-A4F8-5409A658F60C}"/>
              </a:ext>
            </a:extLst>
          </p:cNvPr>
          <p:cNvCxnSpPr>
            <a:cxnSpLocks/>
          </p:cNvCxnSpPr>
          <p:nvPr/>
        </p:nvCxnSpPr>
        <p:spPr>
          <a:xfrm flipH="1" flipV="1">
            <a:off x="2852996" y="3524087"/>
            <a:ext cx="5609" cy="1010584"/>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0E5F34EA-9D7E-4CA2-A67D-6C0B4A8E10AD}"/>
              </a:ext>
            </a:extLst>
          </p:cNvPr>
          <p:cNvCxnSpPr>
            <a:cxnSpLocks/>
          </p:cNvCxnSpPr>
          <p:nvPr/>
        </p:nvCxnSpPr>
        <p:spPr>
          <a:xfrm>
            <a:off x="2823951" y="7223516"/>
            <a:ext cx="2048483"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B7982D31-FC40-4AF6-AB61-1B3448F7329E}"/>
              </a:ext>
            </a:extLst>
          </p:cNvPr>
          <p:cNvCxnSpPr>
            <a:cxnSpLocks/>
          </p:cNvCxnSpPr>
          <p:nvPr/>
        </p:nvCxnSpPr>
        <p:spPr>
          <a:xfrm flipH="1" flipV="1">
            <a:off x="2841255" y="5981955"/>
            <a:ext cx="1" cy="126496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8" name="Arrow: Chevron 7">
            <a:extLst>
              <a:ext uri="{FF2B5EF4-FFF2-40B4-BE49-F238E27FC236}">
                <a16:creationId xmlns:a16="http://schemas.microsoft.com/office/drawing/2014/main" id="{E564251B-E0D4-45E0-9E72-92CFDDEE67E2}"/>
              </a:ext>
            </a:extLst>
          </p:cNvPr>
          <p:cNvSpPr/>
          <p:nvPr/>
        </p:nvSpPr>
        <p:spPr>
          <a:xfrm>
            <a:off x="12208435" y="2929425"/>
            <a:ext cx="960915" cy="4680477"/>
          </a:xfrm>
          <a:prstGeom prst="chevron">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chemeClr val="tx1"/>
              </a:solidFill>
            </a:endParaRPr>
          </a:p>
        </p:txBody>
      </p:sp>
      <p:sp>
        <p:nvSpPr>
          <p:cNvPr id="7" name="Rectangle: Rounded Corners 6">
            <a:extLst>
              <a:ext uri="{FF2B5EF4-FFF2-40B4-BE49-F238E27FC236}">
                <a16:creationId xmlns:a16="http://schemas.microsoft.com/office/drawing/2014/main" id="{252EDBA1-EB78-4C60-926F-EE005119ABAC}"/>
              </a:ext>
            </a:extLst>
          </p:cNvPr>
          <p:cNvSpPr/>
          <p:nvPr/>
        </p:nvSpPr>
        <p:spPr>
          <a:xfrm>
            <a:off x="13434741" y="1536430"/>
            <a:ext cx="10500357" cy="682553"/>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 sz="2400" b="1" dirty="0">
                <a:cs typeface="Arial"/>
              </a:rPr>
              <a:t>Prioridades &amp; Areas principales</a:t>
            </a:r>
          </a:p>
        </p:txBody>
      </p:sp>
    </p:spTree>
    <p:extLst>
      <p:ext uri="{BB962C8B-B14F-4D97-AF65-F5344CB8AC3E}">
        <p14:creationId xmlns:p14="http://schemas.microsoft.com/office/powerpoint/2010/main" val="22657214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grpSp>
        <p:nvGrpSpPr>
          <p:cNvPr id="170" name="Group 1452">
            <a:extLst>
              <a:ext uri="{FF2B5EF4-FFF2-40B4-BE49-F238E27FC236}">
                <a16:creationId xmlns:a16="http://schemas.microsoft.com/office/drawing/2014/main" id="{F5DDB166-B6F1-4DCA-B74F-6E3419615308}"/>
              </a:ext>
            </a:extLst>
          </p:cNvPr>
          <p:cNvGrpSpPr>
            <a:grpSpLocks noChangeAspect="1"/>
          </p:cNvGrpSpPr>
          <p:nvPr/>
        </p:nvGrpSpPr>
        <p:grpSpPr bwMode="auto">
          <a:xfrm>
            <a:off x="799542" y="3178352"/>
            <a:ext cx="672464" cy="432436"/>
            <a:chOff x="4967340" y="2057401"/>
            <a:chExt cx="492125" cy="315912"/>
          </a:xfrm>
          <a:solidFill>
            <a:srgbClr val="FFFFFF"/>
          </a:solidFill>
        </p:grpSpPr>
        <p:sp>
          <p:nvSpPr>
            <p:cNvPr id="171" name="Freeform 93">
              <a:extLst>
                <a:ext uri="{FF2B5EF4-FFF2-40B4-BE49-F238E27FC236}">
                  <a16:creationId xmlns:a16="http://schemas.microsoft.com/office/drawing/2014/main" id="{3E36C31E-E7B8-4961-9F7B-6DA4A5DE3D1C}"/>
                </a:ext>
              </a:extLst>
            </p:cNvPr>
            <p:cNvSpPr>
              <a:spLocks noEditPoints="1"/>
            </p:cNvSpPr>
            <p:nvPr/>
          </p:nvSpPr>
          <p:spPr bwMode="auto">
            <a:xfrm>
              <a:off x="4967340" y="2089151"/>
              <a:ext cx="492125" cy="261938"/>
            </a:xfrm>
            <a:custGeom>
              <a:avLst/>
              <a:gdLst>
                <a:gd name="T0" fmla="*/ 2147483646 w 485"/>
                <a:gd name="T1" fmla="*/ 2147483646 h 259"/>
                <a:gd name="T2" fmla="*/ 2147483646 w 485"/>
                <a:gd name="T3" fmla="*/ 2147483646 h 259"/>
                <a:gd name="T4" fmla="*/ 2147483646 w 485"/>
                <a:gd name="T5" fmla="*/ 0 h 259"/>
                <a:gd name="T6" fmla="*/ 2147483646 w 485"/>
                <a:gd name="T7" fmla="*/ 2147483646 h 259"/>
                <a:gd name="T8" fmla="*/ 2147483646 w 485"/>
                <a:gd name="T9" fmla="*/ 2147483646 h 259"/>
                <a:gd name="T10" fmla="*/ 2147483646 w 485"/>
                <a:gd name="T11" fmla="*/ 2147483646 h 259"/>
                <a:gd name="T12" fmla="*/ 0 w 485"/>
                <a:gd name="T13" fmla="*/ 2147483646 h 259"/>
                <a:gd name="T14" fmla="*/ 2147483646 w 485"/>
                <a:gd name="T15" fmla="*/ 2147483646 h 259"/>
                <a:gd name="T16" fmla="*/ 2147483646 w 485"/>
                <a:gd name="T17" fmla="*/ 2147483646 h 259"/>
                <a:gd name="T18" fmla="*/ 2147483646 w 485"/>
                <a:gd name="T19" fmla="*/ 2147483646 h 259"/>
                <a:gd name="T20" fmla="*/ 2147483646 w 485"/>
                <a:gd name="T21" fmla="*/ 2147483646 h 259"/>
                <a:gd name="T22" fmla="*/ 2147483646 w 485"/>
                <a:gd name="T23" fmla="*/ 2147483646 h 259"/>
                <a:gd name="T24" fmla="*/ 2147483646 w 485"/>
                <a:gd name="T25" fmla="*/ 2147483646 h 259"/>
                <a:gd name="T26" fmla="*/ 2147483646 w 485"/>
                <a:gd name="T27" fmla="*/ 2147483646 h 259"/>
                <a:gd name="T28" fmla="*/ 2147483646 w 485"/>
                <a:gd name="T29" fmla="*/ 2147483646 h 259"/>
                <a:gd name="T30" fmla="*/ 2147483646 w 485"/>
                <a:gd name="T31" fmla="*/ 2147483646 h 259"/>
                <a:gd name="T32" fmla="*/ 2147483646 w 485"/>
                <a:gd name="T33" fmla="*/ 2147483646 h 259"/>
                <a:gd name="T34" fmla="*/ 2147483646 w 485"/>
                <a:gd name="T35" fmla="*/ 0 h 259"/>
                <a:gd name="T36" fmla="*/ 2147483646 w 485"/>
                <a:gd name="T37" fmla="*/ 2147483646 h 259"/>
                <a:gd name="T38" fmla="*/ 2147483646 w 485"/>
                <a:gd name="T39" fmla="*/ 2147483646 h 259"/>
                <a:gd name="T40" fmla="*/ 2147483646 w 485"/>
                <a:gd name="T41" fmla="*/ 2147483646 h 259"/>
                <a:gd name="T42" fmla="*/ 2147483646 w 485"/>
                <a:gd name="T43" fmla="*/ 2147483646 h 259"/>
                <a:gd name="T44" fmla="*/ 2147483646 w 485"/>
                <a:gd name="T45" fmla="*/ 2147483646 h 259"/>
                <a:gd name="T46" fmla="*/ 2147483646 w 485"/>
                <a:gd name="T47" fmla="*/ 2147483646 h 259"/>
                <a:gd name="T48" fmla="*/ 2147483646 w 485"/>
                <a:gd name="T49" fmla="*/ 2147483646 h 259"/>
                <a:gd name="T50" fmla="*/ 2147483646 w 485"/>
                <a:gd name="T51" fmla="*/ 2147483646 h 259"/>
                <a:gd name="T52" fmla="*/ 2147483646 w 485"/>
                <a:gd name="T53" fmla="*/ 2147483646 h 25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85" h="259">
                  <a:moveTo>
                    <a:pt x="152" y="39"/>
                  </a:moveTo>
                  <a:cubicBezTo>
                    <a:pt x="152" y="28"/>
                    <a:pt x="154" y="18"/>
                    <a:pt x="157" y="9"/>
                  </a:cubicBezTo>
                  <a:cubicBezTo>
                    <a:pt x="147" y="3"/>
                    <a:pt x="136" y="0"/>
                    <a:pt x="123" y="0"/>
                  </a:cubicBezTo>
                  <a:cubicBezTo>
                    <a:pt x="88" y="0"/>
                    <a:pt x="60" y="25"/>
                    <a:pt x="60" y="65"/>
                  </a:cubicBezTo>
                  <a:cubicBezTo>
                    <a:pt x="60" y="97"/>
                    <a:pt x="78" y="128"/>
                    <a:pt x="103" y="140"/>
                  </a:cubicBezTo>
                  <a:cubicBezTo>
                    <a:pt x="103" y="165"/>
                    <a:pt x="103" y="165"/>
                    <a:pt x="103" y="165"/>
                  </a:cubicBezTo>
                  <a:cubicBezTo>
                    <a:pt x="22" y="170"/>
                    <a:pt x="6" y="204"/>
                    <a:pt x="0" y="247"/>
                  </a:cubicBezTo>
                  <a:cubicBezTo>
                    <a:pt x="84" y="259"/>
                    <a:pt x="84" y="259"/>
                    <a:pt x="84" y="259"/>
                  </a:cubicBezTo>
                  <a:cubicBezTo>
                    <a:pt x="84" y="245"/>
                    <a:pt x="84" y="245"/>
                    <a:pt x="84" y="245"/>
                  </a:cubicBezTo>
                  <a:cubicBezTo>
                    <a:pt x="88" y="219"/>
                    <a:pt x="94" y="192"/>
                    <a:pt x="114" y="171"/>
                  </a:cubicBezTo>
                  <a:cubicBezTo>
                    <a:pt x="131" y="153"/>
                    <a:pt x="159" y="140"/>
                    <a:pt x="202" y="135"/>
                  </a:cubicBezTo>
                  <a:cubicBezTo>
                    <a:pt x="202" y="135"/>
                    <a:pt x="202" y="135"/>
                    <a:pt x="202" y="135"/>
                  </a:cubicBezTo>
                  <a:cubicBezTo>
                    <a:pt x="173" y="116"/>
                    <a:pt x="152" y="79"/>
                    <a:pt x="152" y="39"/>
                  </a:cubicBezTo>
                  <a:close/>
                  <a:moveTo>
                    <a:pt x="481" y="229"/>
                  </a:moveTo>
                  <a:cubicBezTo>
                    <a:pt x="472" y="194"/>
                    <a:pt x="450" y="169"/>
                    <a:pt x="382" y="165"/>
                  </a:cubicBezTo>
                  <a:cubicBezTo>
                    <a:pt x="382" y="140"/>
                    <a:pt x="382" y="140"/>
                    <a:pt x="382" y="140"/>
                  </a:cubicBezTo>
                  <a:cubicBezTo>
                    <a:pt x="407" y="128"/>
                    <a:pt x="425" y="97"/>
                    <a:pt x="425" y="65"/>
                  </a:cubicBezTo>
                  <a:cubicBezTo>
                    <a:pt x="425" y="25"/>
                    <a:pt x="397" y="0"/>
                    <a:pt x="361" y="0"/>
                  </a:cubicBezTo>
                  <a:cubicBezTo>
                    <a:pt x="349" y="0"/>
                    <a:pt x="338" y="3"/>
                    <a:pt x="328" y="9"/>
                  </a:cubicBezTo>
                  <a:cubicBezTo>
                    <a:pt x="331" y="18"/>
                    <a:pt x="333" y="28"/>
                    <a:pt x="333" y="39"/>
                  </a:cubicBezTo>
                  <a:cubicBezTo>
                    <a:pt x="333" y="79"/>
                    <a:pt x="312" y="116"/>
                    <a:pt x="283" y="135"/>
                  </a:cubicBezTo>
                  <a:cubicBezTo>
                    <a:pt x="283" y="135"/>
                    <a:pt x="283" y="135"/>
                    <a:pt x="283" y="135"/>
                  </a:cubicBezTo>
                  <a:cubicBezTo>
                    <a:pt x="324" y="139"/>
                    <a:pt x="352" y="151"/>
                    <a:pt x="369" y="168"/>
                  </a:cubicBezTo>
                  <a:cubicBezTo>
                    <a:pt x="391" y="189"/>
                    <a:pt x="397" y="218"/>
                    <a:pt x="401" y="245"/>
                  </a:cubicBezTo>
                  <a:cubicBezTo>
                    <a:pt x="401" y="259"/>
                    <a:pt x="401" y="259"/>
                    <a:pt x="401" y="259"/>
                  </a:cubicBezTo>
                  <a:cubicBezTo>
                    <a:pt x="485" y="247"/>
                    <a:pt x="485" y="247"/>
                    <a:pt x="485" y="247"/>
                  </a:cubicBezTo>
                  <a:cubicBezTo>
                    <a:pt x="484" y="241"/>
                    <a:pt x="483" y="235"/>
                    <a:pt x="481" y="2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72" name="Freeform 94">
              <a:extLst>
                <a:ext uri="{FF2B5EF4-FFF2-40B4-BE49-F238E27FC236}">
                  <a16:creationId xmlns:a16="http://schemas.microsoft.com/office/drawing/2014/main" id="{365455E5-B369-46AD-AE1C-84DF6BB22B2D}"/>
                </a:ext>
              </a:extLst>
            </p:cNvPr>
            <p:cNvSpPr>
              <a:spLocks/>
            </p:cNvSpPr>
            <p:nvPr/>
          </p:nvSpPr>
          <p:spPr bwMode="auto">
            <a:xfrm>
              <a:off x="5138790" y="2057401"/>
              <a:ext cx="149225" cy="169863"/>
            </a:xfrm>
            <a:custGeom>
              <a:avLst/>
              <a:gdLst>
                <a:gd name="T0" fmla="*/ 2147483646 w 147"/>
                <a:gd name="T1" fmla="*/ 2147483646 h 166"/>
                <a:gd name="T2" fmla="*/ 2147483646 w 147"/>
                <a:gd name="T3" fmla="*/ 2147483646 h 166"/>
                <a:gd name="T4" fmla="*/ 2147483646 w 147"/>
                <a:gd name="T5" fmla="*/ 2147483646 h 166"/>
                <a:gd name="T6" fmla="*/ 2147483646 w 147"/>
                <a:gd name="T7" fmla="*/ 0 h 166"/>
                <a:gd name="T8" fmla="*/ 0 w 147"/>
                <a:gd name="T9" fmla="*/ 2147483646 h 166"/>
                <a:gd name="T10" fmla="*/ 2147483646 w 147"/>
                <a:gd name="T11" fmla="*/ 2147483646 h 166"/>
                <a:gd name="T12" fmla="*/ 2147483646 w 147"/>
                <a:gd name="T13" fmla="*/ 2147483646 h 16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7" h="166">
                  <a:moveTo>
                    <a:pt x="74" y="166"/>
                  </a:moveTo>
                  <a:cubicBezTo>
                    <a:pt x="86" y="166"/>
                    <a:pt x="97" y="160"/>
                    <a:pt x="97" y="160"/>
                  </a:cubicBezTo>
                  <a:cubicBezTo>
                    <a:pt x="126" y="147"/>
                    <a:pt x="147" y="111"/>
                    <a:pt x="147" y="74"/>
                  </a:cubicBezTo>
                  <a:cubicBezTo>
                    <a:pt x="147" y="29"/>
                    <a:pt x="114" y="0"/>
                    <a:pt x="73" y="0"/>
                  </a:cubicBezTo>
                  <a:cubicBezTo>
                    <a:pt x="33" y="0"/>
                    <a:pt x="0" y="29"/>
                    <a:pt x="0" y="74"/>
                  </a:cubicBezTo>
                  <a:cubicBezTo>
                    <a:pt x="0" y="111"/>
                    <a:pt x="21" y="147"/>
                    <a:pt x="50" y="160"/>
                  </a:cubicBezTo>
                  <a:cubicBezTo>
                    <a:pt x="50" y="160"/>
                    <a:pt x="62" y="166"/>
                    <a:pt x="74" y="1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73" name="Freeform 95">
              <a:extLst>
                <a:ext uri="{FF2B5EF4-FFF2-40B4-BE49-F238E27FC236}">
                  <a16:creationId xmlns:a16="http://schemas.microsoft.com/office/drawing/2014/main" id="{7FB9A977-7E69-49BE-8AFC-E15F75CCAA82}"/>
                </a:ext>
              </a:extLst>
            </p:cNvPr>
            <p:cNvSpPr>
              <a:spLocks/>
            </p:cNvSpPr>
            <p:nvPr/>
          </p:nvSpPr>
          <p:spPr bwMode="auto">
            <a:xfrm>
              <a:off x="5226103" y="2239963"/>
              <a:ext cx="131763" cy="133350"/>
            </a:xfrm>
            <a:custGeom>
              <a:avLst/>
              <a:gdLst>
                <a:gd name="T0" fmla="*/ 2147483646 w 129"/>
                <a:gd name="T1" fmla="*/ 2147483646 h 130"/>
                <a:gd name="T2" fmla="*/ 2147483646 w 129"/>
                <a:gd name="T3" fmla="*/ 0 h 130"/>
                <a:gd name="T4" fmla="*/ 0 w 129"/>
                <a:gd name="T5" fmla="*/ 2147483646 h 130"/>
                <a:gd name="T6" fmla="*/ 2147483646 w 129"/>
                <a:gd name="T7" fmla="*/ 2147483646 h 130"/>
                <a:gd name="T8" fmla="*/ 2147483646 w 129"/>
                <a:gd name="T9" fmla="*/ 2147483646 h 13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0">
                  <a:moveTo>
                    <a:pt x="127" y="80"/>
                  </a:moveTo>
                  <a:cubicBezTo>
                    <a:pt x="118" y="39"/>
                    <a:pt x="104" y="7"/>
                    <a:pt x="30" y="0"/>
                  </a:cubicBezTo>
                  <a:cubicBezTo>
                    <a:pt x="0" y="130"/>
                    <a:pt x="0" y="130"/>
                    <a:pt x="0" y="130"/>
                  </a:cubicBezTo>
                  <a:cubicBezTo>
                    <a:pt x="90" y="129"/>
                    <a:pt x="129" y="118"/>
                    <a:pt x="129" y="118"/>
                  </a:cubicBezTo>
                  <a:cubicBezTo>
                    <a:pt x="128" y="113"/>
                    <a:pt x="128" y="85"/>
                    <a:pt x="127"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74" name="Freeform 96">
              <a:extLst>
                <a:ext uri="{FF2B5EF4-FFF2-40B4-BE49-F238E27FC236}">
                  <a16:creationId xmlns:a16="http://schemas.microsoft.com/office/drawing/2014/main" id="{786E8F80-3B67-4685-8713-73C5C055B48A}"/>
                </a:ext>
              </a:extLst>
            </p:cNvPr>
            <p:cNvSpPr>
              <a:spLocks/>
            </p:cNvSpPr>
            <p:nvPr/>
          </p:nvSpPr>
          <p:spPr bwMode="auto">
            <a:xfrm>
              <a:off x="5070528" y="2239963"/>
              <a:ext cx="130175" cy="133350"/>
            </a:xfrm>
            <a:custGeom>
              <a:avLst/>
              <a:gdLst>
                <a:gd name="T0" fmla="*/ 2147483646 w 129"/>
                <a:gd name="T1" fmla="*/ 2147483646 h 131"/>
                <a:gd name="T2" fmla="*/ 0 w 129"/>
                <a:gd name="T3" fmla="*/ 2147483646 h 131"/>
                <a:gd name="T4" fmla="*/ 2147483646 w 129"/>
                <a:gd name="T5" fmla="*/ 2147483646 h 131"/>
                <a:gd name="T6" fmla="*/ 2147483646 w 129"/>
                <a:gd name="T7" fmla="*/ 0 h 131"/>
                <a:gd name="T8" fmla="*/ 2147483646 w 129"/>
                <a:gd name="T9" fmla="*/ 2147483646 h 1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1">
                  <a:moveTo>
                    <a:pt x="2" y="82"/>
                  </a:moveTo>
                  <a:cubicBezTo>
                    <a:pt x="1" y="86"/>
                    <a:pt x="0" y="114"/>
                    <a:pt x="0" y="118"/>
                  </a:cubicBezTo>
                  <a:cubicBezTo>
                    <a:pt x="0" y="118"/>
                    <a:pt x="33" y="130"/>
                    <a:pt x="129" y="131"/>
                  </a:cubicBezTo>
                  <a:cubicBezTo>
                    <a:pt x="99" y="0"/>
                    <a:pt x="99" y="0"/>
                    <a:pt x="99" y="0"/>
                  </a:cubicBezTo>
                  <a:cubicBezTo>
                    <a:pt x="23" y="7"/>
                    <a:pt x="10" y="40"/>
                    <a:pt x="2"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75" name="Freeform 97">
              <a:extLst>
                <a:ext uri="{FF2B5EF4-FFF2-40B4-BE49-F238E27FC236}">
                  <a16:creationId xmlns:a16="http://schemas.microsoft.com/office/drawing/2014/main" id="{5ABDBDDF-0E39-4FFE-A314-7F75E07A43CB}"/>
                </a:ext>
              </a:extLst>
            </p:cNvPr>
            <p:cNvSpPr>
              <a:spLocks/>
            </p:cNvSpPr>
            <p:nvPr/>
          </p:nvSpPr>
          <p:spPr bwMode="auto">
            <a:xfrm>
              <a:off x="5197528" y="2241551"/>
              <a:ext cx="31750" cy="17463"/>
            </a:xfrm>
            <a:custGeom>
              <a:avLst/>
              <a:gdLst>
                <a:gd name="T0" fmla="*/ 2147483646 w 31"/>
                <a:gd name="T1" fmla="*/ 2147483646 h 17"/>
                <a:gd name="T2" fmla="*/ 0 w 31"/>
                <a:gd name="T3" fmla="*/ 0 h 17"/>
                <a:gd name="T4" fmla="*/ 2147483646 w 31"/>
                <a:gd name="T5" fmla="*/ 2147483646 h 17"/>
                <a:gd name="T6" fmla="*/ 2147483646 w 31"/>
                <a:gd name="T7" fmla="*/ 2147483646 h 17"/>
                <a:gd name="T8" fmla="*/ 2147483646 w 31"/>
                <a:gd name="T9" fmla="*/ 0 h 17"/>
                <a:gd name="T10" fmla="*/ 2147483646 w 31"/>
                <a:gd name="T11" fmla="*/ 2147483646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1" h="17">
                  <a:moveTo>
                    <a:pt x="15" y="1"/>
                  </a:moveTo>
                  <a:cubicBezTo>
                    <a:pt x="7" y="1"/>
                    <a:pt x="0" y="0"/>
                    <a:pt x="0" y="0"/>
                  </a:cubicBezTo>
                  <a:cubicBezTo>
                    <a:pt x="7" y="17"/>
                    <a:pt x="7" y="17"/>
                    <a:pt x="7" y="17"/>
                  </a:cubicBezTo>
                  <a:cubicBezTo>
                    <a:pt x="24" y="17"/>
                    <a:pt x="24" y="17"/>
                    <a:pt x="24" y="17"/>
                  </a:cubicBezTo>
                  <a:cubicBezTo>
                    <a:pt x="31" y="0"/>
                    <a:pt x="31" y="0"/>
                    <a:pt x="31" y="0"/>
                  </a:cubicBezTo>
                  <a:cubicBezTo>
                    <a:pt x="31" y="0"/>
                    <a:pt x="25" y="1"/>
                    <a:pt x="1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76" name="Freeform 98">
              <a:extLst>
                <a:ext uri="{FF2B5EF4-FFF2-40B4-BE49-F238E27FC236}">
                  <a16:creationId xmlns:a16="http://schemas.microsoft.com/office/drawing/2014/main" id="{B41EAE00-0F30-48F0-9F92-5E509E596045}"/>
                </a:ext>
              </a:extLst>
            </p:cNvPr>
            <p:cNvSpPr>
              <a:spLocks/>
            </p:cNvSpPr>
            <p:nvPr/>
          </p:nvSpPr>
          <p:spPr bwMode="auto">
            <a:xfrm>
              <a:off x="5197528" y="2270126"/>
              <a:ext cx="31750" cy="100013"/>
            </a:xfrm>
            <a:custGeom>
              <a:avLst/>
              <a:gdLst>
                <a:gd name="T0" fmla="*/ 2147483646 w 20"/>
                <a:gd name="T1" fmla="*/ 2147483646 h 63"/>
                <a:gd name="T2" fmla="*/ 2147483646 w 20"/>
                <a:gd name="T3" fmla="*/ 0 h 63"/>
                <a:gd name="T4" fmla="*/ 2147483646 w 20"/>
                <a:gd name="T5" fmla="*/ 0 h 63"/>
                <a:gd name="T6" fmla="*/ 0 w 20"/>
                <a:gd name="T7" fmla="*/ 2147483646 h 63"/>
                <a:gd name="T8" fmla="*/ 2147483646 w 20"/>
                <a:gd name="T9" fmla="*/ 2147483646 h 63"/>
                <a:gd name="T10" fmla="*/ 2147483646 w 20"/>
                <a:gd name="T11" fmla="*/ 2147483646 h 6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63">
                  <a:moveTo>
                    <a:pt x="20" y="19"/>
                  </a:moveTo>
                  <a:lnTo>
                    <a:pt x="16" y="0"/>
                  </a:lnTo>
                  <a:lnTo>
                    <a:pt x="6" y="0"/>
                  </a:lnTo>
                  <a:lnTo>
                    <a:pt x="0" y="19"/>
                  </a:lnTo>
                  <a:lnTo>
                    <a:pt x="10" y="63"/>
                  </a:lnTo>
                  <a:lnTo>
                    <a:pt x="2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77" name="Freeform 99">
              <a:extLst>
                <a:ext uri="{FF2B5EF4-FFF2-40B4-BE49-F238E27FC236}">
                  <a16:creationId xmlns:a16="http://schemas.microsoft.com/office/drawing/2014/main" id="{7410FAFA-4C42-4AA6-BB12-65B473DA1E94}"/>
                </a:ext>
              </a:extLst>
            </p:cNvPr>
            <p:cNvSpPr>
              <a:spLocks/>
            </p:cNvSpPr>
            <p:nvPr/>
          </p:nvSpPr>
          <p:spPr bwMode="auto">
            <a:xfrm>
              <a:off x="5261028" y="2312988"/>
              <a:ext cx="50800" cy="12700"/>
            </a:xfrm>
            <a:custGeom>
              <a:avLst/>
              <a:gdLst>
                <a:gd name="T0" fmla="*/ 2147483646 w 32"/>
                <a:gd name="T1" fmla="*/ 2147483646 h 8"/>
                <a:gd name="T2" fmla="*/ 0 w 32"/>
                <a:gd name="T3" fmla="*/ 2147483646 h 8"/>
                <a:gd name="T4" fmla="*/ 0 w 32"/>
                <a:gd name="T5" fmla="*/ 0 h 8"/>
                <a:gd name="T6" fmla="*/ 2147483646 w 32"/>
                <a:gd name="T7" fmla="*/ 0 h 8"/>
                <a:gd name="T8" fmla="*/ 2147483646 w 32"/>
                <a:gd name="T9" fmla="*/ 0 h 8"/>
                <a:gd name="T10" fmla="*/ 2147483646 w 32"/>
                <a:gd name="T11" fmla="*/ 2147483646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 h="8">
                  <a:moveTo>
                    <a:pt x="32" y="8"/>
                  </a:moveTo>
                  <a:lnTo>
                    <a:pt x="0" y="8"/>
                  </a:lnTo>
                  <a:lnTo>
                    <a:pt x="0" y="0"/>
                  </a:lnTo>
                  <a:lnTo>
                    <a:pt x="19" y="0"/>
                  </a:lnTo>
                  <a:lnTo>
                    <a:pt x="32" y="0"/>
                  </a:lnTo>
                  <a:lnTo>
                    <a:pt x="3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grpSp>
      <p:grpSp>
        <p:nvGrpSpPr>
          <p:cNvPr id="178" name="Group 1452">
            <a:extLst>
              <a:ext uri="{FF2B5EF4-FFF2-40B4-BE49-F238E27FC236}">
                <a16:creationId xmlns:a16="http://schemas.microsoft.com/office/drawing/2014/main" id="{22078CD5-7AFF-4542-BF3A-010BAEC5D221}"/>
              </a:ext>
            </a:extLst>
          </p:cNvPr>
          <p:cNvGrpSpPr>
            <a:grpSpLocks noChangeAspect="1"/>
          </p:cNvGrpSpPr>
          <p:nvPr/>
        </p:nvGrpSpPr>
        <p:grpSpPr bwMode="auto">
          <a:xfrm>
            <a:off x="834571" y="5860793"/>
            <a:ext cx="672464" cy="432436"/>
            <a:chOff x="4967340" y="2057401"/>
            <a:chExt cx="492125" cy="315912"/>
          </a:xfrm>
          <a:solidFill>
            <a:srgbClr val="FFFFFF"/>
          </a:solidFill>
        </p:grpSpPr>
        <p:sp>
          <p:nvSpPr>
            <p:cNvPr id="179" name="Freeform 93">
              <a:extLst>
                <a:ext uri="{FF2B5EF4-FFF2-40B4-BE49-F238E27FC236}">
                  <a16:creationId xmlns:a16="http://schemas.microsoft.com/office/drawing/2014/main" id="{896621CF-ED4E-4E6D-A737-1F5A737CE1FF}"/>
                </a:ext>
              </a:extLst>
            </p:cNvPr>
            <p:cNvSpPr>
              <a:spLocks noEditPoints="1"/>
            </p:cNvSpPr>
            <p:nvPr/>
          </p:nvSpPr>
          <p:spPr bwMode="auto">
            <a:xfrm>
              <a:off x="4967340" y="2089151"/>
              <a:ext cx="492125" cy="261938"/>
            </a:xfrm>
            <a:custGeom>
              <a:avLst/>
              <a:gdLst>
                <a:gd name="T0" fmla="*/ 2147483646 w 485"/>
                <a:gd name="T1" fmla="*/ 2147483646 h 259"/>
                <a:gd name="T2" fmla="*/ 2147483646 w 485"/>
                <a:gd name="T3" fmla="*/ 2147483646 h 259"/>
                <a:gd name="T4" fmla="*/ 2147483646 w 485"/>
                <a:gd name="T5" fmla="*/ 0 h 259"/>
                <a:gd name="T6" fmla="*/ 2147483646 w 485"/>
                <a:gd name="T7" fmla="*/ 2147483646 h 259"/>
                <a:gd name="T8" fmla="*/ 2147483646 w 485"/>
                <a:gd name="T9" fmla="*/ 2147483646 h 259"/>
                <a:gd name="T10" fmla="*/ 2147483646 w 485"/>
                <a:gd name="T11" fmla="*/ 2147483646 h 259"/>
                <a:gd name="T12" fmla="*/ 0 w 485"/>
                <a:gd name="T13" fmla="*/ 2147483646 h 259"/>
                <a:gd name="T14" fmla="*/ 2147483646 w 485"/>
                <a:gd name="T15" fmla="*/ 2147483646 h 259"/>
                <a:gd name="T16" fmla="*/ 2147483646 w 485"/>
                <a:gd name="T17" fmla="*/ 2147483646 h 259"/>
                <a:gd name="T18" fmla="*/ 2147483646 w 485"/>
                <a:gd name="T19" fmla="*/ 2147483646 h 259"/>
                <a:gd name="T20" fmla="*/ 2147483646 w 485"/>
                <a:gd name="T21" fmla="*/ 2147483646 h 259"/>
                <a:gd name="T22" fmla="*/ 2147483646 w 485"/>
                <a:gd name="T23" fmla="*/ 2147483646 h 259"/>
                <a:gd name="T24" fmla="*/ 2147483646 w 485"/>
                <a:gd name="T25" fmla="*/ 2147483646 h 259"/>
                <a:gd name="T26" fmla="*/ 2147483646 w 485"/>
                <a:gd name="T27" fmla="*/ 2147483646 h 259"/>
                <a:gd name="T28" fmla="*/ 2147483646 w 485"/>
                <a:gd name="T29" fmla="*/ 2147483646 h 259"/>
                <a:gd name="T30" fmla="*/ 2147483646 w 485"/>
                <a:gd name="T31" fmla="*/ 2147483646 h 259"/>
                <a:gd name="T32" fmla="*/ 2147483646 w 485"/>
                <a:gd name="T33" fmla="*/ 2147483646 h 259"/>
                <a:gd name="T34" fmla="*/ 2147483646 w 485"/>
                <a:gd name="T35" fmla="*/ 0 h 259"/>
                <a:gd name="T36" fmla="*/ 2147483646 w 485"/>
                <a:gd name="T37" fmla="*/ 2147483646 h 259"/>
                <a:gd name="T38" fmla="*/ 2147483646 w 485"/>
                <a:gd name="T39" fmla="*/ 2147483646 h 259"/>
                <a:gd name="T40" fmla="*/ 2147483646 w 485"/>
                <a:gd name="T41" fmla="*/ 2147483646 h 259"/>
                <a:gd name="T42" fmla="*/ 2147483646 w 485"/>
                <a:gd name="T43" fmla="*/ 2147483646 h 259"/>
                <a:gd name="T44" fmla="*/ 2147483646 w 485"/>
                <a:gd name="T45" fmla="*/ 2147483646 h 259"/>
                <a:gd name="T46" fmla="*/ 2147483646 w 485"/>
                <a:gd name="T47" fmla="*/ 2147483646 h 259"/>
                <a:gd name="T48" fmla="*/ 2147483646 w 485"/>
                <a:gd name="T49" fmla="*/ 2147483646 h 259"/>
                <a:gd name="T50" fmla="*/ 2147483646 w 485"/>
                <a:gd name="T51" fmla="*/ 2147483646 h 259"/>
                <a:gd name="T52" fmla="*/ 2147483646 w 485"/>
                <a:gd name="T53" fmla="*/ 2147483646 h 25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85" h="259">
                  <a:moveTo>
                    <a:pt x="152" y="39"/>
                  </a:moveTo>
                  <a:cubicBezTo>
                    <a:pt x="152" y="28"/>
                    <a:pt x="154" y="18"/>
                    <a:pt x="157" y="9"/>
                  </a:cubicBezTo>
                  <a:cubicBezTo>
                    <a:pt x="147" y="3"/>
                    <a:pt x="136" y="0"/>
                    <a:pt x="123" y="0"/>
                  </a:cubicBezTo>
                  <a:cubicBezTo>
                    <a:pt x="88" y="0"/>
                    <a:pt x="60" y="25"/>
                    <a:pt x="60" y="65"/>
                  </a:cubicBezTo>
                  <a:cubicBezTo>
                    <a:pt x="60" y="97"/>
                    <a:pt x="78" y="128"/>
                    <a:pt x="103" y="140"/>
                  </a:cubicBezTo>
                  <a:cubicBezTo>
                    <a:pt x="103" y="165"/>
                    <a:pt x="103" y="165"/>
                    <a:pt x="103" y="165"/>
                  </a:cubicBezTo>
                  <a:cubicBezTo>
                    <a:pt x="22" y="170"/>
                    <a:pt x="6" y="204"/>
                    <a:pt x="0" y="247"/>
                  </a:cubicBezTo>
                  <a:cubicBezTo>
                    <a:pt x="84" y="259"/>
                    <a:pt x="84" y="259"/>
                    <a:pt x="84" y="259"/>
                  </a:cubicBezTo>
                  <a:cubicBezTo>
                    <a:pt x="84" y="245"/>
                    <a:pt x="84" y="245"/>
                    <a:pt x="84" y="245"/>
                  </a:cubicBezTo>
                  <a:cubicBezTo>
                    <a:pt x="88" y="219"/>
                    <a:pt x="94" y="192"/>
                    <a:pt x="114" y="171"/>
                  </a:cubicBezTo>
                  <a:cubicBezTo>
                    <a:pt x="131" y="153"/>
                    <a:pt x="159" y="140"/>
                    <a:pt x="202" y="135"/>
                  </a:cubicBezTo>
                  <a:cubicBezTo>
                    <a:pt x="202" y="135"/>
                    <a:pt x="202" y="135"/>
                    <a:pt x="202" y="135"/>
                  </a:cubicBezTo>
                  <a:cubicBezTo>
                    <a:pt x="173" y="116"/>
                    <a:pt x="152" y="79"/>
                    <a:pt x="152" y="39"/>
                  </a:cubicBezTo>
                  <a:close/>
                  <a:moveTo>
                    <a:pt x="481" y="229"/>
                  </a:moveTo>
                  <a:cubicBezTo>
                    <a:pt x="472" y="194"/>
                    <a:pt x="450" y="169"/>
                    <a:pt x="382" y="165"/>
                  </a:cubicBezTo>
                  <a:cubicBezTo>
                    <a:pt x="382" y="140"/>
                    <a:pt x="382" y="140"/>
                    <a:pt x="382" y="140"/>
                  </a:cubicBezTo>
                  <a:cubicBezTo>
                    <a:pt x="407" y="128"/>
                    <a:pt x="425" y="97"/>
                    <a:pt x="425" y="65"/>
                  </a:cubicBezTo>
                  <a:cubicBezTo>
                    <a:pt x="425" y="25"/>
                    <a:pt x="397" y="0"/>
                    <a:pt x="361" y="0"/>
                  </a:cubicBezTo>
                  <a:cubicBezTo>
                    <a:pt x="349" y="0"/>
                    <a:pt x="338" y="3"/>
                    <a:pt x="328" y="9"/>
                  </a:cubicBezTo>
                  <a:cubicBezTo>
                    <a:pt x="331" y="18"/>
                    <a:pt x="333" y="28"/>
                    <a:pt x="333" y="39"/>
                  </a:cubicBezTo>
                  <a:cubicBezTo>
                    <a:pt x="333" y="79"/>
                    <a:pt x="312" y="116"/>
                    <a:pt x="283" y="135"/>
                  </a:cubicBezTo>
                  <a:cubicBezTo>
                    <a:pt x="283" y="135"/>
                    <a:pt x="283" y="135"/>
                    <a:pt x="283" y="135"/>
                  </a:cubicBezTo>
                  <a:cubicBezTo>
                    <a:pt x="324" y="139"/>
                    <a:pt x="352" y="151"/>
                    <a:pt x="369" y="168"/>
                  </a:cubicBezTo>
                  <a:cubicBezTo>
                    <a:pt x="391" y="189"/>
                    <a:pt x="397" y="218"/>
                    <a:pt x="401" y="245"/>
                  </a:cubicBezTo>
                  <a:cubicBezTo>
                    <a:pt x="401" y="259"/>
                    <a:pt x="401" y="259"/>
                    <a:pt x="401" y="259"/>
                  </a:cubicBezTo>
                  <a:cubicBezTo>
                    <a:pt x="485" y="247"/>
                    <a:pt x="485" y="247"/>
                    <a:pt x="485" y="247"/>
                  </a:cubicBezTo>
                  <a:cubicBezTo>
                    <a:pt x="484" y="241"/>
                    <a:pt x="483" y="235"/>
                    <a:pt x="481" y="2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80" name="Freeform 94">
              <a:extLst>
                <a:ext uri="{FF2B5EF4-FFF2-40B4-BE49-F238E27FC236}">
                  <a16:creationId xmlns:a16="http://schemas.microsoft.com/office/drawing/2014/main" id="{240E6FA8-226D-4225-B5E6-13C7E80F6950}"/>
                </a:ext>
              </a:extLst>
            </p:cNvPr>
            <p:cNvSpPr>
              <a:spLocks/>
            </p:cNvSpPr>
            <p:nvPr/>
          </p:nvSpPr>
          <p:spPr bwMode="auto">
            <a:xfrm>
              <a:off x="5138790" y="2057401"/>
              <a:ext cx="149225" cy="169863"/>
            </a:xfrm>
            <a:custGeom>
              <a:avLst/>
              <a:gdLst>
                <a:gd name="T0" fmla="*/ 2147483646 w 147"/>
                <a:gd name="T1" fmla="*/ 2147483646 h 166"/>
                <a:gd name="T2" fmla="*/ 2147483646 w 147"/>
                <a:gd name="T3" fmla="*/ 2147483646 h 166"/>
                <a:gd name="T4" fmla="*/ 2147483646 w 147"/>
                <a:gd name="T5" fmla="*/ 2147483646 h 166"/>
                <a:gd name="T6" fmla="*/ 2147483646 w 147"/>
                <a:gd name="T7" fmla="*/ 0 h 166"/>
                <a:gd name="T8" fmla="*/ 0 w 147"/>
                <a:gd name="T9" fmla="*/ 2147483646 h 166"/>
                <a:gd name="T10" fmla="*/ 2147483646 w 147"/>
                <a:gd name="T11" fmla="*/ 2147483646 h 166"/>
                <a:gd name="T12" fmla="*/ 2147483646 w 147"/>
                <a:gd name="T13" fmla="*/ 2147483646 h 16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7" h="166">
                  <a:moveTo>
                    <a:pt x="74" y="166"/>
                  </a:moveTo>
                  <a:cubicBezTo>
                    <a:pt x="86" y="166"/>
                    <a:pt x="97" y="160"/>
                    <a:pt x="97" y="160"/>
                  </a:cubicBezTo>
                  <a:cubicBezTo>
                    <a:pt x="126" y="147"/>
                    <a:pt x="147" y="111"/>
                    <a:pt x="147" y="74"/>
                  </a:cubicBezTo>
                  <a:cubicBezTo>
                    <a:pt x="147" y="29"/>
                    <a:pt x="114" y="0"/>
                    <a:pt x="73" y="0"/>
                  </a:cubicBezTo>
                  <a:cubicBezTo>
                    <a:pt x="33" y="0"/>
                    <a:pt x="0" y="29"/>
                    <a:pt x="0" y="74"/>
                  </a:cubicBezTo>
                  <a:cubicBezTo>
                    <a:pt x="0" y="111"/>
                    <a:pt x="21" y="147"/>
                    <a:pt x="50" y="160"/>
                  </a:cubicBezTo>
                  <a:cubicBezTo>
                    <a:pt x="50" y="160"/>
                    <a:pt x="62" y="166"/>
                    <a:pt x="74" y="1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81" name="Freeform 95">
              <a:extLst>
                <a:ext uri="{FF2B5EF4-FFF2-40B4-BE49-F238E27FC236}">
                  <a16:creationId xmlns:a16="http://schemas.microsoft.com/office/drawing/2014/main" id="{B99ECE5B-9989-4C91-9F28-A208F824D051}"/>
                </a:ext>
              </a:extLst>
            </p:cNvPr>
            <p:cNvSpPr>
              <a:spLocks/>
            </p:cNvSpPr>
            <p:nvPr/>
          </p:nvSpPr>
          <p:spPr bwMode="auto">
            <a:xfrm>
              <a:off x="5226103" y="2239963"/>
              <a:ext cx="131763" cy="133350"/>
            </a:xfrm>
            <a:custGeom>
              <a:avLst/>
              <a:gdLst>
                <a:gd name="T0" fmla="*/ 2147483646 w 129"/>
                <a:gd name="T1" fmla="*/ 2147483646 h 130"/>
                <a:gd name="T2" fmla="*/ 2147483646 w 129"/>
                <a:gd name="T3" fmla="*/ 0 h 130"/>
                <a:gd name="T4" fmla="*/ 0 w 129"/>
                <a:gd name="T5" fmla="*/ 2147483646 h 130"/>
                <a:gd name="T6" fmla="*/ 2147483646 w 129"/>
                <a:gd name="T7" fmla="*/ 2147483646 h 130"/>
                <a:gd name="T8" fmla="*/ 2147483646 w 129"/>
                <a:gd name="T9" fmla="*/ 2147483646 h 13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0">
                  <a:moveTo>
                    <a:pt x="127" y="80"/>
                  </a:moveTo>
                  <a:cubicBezTo>
                    <a:pt x="118" y="39"/>
                    <a:pt x="104" y="7"/>
                    <a:pt x="30" y="0"/>
                  </a:cubicBezTo>
                  <a:cubicBezTo>
                    <a:pt x="0" y="130"/>
                    <a:pt x="0" y="130"/>
                    <a:pt x="0" y="130"/>
                  </a:cubicBezTo>
                  <a:cubicBezTo>
                    <a:pt x="90" y="129"/>
                    <a:pt x="129" y="118"/>
                    <a:pt x="129" y="118"/>
                  </a:cubicBezTo>
                  <a:cubicBezTo>
                    <a:pt x="128" y="113"/>
                    <a:pt x="128" y="85"/>
                    <a:pt x="127"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82" name="Freeform 96">
              <a:extLst>
                <a:ext uri="{FF2B5EF4-FFF2-40B4-BE49-F238E27FC236}">
                  <a16:creationId xmlns:a16="http://schemas.microsoft.com/office/drawing/2014/main" id="{4619CC47-5A8B-4474-95EC-654368F55828}"/>
                </a:ext>
              </a:extLst>
            </p:cNvPr>
            <p:cNvSpPr>
              <a:spLocks/>
            </p:cNvSpPr>
            <p:nvPr/>
          </p:nvSpPr>
          <p:spPr bwMode="auto">
            <a:xfrm>
              <a:off x="5070528" y="2239963"/>
              <a:ext cx="130175" cy="133350"/>
            </a:xfrm>
            <a:custGeom>
              <a:avLst/>
              <a:gdLst>
                <a:gd name="T0" fmla="*/ 2147483646 w 129"/>
                <a:gd name="T1" fmla="*/ 2147483646 h 131"/>
                <a:gd name="T2" fmla="*/ 0 w 129"/>
                <a:gd name="T3" fmla="*/ 2147483646 h 131"/>
                <a:gd name="T4" fmla="*/ 2147483646 w 129"/>
                <a:gd name="T5" fmla="*/ 2147483646 h 131"/>
                <a:gd name="T6" fmla="*/ 2147483646 w 129"/>
                <a:gd name="T7" fmla="*/ 0 h 131"/>
                <a:gd name="T8" fmla="*/ 2147483646 w 129"/>
                <a:gd name="T9" fmla="*/ 2147483646 h 1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1">
                  <a:moveTo>
                    <a:pt x="2" y="82"/>
                  </a:moveTo>
                  <a:cubicBezTo>
                    <a:pt x="1" y="86"/>
                    <a:pt x="0" y="114"/>
                    <a:pt x="0" y="118"/>
                  </a:cubicBezTo>
                  <a:cubicBezTo>
                    <a:pt x="0" y="118"/>
                    <a:pt x="33" y="130"/>
                    <a:pt x="129" y="131"/>
                  </a:cubicBezTo>
                  <a:cubicBezTo>
                    <a:pt x="99" y="0"/>
                    <a:pt x="99" y="0"/>
                    <a:pt x="99" y="0"/>
                  </a:cubicBezTo>
                  <a:cubicBezTo>
                    <a:pt x="23" y="7"/>
                    <a:pt x="10" y="40"/>
                    <a:pt x="2"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83" name="Freeform 97">
              <a:extLst>
                <a:ext uri="{FF2B5EF4-FFF2-40B4-BE49-F238E27FC236}">
                  <a16:creationId xmlns:a16="http://schemas.microsoft.com/office/drawing/2014/main" id="{F86FF88B-E278-456B-B695-855F85F39783}"/>
                </a:ext>
              </a:extLst>
            </p:cNvPr>
            <p:cNvSpPr>
              <a:spLocks/>
            </p:cNvSpPr>
            <p:nvPr/>
          </p:nvSpPr>
          <p:spPr bwMode="auto">
            <a:xfrm>
              <a:off x="5197528" y="2241551"/>
              <a:ext cx="31750" cy="17463"/>
            </a:xfrm>
            <a:custGeom>
              <a:avLst/>
              <a:gdLst>
                <a:gd name="T0" fmla="*/ 2147483646 w 31"/>
                <a:gd name="T1" fmla="*/ 2147483646 h 17"/>
                <a:gd name="T2" fmla="*/ 0 w 31"/>
                <a:gd name="T3" fmla="*/ 0 h 17"/>
                <a:gd name="T4" fmla="*/ 2147483646 w 31"/>
                <a:gd name="T5" fmla="*/ 2147483646 h 17"/>
                <a:gd name="T6" fmla="*/ 2147483646 w 31"/>
                <a:gd name="T7" fmla="*/ 2147483646 h 17"/>
                <a:gd name="T8" fmla="*/ 2147483646 w 31"/>
                <a:gd name="T9" fmla="*/ 0 h 17"/>
                <a:gd name="T10" fmla="*/ 2147483646 w 31"/>
                <a:gd name="T11" fmla="*/ 2147483646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1" h="17">
                  <a:moveTo>
                    <a:pt x="15" y="1"/>
                  </a:moveTo>
                  <a:cubicBezTo>
                    <a:pt x="7" y="1"/>
                    <a:pt x="0" y="0"/>
                    <a:pt x="0" y="0"/>
                  </a:cubicBezTo>
                  <a:cubicBezTo>
                    <a:pt x="7" y="17"/>
                    <a:pt x="7" y="17"/>
                    <a:pt x="7" y="17"/>
                  </a:cubicBezTo>
                  <a:cubicBezTo>
                    <a:pt x="24" y="17"/>
                    <a:pt x="24" y="17"/>
                    <a:pt x="24" y="17"/>
                  </a:cubicBezTo>
                  <a:cubicBezTo>
                    <a:pt x="31" y="0"/>
                    <a:pt x="31" y="0"/>
                    <a:pt x="31" y="0"/>
                  </a:cubicBezTo>
                  <a:cubicBezTo>
                    <a:pt x="31" y="0"/>
                    <a:pt x="25" y="1"/>
                    <a:pt x="1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84" name="Freeform 98">
              <a:extLst>
                <a:ext uri="{FF2B5EF4-FFF2-40B4-BE49-F238E27FC236}">
                  <a16:creationId xmlns:a16="http://schemas.microsoft.com/office/drawing/2014/main" id="{0ECF6E45-DE59-4B42-A345-FBBF4FA786C4}"/>
                </a:ext>
              </a:extLst>
            </p:cNvPr>
            <p:cNvSpPr>
              <a:spLocks/>
            </p:cNvSpPr>
            <p:nvPr/>
          </p:nvSpPr>
          <p:spPr bwMode="auto">
            <a:xfrm>
              <a:off x="5197528" y="2270126"/>
              <a:ext cx="31750" cy="100013"/>
            </a:xfrm>
            <a:custGeom>
              <a:avLst/>
              <a:gdLst>
                <a:gd name="T0" fmla="*/ 2147483646 w 20"/>
                <a:gd name="T1" fmla="*/ 2147483646 h 63"/>
                <a:gd name="T2" fmla="*/ 2147483646 w 20"/>
                <a:gd name="T3" fmla="*/ 0 h 63"/>
                <a:gd name="T4" fmla="*/ 2147483646 w 20"/>
                <a:gd name="T5" fmla="*/ 0 h 63"/>
                <a:gd name="T6" fmla="*/ 0 w 20"/>
                <a:gd name="T7" fmla="*/ 2147483646 h 63"/>
                <a:gd name="T8" fmla="*/ 2147483646 w 20"/>
                <a:gd name="T9" fmla="*/ 2147483646 h 63"/>
                <a:gd name="T10" fmla="*/ 2147483646 w 20"/>
                <a:gd name="T11" fmla="*/ 2147483646 h 6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63">
                  <a:moveTo>
                    <a:pt x="20" y="19"/>
                  </a:moveTo>
                  <a:lnTo>
                    <a:pt x="16" y="0"/>
                  </a:lnTo>
                  <a:lnTo>
                    <a:pt x="6" y="0"/>
                  </a:lnTo>
                  <a:lnTo>
                    <a:pt x="0" y="19"/>
                  </a:lnTo>
                  <a:lnTo>
                    <a:pt x="10" y="63"/>
                  </a:lnTo>
                  <a:lnTo>
                    <a:pt x="2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sp>
          <p:nvSpPr>
            <p:cNvPr id="185" name="Freeform 99">
              <a:extLst>
                <a:ext uri="{FF2B5EF4-FFF2-40B4-BE49-F238E27FC236}">
                  <a16:creationId xmlns:a16="http://schemas.microsoft.com/office/drawing/2014/main" id="{FB28D520-8B3D-4969-AC5D-7F09FC3A3B92}"/>
                </a:ext>
              </a:extLst>
            </p:cNvPr>
            <p:cNvSpPr>
              <a:spLocks/>
            </p:cNvSpPr>
            <p:nvPr/>
          </p:nvSpPr>
          <p:spPr bwMode="auto">
            <a:xfrm>
              <a:off x="5261028" y="2312988"/>
              <a:ext cx="50800" cy="12700"/>
            </a:xfrm>
            <a:custGeom>
              <a:avLst/>
              <a:gdLst>
                <a:gd name="T0" fmla="*/ 2147483646 w 32"/>
                <a:gd name="T1" fmla="*/ 2147483646 h 8"/>
                <a:gd name="T2" fmla="*/ 0 w 32"/>
                <a:gd name="T3" fmla="*/ 2147483646 h 8"/>
                <a:gd name="T4" fmla="*/ 0 w 32"/>
                <a:gd name="T5" fmla="*/ 0 h 8"/>
                <a:gd name="T6" fmla="*/ 2147483646 w 32"/>
                <a:gd name="T7" fmla="*/ 0 h 8"/>
                <a:gd name="T8" fmla="*/ 2147483646 w 32"/>
                <a:gd name="T9" fmla="*/ 0 h 8"/>
                <a:gd name="T10" fmla="*/ 2147483646 w 32"/>
                <a:gd name="T11" fmla="*/ 2147483646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 h="8">
                  <a:moveTo>
                    <a:pt x="32" y="8"/>
                  </a:moveTo>
                  <a:lnTo>
                    <a:pt x="0" y="8"/>
                  </a:lnTo>
                  <a:lnTo>
                    <a:pt x="0" y="0"/>
                  </a:lnTo>
                  <a:lnTo>
                    <a:pt x="19" y="0"/>
                  </a:lnTo>
                  <a:lnTo>
                    <a:pt x="32" y="0"/>
                  </a:lnTo>
                  <a:lnTo>
                    <a:pt x="3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40" kern="0" dirty="0">
                <a:solidFill>
                  <a:srgbClr val="333333"/>
                </a:solidFill>
                <a:latin typeface="Arial" pitchFamily="34" charset="0"/>
                <a:ea typeface="ＭＳ Ｐゴシック" pitchFamily="34" charset="-128"/>
              </a:endParaRPr>
            </a:p>
          </p:txBody>
        </p:sp>
      </p:grpSp>
      <p:sp>
        <p:nvSpPr>
          <p:cNvPr id="248" name="Freeform 93">
            <a:extLst>
              <a:ext uri="{FF2B5EF4-FFF2-40B4-BE49-F238E27FC236}">
                <a16:creationId xmlns:a16="http://schemas.microsoft.com/office/drawing/2014/main" id="{DFA08D17-6113-4313-A801-61891899DE14}"/>
              </a:ext>
            </a:extLst>
          </p:cNvPr>
          <p:cNvSpPr>
            <a:spLocks noEditPoints="1"/>
          </p:cNvSpPr>
          <p:nvPr/>
        </p:nvSpPr>
        <p:spPr bwMode="auto">
          <a:xfrm>
            <a:off x="21285659" y="10724436"/>
            <a:ext cx="1082437" cy="577150"/>
          </a:xfrm>
          <a:custGeom>
            <a:avLst/>
            <a:gdLst>
              <a:gd name="T0" fmla="*/ 2147483646 w 485"/>
              <a:gd name="T1" fmla="*/ 2147483646 h 259"/>
              <a:gd name="T2" fmla="*/ 2147483646 w 485"/>
              <a:gd name="T3" fmla="*/ 2147483646 h 259"/>
              <a:gd name="T4" fmla="*/ 2147483646 w 485"/>
              <a:gd name="T5" fmla="*/ 0 h 259"/>
              <a:gd name="T6" fmla="*/ 2147483646 w 485"/>
              <a:gd name="T7" fmla="*/ 2147483646 h 259"/>
              <a:gd name="T8" fmla="*/ 2147483646 w 485"/>
              <a:gd name="T9" fmla="*/ 2147483646 h 259"/>
              <a:gd name="T10" fmla="*/ 2147483646 w 485"/>
              <a:gd name="T11" fmla="*/ 2147483646 h 259"/>
              <a:gd name="T12" fmla="*/ 0 w 485"/>
              <a:gd name="T13" fmla="*/ 2147483646 h 259"/>
              <a:gd name="T14" fmla="*/ 2147483646 w 485"/>
              <a:gd name="T15" fmla="*/ 2147483646 h 259"/>
              <a:gd name="T16" fmla="*/ 2147483646 w 485"/>
              <a:gd name="T17" fmla="*/ 2147483646 h 259"/>
              <a:gd name="T18" fmla="*/ 2147483646 w 485"/>
              <a:gd name="T19" fmla="*/ 2147483646 h 259"/>
              <a:gd name="T20" fmla="*/ 2147483646 w 485"/>
              <a:gd name="T21" fmla="*/ 2147483646 h 259"/>
              <a:gd name="T22" fmla="*/ 2147483646 w 485"/>
              <a:gd name="T23" fmla="*/ 2147483646 h 259"/>
              <a:gd name="T24" fmla="*/ 2147483646 w 485"/>
              <a:gd name="T25" fmla="*/ 2147483646 h 259"/>
              <a:gd name="T26" fmla="*/ 2147483646 w 485"/>
              <a:gd name="T27" fmla="*/ 2147483646 h 259"/>
              <a:gd name="T28" fmla="*/ 2147483646 w 485"/>
              <a:gd name="T29" fmla="*/ 2147483646 h 259"/>
              <a:gd name="T30" fmla="*/ 2147483646 w 485"/>
              <a:gd name="T31" fmla="*/ 2147483646 h 259"/>
              <a:gd name="T32" fmla="*/ 2147483646 w 485"/>
              <a:gd name="T33" fmla="*/ 2147483646 h 259"/>
              <a:gd name="T34" fmla="*/ 2147483646 w 485"/>
              <a:gd name="T35" fmla="*/ 0 h 259"/>
              <a:gd name="T36" fmla="*/ 2147483646 w 485"/>
              <a:gd name="T37" fmla="*/ 2147483646 h 259"/>
              <a:gd name="T38" fmla="*/ 2147483646 w 485"/>
              <a:gd name="T39" fmla="*/ 2147483646 h 259"/>
              <a:gd name="T40" fmla="*/ 2147483646 w 485"/>
              <a:gd name="T41" fmla="*/ 2147483646 h 259"/>
              <a:gd name="T42" fmla="*/ 2147483646 w 485"/>
              <a:gd name="T43" fmla="*/ 2147483646 h 259"/>
              <a:gd name="T44" fmla="*/ 2147483646 w 485"/>
              <a:gd name="T45" fmla="*/ 2147483646 h 259"/>
              <a:gd name="T46" fmla="*/ 2147483646 w 485"/>
              <a:gd name="T47" fmla="*/ 2147483646 h 259"/>
              <a:gd name="T48" fmla="*/ 2147483646 w 485"/>
              <a:gd name="T49" fmla="*/ 2147483646 h 259"/>
              <a:gd name="T50" fmla="*/ 2147483646 w 485"/>
              <a:gd name="T51" fmla="*/ 2147483646 h 259"/>
              <a:gd name="T52" fmla="*/ 2147483646 w 485"/>
              <a:gd name="T53" fmla="*/ 2147483646 h 25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85" h="259">
                <a:moveTo>
                  <a:pt x="152" y="39"/>
                </a:moveTo>
                <a:cubicBezTo>
                  <a:pt x="152" y="28"/>
                  <a:pt x="154" y="18"/>
                  <a:pt x="157" y="9"/>
                </a:cubicBezTo>
                <a:cubicBezTo>
                  <a:pt x="147" y="3"/>
                  <a:pt x="136" y="0"/>
                  <a:pt x="123" y="0"/>
                </a:cubicBezTo>
                <a:cubicBezTo>
                  <a:pt x="88" y="0"/>
                  <a:pt x="60" y="25"/>
                  <a:pt x="60" y="65"/>
                </a:cubicBezTo>
                <a:cubicBezTo>
                  <a:pt x="60" y="97"/>
                  <a:pt x="78" y="128"/>
                  <a:pt x="103" y="140"/>
                </a:cubicBezTo>
                <a:cubicBezTo>
                  <a:pt x="103" y="165"/>
                  <a:pt x="103" y="165"/>
                  <a:pt x="103" y="165"/>
                </a:cubicBezTo>
                <a:cubicBezTo>
                  <a:pt x="22" y="170"/>
                  <a:pt x="6" y="204"/>
                  <a:pt x="0" y="247"/>
                </a:cubicBezTo>
                <a:cubicBezTo>
                  <a:pt x="84" y="259"/>
                  <a:pt x="84" y="259"/>
                  <a:pt x="84" y="259"/>
                </a:cubicBezTo>
                <a:cubicBezTo>
                  <a:pt x="84" y="245"/>
                  <a:pt x="84" y="245"/>
                  <a:pt x="84" y="245"/>
                </a:cubicBezTo>
                <a:cubicBezTo>
                  <a:pt x="88" y="219"/>
                  <a:pt x="94" y="192"/>
                  <a:pt x="114" y="171"/>
                </a:cubicBezTo>
                <a:cubicBezTo>
                  <a:pt x="131" y="153"/>
                  <a:pt x="159" y="140"/>
                  <a:pt x="202" y="135"/>
                </a:cubicBezTo>
                <a:cubicBezTo>
                  <a:pt x="202" y="135"/>
                  <a:pt x="202" y="135"/>
                  <a:pt x="202" y="135"/>
                </a:cubicBezTo>
                <a:cubicBezTo>
                  <a:pt x="173" y="116"/>
                  <a:pt x="152" y="79"/>
                  <a:pt x="152" y="39"/>
                </a:cubicBezTo>
                <a:close/>
                <a:moveTo>
                  <a:pt x="481" y="229"/>
                </a:moveTo>
                <a:cubicBezTo>
                  <a:pt x="472" y="194"/>
                  <a:pt x="450" y="169"/>
                  <a:pt x="382" y="165"/>
                </a:cubicBezTo>
                <a:cubicBezTo>
                  <a:pt x="382" y="140"/>
                  <a:pt x="382" y="140"/>
                  <a:pt x="382" y="140"/>
                </a:cubicBezTo>
                <a:cubicBezTo>
                  <a:pt x="407" y="128"/>
                  <a:pt x="425" y="97"/>
                  <a:pt x="425" y="65"/>
                </a:cubicBezTo>
                <a:cubicBezTo>
                  <a:pt x="425" y="25"/>
                  <a:pt x="397" y="0"/>
                  <a:pt x="361" y="0"/>
                </a:cubicBezTo>
                <a:cubicBezTo>
                  <a:pt x="349" y="0"/>
                  <a:pt x="338" y="3"/>
                  <a:pt x="328" y="9"/>
                </a:cubicBezTo>
                <a:cubicBezTo>
                  <a:pt x="331" y="18"/>
                  <a:pt x="333" y="28"/>
                  <a:pt x="333" y="39"/>
                </a:cubicBezTo>
                <a:cubicBezTo>
                  <a:pt x="333" y="79"/>
                  <a:pt x="312" y="116"/>
                  <a:pt x="283" y="135"/>
                </a:cubicBezTo>
                <a:cubicBezTo>
                  <a:pt x="283" y="135"/>
                  <a:pt x="283" y="135"/>
                  <a:pt x="283" y="135"/>
                </a:cubicBezTo>
                <a:cubicBezTo>
                  <a:pt x="324" y="139"/>
                  <a:pt x="352" y="151"/>
                  <a:pt x="369" y="168"/>
                </a:cubicBezTo>
                <a:cubicBezTo>
                  <a:pt x="391" y="189"/>
                  <a:pt x="397" y="218"/>
                  <a:pt x="401" y="245"/>
                </a:cubicBezTo>
                <a:cubicBezTo>
                  <a:pt x="401" y="259"/>
                  <a:pt x="401" y="259"/>
                  <a:pt x="401" y="259"/>
                </a:cubicBezTo>
                <a:cubicBezTo>
                  <a:pt x="485" y="247"/>
                  <a:pt x="485" y="247"/>
                  <a:pt x="485" y="247"/>
                </a:cubicBezTo>
                <a:cubicBezTo>
                  <a:pt x="484" y="241"/>
                  <a:pt x="483" y="235"/>
                  <a:pt x="481" y="2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49" name="Freeform 94">
            <a:extLst>
              <a:ext uri="{FF2B5EF4-FFF2-40B4-BE49-F238E27FC236}">
                <a16:creationId xmlns:a16="http://schemas.microsoft.com/office/drawing/2014/main" id="{7E380BFC-7D03-4C67-A7E7-E0C5DA2807E5}"/>
              </a:ext>
            </a:extLst>
          </p:cNvPr>
          <p:cNvSpPr>
            <a:spLocks/>
          </p:cNvSpPr>
          <p:nvPr/>
        </p:nvSpPr>
        <p:spPr bwMode="auto">
          <a:xfrm>
            <a:off x="21662766" y="10654479"/>
            <a:ext cx="328223" cy="374273"/>
          </a:xfrm>
          <a:custGeom>
            <a:avLst/>
            <a:gdLst>
              <a:gd name="T0" fmla="*/ 2147483646 w 147"/>
              <a:gd name="T1" fmla="*/ 2147483646 h 166"/>
              <a:gd name="T2" fmla="*/ 2147483646 w 147"/>
              <a:gd name="T3" fmla="*/ 2147483646 h 166"/>
              <a:gd name="T4" fmla="*/ 2147483646 w 147"/>
              <a:gd name="T5" fmla="*/ 2147483646 h 166"/>
              <a:gd name="T6" fmla="*/ 2147483646 w 147"/>
              <a:gd name="T7" fmla="*/ 0 h 166"/>
              <a:gd name="T8" fmla="*/ 0 w 147"/>
              <a:gd name="T9" fmla="*/ 2147483646 h 166"/>
              <a:gd name="T10" fmla="*/ 2147483646 w 147"/>
              <a:gd name="T11" fmla="*/ 2147483646 h 166"/>
              <a:gd name="T12" fmla="*/ 2147483646 w 147"/>
              <a:gd name="T13" fmla="*/ 2147483646 h 16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7" h="166">
                <a:moveTo>
                  <a:pt x="74" y="166"/>
                </a:moveTo>
                <a:cubicBezTo>
                  <a:pt x="86" y="166"/>
                  <a:pt x="97" y="160"/>
                  <a:pt x="97" y="160"/>
                </a:cubicBezTo>
                <a:cubicBezTo>
                  <a:pt x="126" y="147"/>
                  <a:pt x="147" y="111"/>
                  <a:pt x="147" y="74"/>
                </a:cubicBezTo>
                <a:cubicBezTo>
                  <a:pt x="147" y="29"/>
                  <a:pt x="114" y="0"/>
                  <a:pt x="73" y="0"/>
                </a:cubicBezTo>
                <a:cubicBezTo>
                  <a:pt x="33" y="0"/>
                  <a:pt x="0" y="29"/>
                  <a:pt x="0" y="74"/>
                </a:cubicBezTo>
                <a:cubicBezTo>
                  <a:pt x="0" y="111"/>
                  <a:pt x="21" y="147"/>
                  <a:pt x="50" y="160"/>
                </a:cubicBezTo>
                <a:cubicBezTo>
                  <a:pt x="50" y="160"/>
                  <a:pt x="62" y="166"/>
                  <a:pt x="74" y="16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0" name="Freeform 95">
            <a:extLst>
              <a:ext uri="{FF2B5EF4-FFF2-40B4-BE49-F238E27FC236}">
                <a16:creationId xmlns:a16="http://schemas.microsoft.com/office/drawing/2014/main" id="{CFE0C78D-9CDB-4DDD-B535-59A7535F154D}"/>
              </a:ext>
            </a:extLst>
          </p:cNvPr>
          <p:cNvSpPr>
            <a:spLocks/>
          </p:cNvSpPr>
          <p:nvPr/>
        </p:nvSpPr>
        <p:spPr bwMode="auto">
          <a:xfrm>
            <a:off x="21854812" y="11056733"/>
            <a:ext cx="289815" cy="293821"/>
          </a:xfrm>
          <a:custGeom>
            <a:avLst/>
            <a:gdLst>
              <a:gd name="T0" fmla="*/ 2147483646 w 129"/>
              <a:gd name="T1" fmla="*/ 2147483646 h 130"/>
              <a:gd name="T2" fmla="*/ 2147483646 w 129"/>
              <a:gd name="T3" fmla="*/ 0 h 130"/>
              <a:gd name="T4" fmla="*/ 0 w 129"/>
              <a:gd name="T5" fmla="*/ 2147483646 h 130"/>
              <a:gd name="T6" fmla="*/ 2147483646 w 129"/>
              <a:gd name="T7" fmla="*/ 2147483646 h 130"/>
              <a:gd name="T8" fmla="*/ 2147483646 w 129"/>
              <a:gd name="T9" fmla="*/ 2147483646 h 13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0">
                <a:moveTo>
                  <a:pt x="127" y="80"/>
                </a:moveTo>
                <a:cubicBezTo>
                  <a:pt x="118" y="39"/>
                  <a:pt x="104" y="7"/>
                  <a:pt x="30" y="0"/>
                </a:cubicBezTo>
                <a:cubicBezTo>
                  <a:pt x="0" y="130"/>
                  <a:pt x="0" y="130"/>
                  <a:pt x="0" y="130"/>
                </a:cubicBezTo>
                <a:cubicBezTo>
                  <a:pt x="90" y="129"/>
                  <a:pt x="129" y="118"/>
                  <a:pt x="129" y="118"/>
                </a:cubicBezTo>
                <a:cubicBezTo>
                  <a:pt x="128" y="113"/>
                  <a:pt x="128" y="85"/>
                  <a:pt x="127" y="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1" name="Freeform 96">
            <a:extLst>
              <a:ext uri="{FF2B5EF4-FFF2-40B4-BE49-F238E27FC236}">
                <a16:creationId xmlns:a16="http://schemas.microsoft.com/office/drawing/2014/main" id="{65534B48-27DF-4CC8-BFED-596256A0D4E4}"/>
              </a:ext>
            </a:extLst>
          </p:cNvPr>
          <p:cNvSpPr>
            <a:spLocks/>
          </p:cNvSpPr>
          <p:nvPr/>
        </p:nvSpPr>
        <p:spPr bwMode="auto">
          <a:xfrm>
            <a:off x="21512623" y="11056733"/>
            <a:ext cx="286322" cy="293821"/>
          </a:xfrm>
          <a:custGeom>
            <a:avLst/>
            <a:gdLst>
              <a:gd name="T0" fmla="*/ 2147483646 w 129"/>
              <a:gd name="T1" fmla="*/ 2147483646 h 131"/>
              <a:gd name="T2" fmla="*/ 0 w 129"/>
              <a:gd name="T3" fmla="*/ 2147483646 h 131"/>
              <a:gd name="T4" fmla="*/ 2147483646 w 129"/>
              <a:gd name="T5" fmla="*/ 2147483646 h 131"/>
              <a:gd name="T6" fmla="*/ 2147483646 w 129"/>
              <a:gd name="T7" fmla="*/ 0 h 131"/>
              <a:gd name="T8" fmla="*/ 2147483646 w 129"/>
              <a:gd name="T9" fmla="*/ 2147483646 h 1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 h="131">
                <a:moveTo>
                  <a:pt x="2" y="82"/>
                </a:moveTo>
                <a:cubicBezTo>
                  <a:pt x="1" y="86"/>
                  <a:pt x="0" y="114"/>
                  <a:pt x="0" y="118"/>
                </a:cubicBezTo>
                <a:cubicBezTo>
                  <a:pt x="0" y="118"/>
                  <a:pt x="33" y="130"/>
                  <a:pt x="129" y="131"/>
                </a:cubicBezTo>
                <a:cubicBezTo>
                  <a:pt x="99" y="0"/>
                  <a:pt x="99" y="0"/>
                  <a:pt x="99" y="0"/>
                </a:cubicBezTo>
                <a:cubicBezTo>
                  <a:pt x="23" y="7"/>
                  <a:pt x="10" y="40"/>
                  <a:pt x="2" y="8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2" name="Freeform 97">
            <a:extLst>
              <a:ext uri="{FF2B5EF4-FFF2-40B4-BE49-F238E27FC236}">
                <a16:creationId xmlns:a16="http://schemas.microsoft.com/office/drawing/2014/main" id="{A4D6FEB1-9066-4C24-B822-75FA13D9DE25}"/>
              </a:ext>
            </a:extLst>
          </p:cNvPr>
          <p:cNvSpPr>
            <a:spLocks/>
          </p:cNvSpPr>
          <p:nvPr/>
        </p:nvSpPr>
        <p:spPr bwMode="auto">
          <a:xfrm>
            <a:off x="21791961" y="11060232"/>
            <a:ext cx="69835" cy="38478"/>
          </a:xfrm>
          <a:custGeom>
            <a:avLst/>
            <a:gdLst>
              <a:gd name="T0" fmla="*/ 2147483646 w 31"/>
              <a:gd name="T1" fmla="*/ 2147483646 h 17"/>
              <a:gd name="T2" fmla="*/ 0 w 31"/>
              <a:gd name="T3" fmla="*/ 0 h 17"/>
              <a:gd name="T4" fmla="*/ 2147483646 w 31"/>
              <a:gd name="T5" fmla="*/ 2147483646 h 17"/>
              <a:gd name="T6" fmla="*/ 2147483646 w 31"/>
              <a:gd name="T7" fmla="*/ 2147483646 h 17"/>
              <a:gd name="T8" fmla="*/ 2147483646 w 31"/>
              <a:gd name="T9" fmla="*/ 0 h 17"/>
              <a:gd name="T10" fmla="*/ 2147483646 w 31"/>
              <a:gd name="T11" fmla="*/ 2147483646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1" h="17">
                <a:moveTo>
                  <a:pt x="15" y="1"/>
                </a:moveTo>
                <a:cubicBezTo>
                  <a:pt x="7" y="1"/>
                  <a:pt x="0" y="0"/>
                  <a:pt x="0" y="0"/>
                </a:cubicBezTo>
                <a:cubicBezTo>
                  <a:pt x="7" y="17"/>
                  <a:pt x="7" y="17"/>
                  <a:pt x="7" y="17"/>
                </a:cubicBezTo>
                <a:cubicBezTo>
                  <a:pt x="24" y="17"/>
                  <a:pt x="24" y="17"/>
                  <a:pt x="24" y="17"/>
                </a:cubicBezTo>
                <a:cubicBezTo>
                  <a:pt x="31" y="0"/>
                  <a:pt x="31" y="0"/>
                  <a:pt x="31" y="0"/>
                </a:cubicBezTo>
                <a:cubicBezTo>
                  <a:pt x="31" y="0"/>
                  <a:pt x="25" y="1"/>
                  <a:pt x="15"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3" name="Freeform 98">
            <a:extLst>
              <a:ext uri="{FF2B5EF4-FFF2-40B4-BE49-F238E27FC236}">
                <a16:creationId xmlns:a16="http://schemas.microsoft.com/office/drawing/2014/main" id="{35BB263D-DEBC-4B72-8B40-B729ACB65B19}"/>
              </a:ext>
            </a:extLst>
          </p:cNvPr>
          <p:cNvSpPr>
            <a:spLocks/>
          </p:cNvSpPr>
          <p:nvPr/>
        </p:nvSpPr>
        <p:spPr bwMode="auto">
          <a:xfrm>
            <a:off x="21791961" y="11123194"/>
            <a:ext cx="69835" cy="220367"/>
          </a:xfrm>
          <a:custGeom>
            <a:avLst/>
            <a:gdLst>
              <a:gd name="T0" fmla="*/ 2147483646 w 20"/>
              <a:gd name="T1" fmla="*/ 2147483646 h 63"/>
              <a:gd name="T2" fmla="*/ 2147483646 w 20"/>
              <a:gd name="T3" fmla="*/ 0 h 63"/>
              <a:gd name="T4" fmla="*/ 2147483646 w 20"/>
              <a:gd name="T5" fmla="*/ 0 h 63"/>
              <a:gd name="T6" fmla="*/ 0 w 20"/>
              <a:gd name="T7" fmla="*/ 2147483646 h 63"/>
              <a:gd name="T8" fmla="*/ 2147483646 w 20"/>
              <a:gd name="T9" fmla="*/ 2147483646 h 63"/>
              <a:gd name="T10" fmla="*/ 2147483646 w 20"/>
              <a:gd name="T11" fmla="*/ 2147483646 h 6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63">
                <a:moveTo>
                  <a:pt x="20" y="19"/>
                </a:moveTo>
                <a:lnTo>
                  <a:pt x="16" y="0"/>
                </a:lnTo>
                <a:lnTo>
                  <a:pt x="6" y="0"/>
                </a:lnTo>
                <a:lnTo>
                  <a:pt x="0" y="19"/>
                </a:lnTo>
                <a:lnTo>
                  <a:pt x="10" y="63"/>
                </a:lnTo>
                <a:lnTo>
                  <a:pt x="2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4" name="Freeform 99">
            <a:extLst>
              <a:ext uri="{FF2B5EF4-FFF2-40B4-BE49-F238E27FC236}">
                <a16:creationId xmlns:a16="http://schemas.microsoft.com/office/drawing/2014/main" id="{C2D7F909-8A25-4F83-BE9C-6BA425FFFE3D}"/>
              </a:ext>
            </a:extLst>
          </p:cNvPr>
          <p:cNvSpPr>
            <a:spLocks/>
          </p:cNvSpPr>
          <p:nvPr/>
        </p:nvSpPr>
        <p:spPr bwMode="auto">
          <a:xfrm>
            <a:off x="21931631" y="11217635"/>
            <a:ext cx="111735" cy="27983"/>
          </a:xfrm>
          <a:custGeom>
            <a:avLst/>
            <a:gdLst>
              <a:gd name="T0" fmla="*/ 2147483646 w 32"/>
              <a:gd name="T1" fmla="*/ 2147483646 h 8"/>
              <a:gd name="T2" fmla="*/ 0 w 32"/>
              <a:gd name="T3" fmla="*/ 2147483646 h 8"/>
              <a:gd name="T4" fmla="*/ 0 w 32"/>
              <a:gd name="T5" fmla="*/ 0 h 8"/>
              <a:gd name="T6" fmla="*/ 2147483646 w 32"/>
              <a:gd name="T7" fmla="*/ 0 h 8"/>
              <a:gd name="T8" fmla="*/ 2147483646 w 32"/>
              <a:gd name="T9" fmla="*/ 0 h 8"/>
              <a:gd name="T10" fmla="*/ 2147483646 w 32"/>
              <a:gd name="T11" fmla="*/ 2147483646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 h="8">
                <a:moveTo>
                  <a:pt x="32" y="8"/>
                </a:moveTo>
                <a:lnTo>
                  <a:pt x="0" y="8"/>
                </a:lnTo>
                <a:lnTo>
                  <a:pt x="0" y="0"/>
                </a:lnTo>
                <a:lnTo>
                  <a:pt x="19" y="0"/>
                </a:lnTo>
                <a:lnTo>
                  <a:pt x="32" y="0"/>
                </a:lnTo>
                <a:lnTo>
                  <a:pt x="32"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97280" eaLnBrk="0" fontAlgn="base" hangingPunct="0">
              <a:spcBef>
                <a:spcPct val="0"/>
              </a:spcBef>
              <a:spcAft>
                <a:spcPct val="0"/>
              </a:spcAft>
              <a:defRPr/>
            </a:pPr>
            <a:endParaRPr lang="en-US" sz="1400" kern="0" dirty="0">
              <a:solidFill>
                <a:srgbClr val="333333"/>
              </a:solidFill>
              <a:latin typeface="Arial" pitchFamily="34" charset="0"/>
              <a:ea typeface="ＭＳ Ｐゴシック" pitchFamily="34" charset="-128"/>
            </a:endParaRPr>
          </a:p>
        </p:txBody>
      </p:sp>
      <p:sp>
        <p:nvSpPr>
          <p:cNvPr id="255" name="Rounded Rectangle 82">
            <a:extLst>
              <a:ext uri="{FF2B5EF4-FFF2-40B4-BE49-F238E27FC236}">
                <a16:creationId xmlns:a16="http://schemas.microsoft.com/office/drawing/2014/main" id="{ADC44FD5-A06E-490A-BBC3-BD338AEB4E34}"/>
              </a:ext>
            </a:extLst>
          </p:cNvPr>
          <p:cNvSpPr/>
          <p:nvPr/>
        </p:nvSpPr>
        <p:spPr>
          <a:xfrm>
            <a:off x="18108167" y="4731080"/>
            <a:ext cx="3088570" cy="646263"/>
          </a:xfrm>
          <a:prstGeom prst="roundRect">
            <a:avLst/>
          </a:prstGeom>
          <a:noFill/>
          <a:ln w="25400" cap="flat" cmpd="sng" algn="ctr">
            <a:noFill/>
            <a:prstDash val="solid"/>
          </a:ln>
          <a:effectLst/>
        </p:spPr>
        <p:txBody>
          <a:bodyPr rtlCol="0" anchor="ctr"/>
          <a:lstStyle/>
          <a:p>
            <a:pPr algn="ctr" defTabSz="1097280">
              <a:defRPr/>
            </a:pPr>
            <a:r>
              <a:rPr lang="en-US" sz="1400" kern="0" dirty="0">
                <a:solidFill>
                  <a:srgbClr val="FFFFFF"/>
                </a:solidFill>
                <a:latin typeface="Calibri" panose="020F0502020204030204"/>
                <a:ea typeface="Calibri" charset="0"/>
                <a:cs typeface="Calibri" charset="0"/>
              </a:rPr>
              <a:t>Integrated Cloud Management</a:t>
            </a:r>
            <a:endParaRPr lang="en-US" sz="1400" i="1" kern="0" dirty="0">
              <a:solidFill>
                <a:srgbClr val="FFFFFF"/>
              </a:solidFill>
              <a:latin typeface="Calibri" panose="020F0502020204030204"/>
              <a:ea typeface="Calibri" charset="0"/>
              <a:cs typeface="Calibri" charset="0"/>
            </a:endParaRPr>
          </a:p>
        </p:txBody>
      </p:sp>
      <p:sp>
        <p:nvSpPr>
          <p:cNvPr id="80" name="Rectangle 491">
            <a:extLst>
              <a:ext uri="{FF2B5EF4-FFF2-40B4-BE49-F238E27FC236}">
                <a16:creationId xmlns:a16="http://schemas.microsoft.com/office/drawing/2014/main" id="{544E48D5-75BD-4816-9F30-AB122D3C358E}"/>
              </a:ext>
            </a:extLst>
          </p:cNvPr>
          <p:cNvSpPr>
            <a:spLocks noChangeArrowheads="1"/>
          </p:cNvSpPr>
          <p:nvPr/>
        </p:nvSpPr>
        <p:spPr bwMode="auto">
          <a:xfrm>
            <a:off x="13442743" y="4604059"/>
            <a:ext cx="1598400" cy="604800"/>
          </a:xfrm>
          <a:prstGeom prst="rect">
            <a:avLst/>
          </a:prstGeom>
          <a:solidFill>
            <a:schemeClr val="bg2">
              <a:lumMod val="85000"/>
            </a:schemeClr>
          </a:solidFill>
          <a:ln w="11113" cap="rnd">
            <a:solidFill>
              <a:srgbClr val="0070C0"/>
            </a:solidFill>
            <a:miter lim="800000"/>
            <a:headEnd/>
            <a:tailEnd/>
          </a:ln>
          <a:effectLst/>
        </p:spPr>
        <p:txBody>
          <a:bodyPr anchor="ctr"/>
          <a:lstStyle/>
          <a:p>
            <a:pPr algn="ctr" defTabSz="1097280" fontAlgn="base">
              <a:spcBef>
                <a:spcPct val="0"/>
              </a:spcBef>
              <a:spcAft>
                <a:spcPct val="0"/>
              </a:spcAft>
            </a:pPr>
            <a:r>
              <a:rPr lang="en-GB" altLang="en-US" sz="1026" b="1" kern="0" dirty="0">
                <a:solidFill>
                  <a:srgbClr val="000000"/>
                </a:solidFill>
                <a:latin typeface="Arial" charset="0"/>
                <a:ea typeface="MS PGothic" charset="-128"/>
              </a:rPr>
              <a:t>Sourcing and Partner Management</a:t>
            </a:r>
          </a:p>
        </p:txBody>
      </p:sp>
      <p:sp>
        <p:nvSpPr>
          <p:cNvPr id="81" name="Rectangle 80">
            <a:extLst>
              <a:ext uri="{FF2B5EF4-FFF2-40B4-BE49-F238E27FC236}">
                <a16:creationId xmlns:a16="http://schemas.microsoft.com/office/drawing/2014/main" id="{8B5D7DE5-39DD-4D3A-92DC-44A3ECFC2C3A}"/>
              </a:ext>
            </a:extLst>
          </p:cNvPr>
          <p:cNvSpPr/>
          <p:nvPr/>
        </p:nvSpPr>
        <p:spPr>
          <a:xfrm>
            <a:off x="6414045" y="5186624"/>
            <a:ext cx="14815747" cy="7138499"/>
          </a:xfrm>
          <a:prstGeom prst="rect">
            <a:avLst/>
          </a:prstGeom>
          <a:solidFill>
            <a:schemeClr val="bg1">
              <a:lumMod val="95000"/>
            </a:schemeClr>
          </a:solidFill>
          <a:ln w="25400" cap="flat" cmpd="sng" algn="ctr">
            <a:solidFill>
              <a:schemeClr val="accent1"/>
            </a:solidFill>
            <a:prstDash val="solid"/>
          </a:ln>
          <a:effectLst>
            <a:outerShdw blurRad="50800" dist="76200" dir="2700000" algn="tl" rotWithShape="0">
              <a:prstClr val="black">
                <a:alpha val="40000"/>
              </a:prstClr>
            </a:outerShdw>
          </a:effectLst>
        </p:spPr>
        <p:txBody>
          <a:bodyPr lIns="0" rIns="0" anchor="ctr"/>
          <a:lstStyle/>
          <a:p>
            <a:pPr algn="ctr" defTabSz="937937">
              <a:defRPr/>
            </a:pPr>
            <a:endParaRPr lang="en-US" sz="1400" b="1" kern="0" dirty="0">
              <a:solidFill>
                <a:srgbClr val="FFFFFF"/>
              </a:solidFill>
              <a:latin typeface="Arial" panose="020B0604020202020204"/>
            </a:endParaRPr>
          </a:p>
        </p:txBody>
      </p:sp>
      <p:sp>
        <p:nvSpPr>
          <p:cNvPr id="82" name="Rectangle 478">
            <a:extLst>
              <a:ext uri="{FF2B5EF4-FFF2-40B4-BE49-F238E27FC236}">
                <a16:creationId xmlns:a16="http://schemas.microsoft.com/office/drawing/2014/main" id="{F4A70F92-897E-4309-A1A5-E5CF71EB5E66}"/>
              </a:ext>
            </a:extLst>
          </p:cNvPr>
          <p:cNvSpPr>
            <a:spLocks noChangeArrowheads="1"/>
          </p:cNvSpPr>
          <p:nvPr/>
        </p:nvSpPr>
        <p:spPr bwMode="auto">
          <a:xfrm>
            <a:off x="18311125" y="10003462"/>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ea typeface="MS PGothic"/>
                <a:cs typeface="Arial"/>
              </a:rPr>
              <a:t>Control de seguridad &amp; Información </a:t>
            </a:r>
          </a:p>
        </p:txBody>
      </p:sp>
      <p:sp>
        <p:nvSpPr>
          <p:cNvPr id="83" name="Rectangle 483">
            <a:extLst>
              <a:ext uri="{FF2B5EF4-FFF2-40B4-BE49-F238E27FC236}">
                <a16:creationId xmlns:a16="http://schemas.microsoft.com/office/drawing/2014/main" id="{A6AE44EB-BE01-4B02-B6E9-9B8A36C96312}"/>
              </a:ext>
            </a:extLst>
          </p:cNvPr>
          <p:cNvSpPr>
            <a:spLocks noChangeArrowheads="1"/>
          </p:cNvSpPr>
          <p:nvPr/>
        </p:nvSpPr>
        <p:spPr bwMode="auto">
          <a:xfrm>
            <a:off x="9619123" y="7777595"/>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a:solidFill>
                  <a:srgbClr val="000000"/>
                </a:solidFill>
                <a:latin typeface="Arial"/>
                <a:ea typeface="MS PGothic"/>
                <a:cs typeface="Arial"/>
              </a:rPr>
              <a:t>Desarrollo de releases</a:t>
            </a:r>
          </a:p>
        </p:txBody>
      </p:sp>
      <p:sp>
        <p:nvSpPr>
          <p:cNvPr id="84" name="Rectangle 491">
            <a:extLst>
              <a:ext uri="{FF2B5EF4-FFF2-40B4-BE49-F238E27FC236}">
                <a16:creationId xmlns:a16="http://schemas.microsoft.com/office/drawing/2014/main" id="{909AAAAF-6D9A-48C8-88F1-47AC1B9A9C3C}"/>
              </a:ext>
            </a:extLst>
          </p:cNvPr>
          <p:cNvSpPr>
            <a:spLocks noChangeArrowheads="1"/>
          </p:cNvSpPr>
          <p:nvPr/>
        </p:nvSpPr>
        <p:spPr bwMode="auto">
          <a:xfrm>
            <a:off x="12508099" y="11108263"/>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a:solidFill>
                  <a:srgbClr val="000000"/>
                </a:solidFill>
                <a:latin typeface="Arial"/>
                <a:ea typeface="MS PGothic"/>
                <a:cs typeface="Arial"/>
              </a:rPr>
              <a:t>Formación &amp; Gestión del talento</a:t>
            </a:r>
          </a:p>
        </p:txBody>
      </p:sp>
      <p:sp>
        <p:nvSpPr>
          <p:cNvPr id="85" name="Rectangle 495">
            <a:extLst>
              <a:ext uri="{FF2B5EF4-FFF2-40B4-BE49-F238E27FC236}">
                <a16:creationId xmlns:a16="http://schemas.microsoft.com/office/drawing/2014/main" id="{F019555A-FC07-4846-BF2B-38A6E6443C22}"/>
              </a:ext>
            </a:extLst>
          </p:cNvPr>
          <p:cNvSpPr>
            <a:spLocks noChangeArrowheads="1"/>
          </p:cNvSpPr>
          <p:nvPr/>
        </p:nvSpPr>
        <p:spPr bwMode="auto">
          <a:xfrm>
            <a:off x="9619123" y="5545234"/>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a:solidFill>
                  <a:srgbClr val="000000"/>
                </a:solidFill>
                <a:latin typeface="Arial"/>
                <a:ea typeface="MS PGothic"/>
                <a:cs typeface="Arial"/>
              </a:rPr>
              <a:t>Diseño &amp; Arquitectura de servicios</a:t>
            </a:r>
            <a:endParaRPr lang="en-US" sz="1400" b="1">
              <a:solidFill>
                <a:srgbClr val="000000"/>
              </a:solidFill>
              <a:latin typeface="Arial"/>
              <a:ea typeface="MS PGothic"/>
              <a:cs typeface="Arial"/>
            </a:endParaRPr>
          </a:p>
        </p:txBody>
      </p:sp>
      <p:sp>
        <p:nvSpPr>
          <p:cNvPr id="86" name="Rectangle 499">
            <a:extLst>
              <a:ext uri="{FF2B5EF4-FFF2-40B4-BE49-F238E27FC236}">
                <a16:creationId xmlns:a16="http://schemas.microsoft.com/office/drawing/2014/main" id="{600BFC6D-A501-438C-8AB9-F810367059A8}"/>
              </a:ext>
            </a:extLst>
          </p:cNvPr>
          <p:cNvSpPr>
            <a:spLocks noChangeArrowheads="1"/>
          </p:cNvSpPr>
          <p:nvPr/>
        </p:nvSpPr>
        <p:spPr bwMode="auto">
          <a:xfrm>
            <a:off x="6730146" y="5545234"/>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defTabSz="912813" eaLnBrk="0" fontAlgn="base" hangingPunct="0">
              <a:spcBef>
                <a:spcPct val="0"/>
              </a:spcBef>
              <a:spcAft>
                <a:spcPct val="0"/>
              </a:spcAft>
              <a:defRPr>
                <a:solidFill>
                  <a:schemeClr val="tx1"/>
                </a:solidFill>
                <a:latin typeface="Arial" charset="0"/>
                <a:ea typeface="MS PGothic" charset="-128"/>
              </a:defRPr>
            </a:lvl6pPr>
            <a:lvl7pPr marL="2971800" indent="-228600" defTabSz="912813" eaLnBrk="0" fontAlgn="base" hangingPunct="0">
              <a:spcBef>
                <a:spcPct val="0"/>
              </a:spcBef>
              <a:spcAft>
                <a:spcPct val="0"/>
              </a:spcAft>
              <a:defRPr>
                <a:solidFill>
                  <a:schemeClr val="tx1"/>
                </a:solidFill>
                <a:latin typeface="Arial" charset="0"/>
                <a:ea typeface="MS PGothic" charset="-128"/>
              </a:defRPr>
            </a:lvl7pPr>
            <a:lvl8pPr marL="3429000" indent="-228600" defTabSz="912813" eaLnBrk="0" fontAlgn="base" hangingPunct="0">
              <a:spcBef>
                <a:spcPct val="0"/>
              </a:spcBef>
              <a:spcAft>
                <a:spcPct val="0"/>
              </a:spcAft>
              <a:defRPr>
                <a:solidFill>
                  <a:schemeClr val="tx1"/>
                </a:solidFill>
                <a:latin typeface="Arial" charset="0"/>
                <a:ea typeface="MS PGothic" charset="-128"/>
              </a:defRPr>
            </a:lvl8pPr>
            <a:lvl9pPr marL="3886200" indent="-228600" defTabSz="912813" eaLnBrk="0" fontAlgn="base" hangingPunct="0">
              <a:spcBef>
                <a:spcPct val="0"/>
              </a:spcBef>
              <a:spcAft>
                <a:spcPct val="0"/>
              </a:spcAft>
              <a:defRPr>
                <a:solidFill>
                  <a:schemeClr val="tx1"/>
                </a:solidFill>
                <a:latin typeface="Arial" charset="0"/>
                <a:ea typeface="MS PGothic" charset="-128"/>
              </a:defRPr>
            </a:lvl9pPr>
          </a:lstStyle>
          <a:p>
            <a:pPr defTabSz="1097280" fontAlgn="base">
              <a:spcBef>
                <a:spcPct val="0"/>
              </a:spcBef>
              <a:spcAft>
                <a:spcPct val="0"/>
              </a:spcAft>
            </a:pPr>
            <a:r>
              <a:rPr lang="en-US" altLang="en-US" sz="1400" b="1">
                <a:solidFill>
                  <a:srgbClr val="000000"/>
                </a:solidFill>
                <a:latin typeface="Arial"/>
                <a:ea typeface="MS PGothic"/>
                <a:cs typeface="Arial"/>
              </a:rPr>
              <a:t>Tecnología Digital &amp; Estrategia de Servicios</a:t>
            </a:r>
            <a:endParaRPr lang="en-US" sz="1400" b="1">
              <a:solidFill>
                <a:srgbClr val="000000"/>
              </a:solidFill>
              <a:latin typeface="Arial"/>
              <a:ea typeface="MS PGothic"/>
              <a:cs typeface="Arial"/>
            </a:endParaRPr>
          </a:p>
        </p:txBody>
      </p:sp>
      <p:sp>
        <p:nvSpPr>
          <p:cNvPr id="87" name="Rectangle 503">
            <a:extLst>
              <a:ext uri="{FF2B5EF4-FFF2-40B4-BE49-F238E27FC236}">
                <a16:creationId xmlns:a16="http://schemas.microsoft.com/office/drawing/2014/main" id="{E262DCD9-CDF7-43DD-88C7-557F7A0C667A}"/>
              </a:ext>
            </a:extLst>
          </p:cNvPr>
          <p:cNvSpPr>
            <a:spLocks noChangeArrowheads="1"/>
          </p:cNvSpPr>
          <p:nvPr/>
        </p:nvSpPr>
        <p:spPr bwMode="auto">
          <a:xfrm>
            <a:off x="18311125" y="11113298"/>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a:solidFill>
                  <a:srgbClr val="000000"/>
                </a:solidFill>
                <a:latin typeface="Arial"/>
                <a:ea typeface="MS PGothic"/>
                <a:cs typeface="Arial"/>
              </a:rPr>
              <a:t>Riesgo, auditoria &amp; Cumplimiento normativo</a:t>
            </a:r>
          </a:p>
        </p:txBody>
      </p:sp>
      <p:sp>
        <p:nvSpPr>
          <p:cNvPr id="88" name="Rectangle 510">
            <a:extLst>
              <a:ext uri="{FF2B5EF4-FFF2-40B4-BE49-F238E27FC236}">
                <a16:creationId xmlns:a16="http://schemas.microsoft.com/office/drawing/2014/main" id="{632026C4-D61D-4479-9CEB-0D6B3A18A940}"/>
              </a:ext>
            </a:extLst>
          </p:cNvPr>
          <p:cNvSpPr>
            <a:spLocks noChangeArrowheads="1"/>
          </p:cNvSpPr>
          <p:nvPr/>
        </p:nvSpPr>
        <p:spPr bwMode="auto">
          <a:xfrm>
            <a:off x="6730146" y="6662606"/>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solidFill>
                  <a:srgbClr val="000000"/>
                </a:solidFill>
                <a:latin typeface="Arial"/>
                <a:ea typeface="MS PGothic"/>
                <a:cs typeface="Arial"/>
              </a:rPr>
              <a:t>Gestión de la demanda</a:t>
            </a:r>
          </a:p>
        </p:txBody>
      </p:sp>
      <p:sp>
        <p:nvSpPr>
          <p:cNvPr id="89" name="Rectangle 510">
            <a:extLst>
              <a:ext uri="{FF2B5EF4-FFF2-40B4-BE49-F238E27FC236}">
                <a16:creationId xmlns:a16="http://schemas.microsoft.com/office/drawing/2014/main" id="{BA56629C-E960-41E3-BD0D-4D74F2400618}"/>
              </a:ext>
            </a:extLst>
          </p:cNvPr>
          <p:cNvSpPr>
            <a:spLocks noChangeArrowheads="1"/>
          </p:cNvSpPr>
          <p:nvPr/>
        </p:nvSpPr>
        <p:spPr bwMode="auto">
          <a:xfrm>
            <a:off x="12508099" y="6662606"/>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solidFill>
                  <a:srgbClr val="000000"/>
                </a:solidFill>
                <a:latin typeface="Arial"/>
                <a:ea typeface="MS PGothic"/>
                <a:cs typeface="Arial"/>
              </a:rPr>
              <a:t>Aprovisionamiento de entornos de plataforma</a:t>
            </a:r>
          </a:p>
        </p:txBody>
      </p:sp>
      <p:sp>
        <p:nvSpPr>
          <p:cNvPr id="90" name="Rectangle 507">
            <a:extLst>
              <a:ext uri="{FF2B5EF4-FFF2-40B4-BE49-F238E27FC236}">
                <a16:creationId xmlns:a16="http://schemas.microsoft.com/office/drawing/2014/main" id="{F7D47B1B-6066-4A02-AC11-19D44C04A9C9}"/>
              </a:ext>
            </a:extLst>
          </p:cNvPr>
          <p:cNvSpPr>
            <a:spLocks noChangeArrowheads="1"/>
          </p:cNvSpPr>
          <p:nvPr/>
        </p:nvSpPr>
        <p:spPr bwMode="auto">
          <a:xfrm>
            <a:off x="12508099" y="7777595"/>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solidFill>
                  <a:srgbClr val="000000"/>
                </a:solidFill>
                <a:latin typeface="Arial"/>
                <a:ea typeface="MS PGothic"/>
                <a:cs typeface="Arial"/>
              </a:rPr>
              <a:t>Aprovisionamiento de aplicación &amp; Datos</a:t>
            </a:r>
          </a:p>
        </p:txBody>
      </p:sp>
      <p:sp>
        <p:nvSpPr>
          <p:cNvPr id="91" name="Rectangle 62">
            <a:extLst>
              <a:ext uri="{FF2B5EF4-FFF2-40B4-BE49-F238E27FC236}">
                <a16:creationId xmlns:a16="http://schemas.microsoft.com/office/drawing/2014/main" id="{576EDDE1-9AC6-4514-9B88-3B0C80451AB1}"/>
              </a:ext>
            </a:extLst>
          </p:cNvPr>
          <p:cNvSpPr>
            <a:spLocks noChangeArrowheads="1"/>
          </p:cNvSpPr>
          <p:nvPr/>
        </p:nvSpPr>
        <p:spPr bwMode="auto">
          <a:xfrm>
            <a:off x="15392459" y="9989164"/>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a:solidFill>
                  <a:srgbClr val="000000"/>
                </a:solidFill>
                <a:latin typeface="Arial"/>
                <a:ea typeface="MS PGothic"/>
                <a:cs typeface="Arial"/>
              </a:rPr>
              <a:t>Seguridad &amp; Continuidad del negocio</a:t>
            </a:r>
          </a:p>
        </p:txBody>
      </p:sp>
      <p:sp>
        <p:nvSpPr>
          <p:cNvPr id="92" name="Rectangle 70">
            <a:extLst>
              <a:ext uri="{FF2B5EF4-FFF2-40B4-BE49-F238E27FC236}">
                <a16:creationId xmlns:a16="http://schemas.microsoft.com/office/drawing/2014/main" id="{7080BAB4-5966-4772-AF9D-647AEE341EB8}"/>
              </a:ext>
            </a:extLst>
          </p:cNvPr>
          <p:cNvSpPr>
            <a:spLocks noChangeArrowheads="1"/>
          </p:cNvSpPr>
          <p:nvPr/>
        </p:nvSpPr>
        <p:spPr bwMode="auto">
          <a:xfrm>
            <a:off x="15392459" y="8883320"/>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solidFill>
                  <a:srgbClr val="000000"/>
                </a:solidFill>
                <a:latin typeface="Arial"/>
                <a:ea typeface="MS PGothic"/>
                <a:cs typeface="Arial"/>
              </a:rPr>
              <a:t>Gestión de Incidencias &amp; Problemas</a:t>
            </a:r>
          </a:p>
        </p:txBody>
      </p:sp>
      <p:sp>
        <p:nvSpPr>
          <p:cNvPr id="93" name="Rectangle 82">
            <a:extLst>
              <a:ext uri="{FF2B5EF4-FFF2-40B4-BE49-F238E27FC236}">
                <a16:creationId xmlns:a16="http://schemas.microsoft.com/office/drawing/2014/main" id="{616D692E-2C63-4A5F-89AA-272ECB15137D}"/>
              </a:ext>
            </a:extLst>
          </p:cNvPr>
          <p:cNvSpPr>
            <a:spLocks noChangeArrowheads="1"/>
          </p:cNvSpPr>
          <p:nvPr/>
        </p:nvSpPr>
        <p:spPr bwMode="auto">
          <a:xfrm>
            <a:off x="18311125" y="8890858"/>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latin typeface="Arial"/>
                <a:ea typeface="MS PGothic"/>
                <a:cs typeface="Arial"/>
              </a:rPr>
              <a:t>Oficina de gestión del Portfolio Cloud</a:t>
            </a:r>
            <a:endParaRPr lang="en-US" dirty="0"/>
          </a:p>
        </p:txBody>
      </p:sp>
      <p:sp>
        <p:nvSpPr>
          <p:cNvPr id="94" name="Rectangle 86">
            <a:extLst>
              <a:ext uri="{FF2B5EF4-FFF2-40B4-BE49-F238E27FC236}">
                <a16:creationId xmlns:a16="http://schemas.microsoft.com/office/drawing/2014/main" id="{EA4ABF29-EDB8-4024-BCF4-24D31A64E397}"/>
              </a:ext>
            </a:extLst>
          </p:cNvPr>
          <p:cNvSpPr>
            <a:spLocks noChangeArrowheads="1"/>
          </p:cNvSpPr>
          <p:nvPr/>
        </p:nvSpPr>
        <p:spPr bwMode="auto">
          <a:xfrm>
            <a:off x="15397076" y="5545234"/>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solidFill>
                  <a:srgbClr val="000000"/>
                </a:solidFill>
                <a:latin typeface="Arial"/>
                <a:ea typeface="MS PGothic"/>
                <a:cs typeface="Arial"/>
              </a:rPr>
              <a:t>Gestión del nivel de servicio al cliente</a:t>
            </a:r>
          </a:p>
        </p:txBody>
      </p:sp>
      <p:sp>
        <p:nvSpPr>
          <p:cNvPr id="95" name="Rectangle 90">
            <a:extLst>
              <a:ext uri="{FF2B5EF4-FFF2-40B4-BE49-F238E27FC236}">
                <a16:creationId xmlns:a16="http://schemas.microsoft.com/office/drawing/2014/main" id="{64B86CCF-5F82-48DA-8379-966BAFBC03C5}"/>
              </a:ext>
            </a:extLst>
          </p:cNvPr>
          <p:cNvSpPr>
            <a:spLocks noChangeArrowheads="1"/>
          </p:cNvSpPr>
          <p:nvPr/>
        </p:nvSpPr>
        <p:spPr bwMode="auto">
          <a:xfrm>
            <a:off x="15402610" y="11108263"/>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a:latin typeface="Arial"/>
                <a:ea typeface="MS PGothic"/>
                <a:cs typeface="Arial"/>
              </a:rPr>
              <a:t>Gestión de Activos &amp; Información</a:t>
            </a:r>
          </a:p>
        </p:txBody>
      </p:sp>
      <p:sp>
        <p:nvSpPr>
          <p:cNvPr id="96" name="Rectangle 102">
            <a:extLst>
              <a:ext uri="{FF2B5EF4-FFF2-40B4-BE49-F238E27FC236}">
                <a16:creationId xmlns:a16="http://schemas.microsoft.com/office/drawing/2014/main" id="{15D7CEA9-F6AB-4420-8B6A-6DBE4058C1EE}"/>
              </a:ext>
            </a:extLst>
          </p:cNvPr>
          <p:cNvSpPr>
            <a:spLocks noChangeArrowheads="1"/>
          </p:cNvSpPr>
          <p:nvPr/>
        </p:nvSpPr>
        <p:spPr bwMode="auto">
          <a:xfrm>
            <a:off x="18320356" y="6662606"/>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latin typeface="Arial"/>
                <a:ea typeface="MS PGothic"/>
                <a:cs typeface="Arial"/>
              </a:rPr>
              <a:t>Plan financiero &amp; economía de la nube</a:t>
            </a:r>
          </a:p>
        </p:txBody>
      </p:sp>
      <p:sp>
        <p:nvSpPr>
          <p:cNvPr id="97" name="Rectangle 191">
            <a:extLst>
              <a:ext uri="{FF2B5EF4-FFF2-40B4-BE49-F238E27FC236}">
                <a16:creationId xmlns:a16="http://schemas.microsoft.com/office/drawing/2014/main" id="{46024779-2565-474F-BF05-306F79BD644B}"/>
              </a:ext>
            </a:extLst>
          </p:cNvPr>
          <p:cNvSpPr>
            <a:spLocks noChangeArrowheads="1"/>
          </p:cNvSpPr>
          <p:nvPr/>
        </p:nvSpPr>
        <p:spPr bwMode="auto">
          <a:xfrm>
            <a:off x="6730143" y="10002419"/>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a:solidFill>
                  <a:srgbClr val="000000"/>
                </a:solidFill>
                <a:latin typeface="Arial"/>
                <a:ea typeface="MS PGothic"/>
                <a:cs typeface="Arial"/>
              </a:rPr>
              <a:t>Asistencia del servicio al cliente</a:t>
            </a:r>
          </a:p>
        </p:txBody>
      </p:sp>
      <p:sp>
        <p:nvSpPr>
          <p:cNvPr id="98" name="Rectangle 191">
            <a:extLst>
              <a:ext uri="{FF2B5EF4-FFF2-40B4-BE49-F238E27FC236}">
                <a16:creationId xmlns:a16="http://schemas.microsoft.com/office/drawing/2014/main" id="{771ABA24-D578-4630-A08D-E9C9822F2A93}"/>
              </a:ext>
            </a:extLst>
          </p:cNvPr>
          <p:cNvSpPr>
            <a:spLocks noChangeArrowheads="1"/>
          </p:cNvSpPr>
          <p:nvPr/>
        </p:nvSpPr>
        <p:spPr bwMode="auto">
          <a:xfrm>
            <a:off x="18311125" y="5545234"/>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a:latin typeface="Arial"/>
                <a:ea typeface="MS PGothic"/>
                <a:cs typeface="Arial"/>
              </a:rPr>
              <a:t>Estándares &amp; Polticas Cloud</a:t>
            </a:r>
          </a:p>
        </p:txBody>
      </p:sp>
      <p:sp>
        <p:nvSpPr>
          <p:cNvPr id="99" name="Rectangle 255">
            <a:extLst>
              <a:ext uri="{FF2B5EF4-FFF2-40B4-BE49-F238E27FC236}">
                <a16:creationId xmlns:a16="http://schemas.microsoft.com/office/drawing/2014/main" id="{06399D85-BC97-4BB4-B266-B8EA841BA52A}"/>
              </a:ext>
            </a:extLst>
          </p:cNvPr>
          <p:cNvSpPr>
            <a:spLocks noChangeArrowheads="1"/>
          </p:cNvSpPr>
          <p:nvPr/>
        </p:nvSpPr>
        <p:spPr bwMode="auto">
          <a:xfrm>
            <a:off x="15392459" y="7773484"/>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US" altLang="en-US" sz="1400" b="1">
                <a:solidFill>
                  <a:srgbClr val="000000"/>
                </a:solidFill>
                <a:latin typeface="Arial"/>
                <a:ea typeface="MS PGothic"/>
                <a:cs typeface="Arial"/>
              </a:rPr>
              <a:t>Monitorización de servicios &amp; eventos API</a:t>
            </a:r>
          </a:p>
        </p:txBody>
      </p:sp>
      <p:sp>
        <p:nvSpPr>
          <p:cNvPr id="100" name="Rectangle 99">
            <a:extLst>
              <a:ext uri="{FF2B5EF4-FFF2-40B4-BE49-F238E27FC236}">
                <a16:creationId xmlns:a16="http://schemas.microsoft.com/office/drawing/2014/main" id="{5A855889-EC44-4E3F-8A36-ED0801397606}"/>
              </a:ext>
            </a:extLst>
          </p:cNvPr>
          <p:cNvSpPr/>
          <p:nvPr/>
        </p:nvSpPr>
        <p:spPr>
          <a:xfrm>
            <a:off x="18286050" y="4056133"/>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solidFill>
                <a:latin typeface="Arial" panose="020B0604020202020204"/>
                <a:ea typeface="MS PGothic" charset="-128"/>
              </a:rPr>
              <a:t>Governance</a:t>
            </a:r>
            <a:br>
              <a:rPr lang="en-GB" sz="1600" b="1" dirty="0">
                <a:solidFill>
                  <a:schemeClr val="bg1"/>
                </a:solidFill>
                <a:latin typeface="Arial" panose="020B0604020202020204"/>
                <a:ea typeface="MS PGothic" charset="-128"/>
              </a:rPr>
            </a:br>
            <a:r>
              <a:rPr lang="en-GB" sz="1600" b="1" dirty="0">
                <a:solidFill>
                  <a:schemeClr val="bg1"/>
                </a:solidFill>
                <a:latin typeface="Arial" panose="020B0604020202020204"/>
                <a:ea typeface="MS PGothic" charset="-128"/>
              </a:rPr>
              <a:t>&amp; Control</a:t>
            </a:r>
            <a:endParaRPr lang="en-US" sz="1600" b="1" dirty="0">
              <a:solidFill>
                <a:schemeClr val="bg1"/>
              </a:solidFill>
              <a:latin typeface="Arial" panose="020B0604020202020204"/>
              <a:ea typeface="MS PGothic" charset="-128"/>
            </a:endParaRPr>
          </a:p>
        </p:txBody>
      </p:sp>
      <p:sp>
        <p:nvSpPr>
          <p:cNvPr id="101" name="Rectangle 100">
            <a:extLst>
              <a:ext uri="{FF2B5EF4-FFF2-40B4-BE49-F238E27FC236}">
                <a16:creationId xmlns:a16="http://schemas.microsoft.com/office/drawing/2014/main" id="{19D5D9C9-F740-41E4-B438-F01F0FB113A4}"/>
              </a:ext>
            </a:extLst>
          </p:cNvPr>
          <p:cNvSpPr/>
          <p:nvPr/>
        </p:nvSpPr>
        <p:spPr>
          <a:xfrm>
            <a:off x="15397076" y="4056133"/>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a:spcBef>
                <a:spcPct val="0"/>
              </a:spcBef>
              <a:spcAft>
                <a:spcPct val="0"/>
              </a:spcAft>
            </a:pPr>
            <a:r>
              <a:rPr lang="en-GB" sz="1600" b="1" dirty="0">
                <a:solidFill>
                  <a:schemeClr val="bg1"/>
                </a:solidFill>
                <a:latin typeface="Arial" panose="020B0604020202020204"/>
                <a:ea typeface="MS PGothic"/>
              </a:rPr>
              <a:t>Operaciones de servicio continuas</a:t>
            </a:r>
            <a:endParaRPr lang="en-US" dirty="0">
              <a:solidFill>
                <a:schemeClr val="bg1"/>
              </a:solidFill>
            </a:endParaRPr>
          </a:p>
        </p:txBody>
      </p:sp>
      <p:sp>
        <p:nvSpPr>
          <p:cNvPr id="102" name="Rectangle 101">
            <a:extLst>
              <a:ext uri="{FF2B5EF4-FFF2-40B4-BE49-F238E27FC236}">
                <a16:creationId xmlns:a16="http://schemas.microsoft.com/office/drawing/2014/main" id="{F768933A-8FD7-4A7B-902C-3708D03DB359}"/>
              </a:ext>
            </a:extLst>
          </p:cNvPr>
          <p:cNvSpPr/>
          <p:nvPr/>
        </p:nvSpPr>
        <p:spPr>
          <a:xfrm>
            <a:off x="9619123" y="4009123"/>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solidFill>
                <a:latin typeface="Arial" panose="020B0604020202020204"/>
                <a:ea typeface="MS PGothic"/>
              </a:rPr>
              <a:t>CI / CD de releases</a:t>
            </a:r>
            <a:endParaRPr lang="en-GB" sz="1600" b="1" dirty="0">
              <a:solidFill>
                <a:schemeClr val="bg1"/>
              </a:solidFill>
              <a:latin typeface="Arial" panose="020B0604020202020204"/>
              <a:ea typeface="MS PGothic"/>
              <a:cs typeface="Arial"/>
            </a:endParaRPr>
          </a:p>
        </p:txBody>
      </p:sp>
      <p:sp>
        <p:nvSpPr>
          <p:cNvPr id="103" name="Rectangle 102">
            <a:extLst>
              <a:ext uri="{FF2B5EF4-FFF2-40B4-BE49-F238E27FC236}">
                <a16:creationId xmlns:a16="http://schemas.microsoft.com/office/drawing/2014/main" id="{C3136EE3-A32F-4680-8083-5ED869923028}"/>
              </a:ext>
            </a:extLst>
          </p:cNvPr>
          <p:cNvSpPr/>
          <p:nvPr/>
        </p:nvSpPr>
        <p:spPr>
          <a:xfrm>
            <a:off x="6730145" y="4009123"/>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solidFill>
                <a:latin typeface="Arial" panose="020B0604020202020204"/>
                <a:ea typeface="MS PGothic"/>
                <a:cs typeface="Arial"/>
              </a:rPr>
              <a:t>Servicios de demanda ágiles</a:t>
            </a:r>
            <a:endParaRPr lang="en-GB" sz="1600" b="1" dirty="0">
              <a:solidFill>
                <a:schemeClr val="bg1"/>
              </a:solidFill>
              <a:latin typeface="Arial" panose="020B0604020202020204"/>
              <a:ea typeface="MS PGothic" charset="-128"/>
              <a:cs typeface="Arial"/>
            </a:endParaRPr>
          </a:p>
        </p:txBody>
      </p:sp>
      <p:sp>
        <p:nvSpPr>
          <p:cNvPr id="104" name="Rectangle 103">
            <a:extLst>
              <a:ext uri="{FF2B5EF4-FFF2-40B4-BE49-F238E27FC236}">
                <a16:creationId xmlns:a16="http://schemas.microsoft.com/office/drawing/2014/main" id="{B5FE68CB-1866-4A47-92CE-910C3AF46AD8}"/>
              </a:ext>
            </a:extLst>
          </p:cNvPr>
          <p:cNvSpPr/>
          <p:nvPr/>
        </p:nvSpPr>
        <p:spPr>
          <a:xfrm>
            <a:off x="12508099" y="4056133"/>
            <a:ext cx="2572877" cy="132121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defTabSz="1097280" fontAlgn="base">
              <a:spcBef>
                <a:spcPct val="0"/>
              </a:spcBef>
              <a:spcAft>
                <a:spcPct val="0"/>
              </a:spcAft>
            </a:pPr>
            <a:r>
              <a:rPr lang="en-GB" sz="1600" b="1" dirty="0">
                <a:solidFill>
                  <a:schemeClr val="bg1"/>
                </a:solidFill>
                <a:ea typeface="MS PGothic" charset="-128"/>
              </a:rPr>
              <a:t>Aprovisionamiento &amp; Ejecución Automática</a:t>
            </a:r>
            <a:endParaRPr lang="en-US" sz="1600" b="1" dirty="0">
              <a:solidFill>
                <a:schemeClr val="bg1"/>
              </a:solidFill>
              <a:ea typeface="MS PGothic" charset="-128"/>
            </a:endParaRPr>
          </a:p>
        </p:txBody>
      </p:sp>
      <p:sp>
        <p:nvSpPr>
          <p:cNvPr id="105" name="Rectangle 491">
            <a:extLst>
              <a:ext uri="{FF2B5EF4-FFF2-40B4-BE49-F238E27FC236}">
                <a16:creationId xmlns:a16="http://schemas.microsoft.com/office/drawing/2014/main" id="{68DB9195-B3C3-46DA-A851-8DB33887CC72}"/>
              </a:ext>
            </a:extLst>
          </p:cNvPr>
          <p:cNvSpPr>
            <a:spLocks noChangeArrowheads="1"/>
          </p:cNvSpPr>
          <p:nvPr/>
        </p:nvSpPr>
        <p:spPr bwMode="auto">
          <a:xfrm>
            <a:off x="9619123" y="11108263"/>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solidFill>
                  <a:srgbClr val="000000"/>
                </a:solidFill>
                <a:latin typeface="Arial"/>
                <a:ea typeface="MS PGothic"/>
                <a:cs typeface="Arial"/>
              </a:rPr>
              <a:t>Despliegue &amp; Empaquetado de releases</a:t>
            </a:r>
          </a:p>
        </p:txBody>
      </p:sp>
      <p:sp>
        <p:nvSpPr>
          <p:cNvPr id="106" name="Rectangle 491">
            <a:extLst>
              <a:ext uri="{FF2B5EF4-FFF2-40B4-BE49-F238E27FC236}">
                <a16:creationId xmlns:a16="http://schemas.microsoft.com/office/drawing/2014/main" id="{CFBDE762-6285-48E7-B808-AAFFEF8D3838}"/>
              </a:ext>
            </a:extLst>
          </p:cNvPr>
          <p:cNvSpPr>
            <a:spLocks noChangeArrowheads="1"/>
          </p:cNvSpPr>
          <p:nvPr/>
        </p:nvSpPr>
        <p:spPr bwMode="auto">
          <a:xfrm>
            <a:off x="9619123" y="8892584"/>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a:solidFill>
                  <a:srgbClr val="000000"/>
                </a:solidFill>
                <a:latin typeface="Arial"/>
                <a:ea typeface="MS PGothic"/>
                <a:cs typeface="Arial"/>
              </a:rPr>
              <a:t>Gestión &amp; Integración de APIs</a:t>
            </a:r>
          </a:p>
        </p:txBody>
      </p:sp>
      <p:sp>
        <p:nvSpPr>
          <p:cNvPr id="107" name="Rectangle 491">
            <a:extLst>
              <a:ext uri="{FF2B5EF4-FFF2-40B4-BE49-F238E27FC236}">
                <a16:creationId xmlns:a16="http://schemas.microsoft.com/office/drawing/2014/main" id="{464ADECC-8EA1-4FF3-99B8-87B6CCD37445}"/>
              </a:ext>
            </a:extLst>
          </p:cNvPr>
          <p:cNvSpPr>
            <a:spLocks noChangeArrowheads="1"/>
          </p:cNvSpPr>
          <p:nvPr/>
        </p:nvSpPr>
        <p:spPr bwMode="auto">
          <a:xfrm>
            <a:off x="6730143" y="11108263"/>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a:solidFill>
                  <a:srgbClr val="000000"/>
                </a:solidFill>
                <a:latin typeface="Arial"/>
                <a:ea typeface="MS PGothic"/>
                <a:cs typeface="Arial"/>
              </a:rPr>
              <a:t>Estrategia</a:t>
            </a:r>
          </a:p>
          <a:p>
            <a:pPr defTabSz="1097280" fontAlgn="base">
              <a:spcBef>
                <a:spcPct val="0"/>
              </a:spcBef>
              <a:spcAft>
                <a:spcPct val="0"/>
              </a:spcAft>
            </a:pPr>
            <a:r>
              <a:rPr lang="en-GB" altLang="en-US" sz="1400" b="1">
                <a:solidFill>
                  <a:srgbClr val="000000"/>
                </a:solidFill>
                <a:latin typeface="Arial"/>
                <a:ea typeface="MS PGothic"/>
                <a:cs typeface="Arial"/>
              </a:rPr>
              <a:t>Talent &amp; Knowledge</a:t>
            </a:r>
          </a:p>
        </p:txBody>
      </p:sp>
      <p:sp>
        <p:nvSpPr>
          <p:cNvPr id="108" name="Rectangle 491">
            <a:extLst>
              <a:ext uri="{FF2B5EF4-FFF2-40B4-BE49-F238E27FC236}">
                <a16:creationId xmlns:a16="http://schemas.microsoft.com/office/drawing/2014/main" id="{96805C4C-7A18-4F0B-AF0C-9BFA5146C73B}"/>
              </a:ext>
            </a:extLst>
          </p:cNvPr>
          <p:cNvSpPr>
            <a:spLocks noChangeArrowheads="1"/>
          </p:cNvSpPr>
          <p:nvPr/>
        </p:nvSpPr>
        <p:spPr bwMode="auto">
          <a:xfrm>
            <a:off x="12508099" y="8892584"/>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latin typeface="Arial"/>
                <a:ea typeface="MS PGothic"/>
                <a:cs typeface="Arial"/>
              </a:rPr>
              <a:t>Gestión de la Capacidad</a:t>
            </a:r>
          </a:p>
        </p:txBody>
      </p:sp>
      <p:sp>
        <p:nvSpPr>
          <p:cNvPr id="109" name="Rectangle 491">
            <a:extLst>
              <a:ext uri="{FF2B5EF4-FFF2-40B4-BE49-F238E27FC236}">
                <a16:creationId xmlns:a16="http://schemas.microsoft.com/office/drawing/2014/main" id="{36861C15-C146-4A50-BEBD-B5EAF3ACAB6D}"/>
              </a:ext>
            </a:extLst>
          </p:cNvPr>
          <p:cNvSpPr>
            <a:spLocks noChangeArrowheads="1"/>
          </p:cNvSpPr>
          <p:nvPr/>
        </p:nvSpPr>
        <p:spPr bwMode="auto">
          <a:xfrm>
            <a:off x="12508099" y="10002419"/>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a:solidFill>
                  <a:srgbClr val="000000"/>
                </a:solidFill>
                <a:latin typeface="Arial"/>
                <a:ea typeface="MS PGothic"/>
                <a:cs typeface="Arial"/>
              </a:rPr>
              <a:t>Disponibilidad &amp; Ingeniería de confiabilidad del servicio (SRE)</a:t>
            </a:r>
          </a:p>
        </p:txBody>
      </p:sp>
      <p:sp>
        <p:nvSpPr>
          <p:cNvPr id="110" name="Rectangle 491">
            <a:extLst>
              <a:ext uri="{FF2B5EF4-FFF2-40B4-BE49-F238E27FC236}">
                <a16:creationId xmlns:a16="http://schemas.microsoft.com/office/drawing/2014/main" id="{9AE9D117-CC55-4256-B3C6-E934259E1BC8}"/>
              </a:ext>
            </a:extLst>
          </p:cNvPr>
          <p:cNvSpPr>
            <a:spLocks noChangeArrowheads="1"/>
          </p:cNvSpPr>
          <p:nvPr/>
        </p:nvSpPr>
        <p:spPr bwMode="auto">
          <a:xfrm>
            <a:off x="6730145" y="8892584"/>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algn="ctr" defTabSz="1097280" fontAlgn="base">
              <a:spcBef>
                <a:spcPct val="0"/>
              </a:spcBef>
              <a:spcAft>
                <a:spcPct val="0"/>
              </a:spcAft>
            </a:pPr>
            <a:r>
              <a:rPr lang="en-GB" altLang="en-US" sz="1400" b="1" kern="0">
                <a:solidFill>
                  <a:srgbClr val="000000"/>
                </a:solidFill>
                <a:latin typeface="Arial"/>
                <a:ea typeface="MS PGothic"/>
                <a:cs typeface="Arial"/>
              </a:rPr>
              <a:t>Data Science </a:t>
            </a:r>
            <a:r>
              <a:rPr lang="en-GB" altLang="en-US" sz="1400" b="1">
                <a:latin typeface="Arial"/>
                <a:ea typeface="MS PGothic"/>
                <a:cs typeface="Arial"/>
              </a:rPr>
              <a:t>y</a:t>
            </a:r>
            <a:r>
              <a:rPr lang="en-GB" altLang="en-US" sz="1400" b="1" kern="0">
                <a:solidFill>
                  <a:srgbClr val="000000"/>
                </a:solidFill>
                <a:latin typeface="Arial"/>
                <a:ea typeface="MS PGothic"/>
                <a:cs typeface="Arial"/>
              </a:rPr>
              <a:t> Analytics</a:t>
            </a:r>
          </a:p>
        </p:txBody>
      </p:sp>
      <p:sp>
        <p:nvSpPr>
          <p:cNvPr id="111" name="Rectangle 254">
            <a:extLst>
              <a:ext uri="{FF2B5EF4-FFF2-40B4-BE49-F238E27FC236}">
                <a16:creationId xmlns:a16="http://schemas.microsoft.com/office/drawing/2014/main" id="{775D60D5-A625-442D-8FEE-7C2239461E2B}"/>
              </a:ext>
            </a:extLst>
          </p:cNvPr>
          <p:cNvSpPr>
            <a:spLocks noChangeArrowheads="1"/>
          </p:cNvSpPr>
          <p:nvPr/>
        </p:nvSpPr>
        <p:spPr bwMode="auto">
          <a:xfrm>
            <a:off x="15392459" y="6658496"/>
            <a:ext cx="2572877" cy="973523"/>
          </a:xfrm>
          <a:prstGeom prst="rect">
            <a:avLst/>
          </a:prstGeom>
          <a:solidFill>
            <a:schemeClr val="bg2">
              <a:lumMod val="85000"/>
            </a:schemeClr>
          </a:solidFill>
          <a:ln w="11113" cap="rnd">
            <a:solidFill>
              <a:schemeClr val="accent1"/>
            </a:solidFill>
            <a:miter lim="800000"/>
            <a:headEnd/>
            <a:tailEnd/>
          </a:ln>
          <a:effectLst/>
          <a:extLst>
            <a:ext uri="{91240B29-F687-4f45-9708-019B960494DF}">
              <a14:hiddenLine xmlns="" xmlns:a14="http://schemas.microsoft.com/office/drawing/2010/main" w="9525">
                <a:solidFill>
                  <a:srgbClr val="000000"/>
                </a:solidFill>
                <a:miter lim="800000"/>
                <a:headEnd/>
                <a:tailEnd/>
              </a14:hiddenLine>
            </a:ext>
          </a:extLst>
        </p:spPr>
        <p:txBody>
          <a:bodyPr anchor="ctr"/>
          <a:lstStyle/>
          <a:p>
            <a:pPr defTabSz="1097280" fontAlgn="base">
              <a:spcBef>
                <a:spcPct val="0"/>
              </a:spcBef>
              <a:spcAft>
                <a:spcPct val="0"/>
              </a:spcAft>
            </a:pPr>
            <a:r>
              <a:rPr lang="en-GB" altLang="en-US" sz="1400" b="1">
                <a:solidFill>
                  <a:srgbClr val="000000"/>
                </a:solidFill>
                <a:latin typeface="Arial"/>
                <a:ea typeface="MS PGothic"/>
                <a:cs typeface="Arial"/>
              </a:rPr>
              <a:t>Gestión del rendimiento de la plataforma</a:t>
            </a:r>
          </a:p>
        </p:txBody>
      </p:sp>
      <p:sp>
        <p:nvSpPr>
          <p:cNvPr id="112" name="Rectangle 491">
            <a:extLst>
              <a:ext uri="{FF2B5EF4-FFF2-40B4-BE49-F238E27FC236}">
                <a16:creationId xmlns:a16="http://schemas.microsoft.com/office/drawing/2014/main" id="{D0DDA1A9-6DAC-443E-AAAF-1CA5919B284D}"/>
              </a:ext>
            </a:extLst>
          </p:cNvPr>
          <p:cNvSpPr>
            <a:spLocks noChangeArrowheads="1"/>
          </p:cNvSpPr>
          <p:nvPr/>
        </p:nvSpPr>
        <p:spPr bwMode="auto">
          <a:xfrm>
            <a:off x="6730145" y="7777595"/>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solidFill>
                  <a:srgbClr val="000000"/>
                </a:solidFill>
                <a:latin typeface="Arial"/>
                <a:ea typeface="MS PGothic"/>
                <a:cs typeface="Arial"/>
              </a:rPr>
              <a:t>Introducción &amp; Cambio de los servicios de producto</a:t>
            </a:r>
          </a:p>
        </p:txBody>
      </p:sp>
      <p:sp>
        <p:nvSpPr>
          <p:cNvPr id="113" name="Rectangle 487">
            <a:extLst>
              <a:ext uri="{FF2B5EF4-FFF2-40B4-BE49-F238E27FC236}">
                <a16:creationId xmlns:a16="http://schemas.microsoft.com/office/drawing/2014/main" id="{79F9B8AD-182E-4E4F-97B1-B9362ED7F66A}"/>
              </a:ext>
            </a:extLst>
          </p:cNvPr>
          <p:cNvSpPr>
            <a:spLocks noChangeArrowheads="1"/>
          </p:cNvSpPr>
          <p:nvPr/>
        </p:nvSpPr>
        <p:spPr bwMode="auto">
          <a:xfrm>
            <a:off x="9619123" y="10002419"/>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a:solidFill>
                  <a:srgbClr val="000000"/>
                </a:solidFill>
                <a:latin typeface="Arial"/>
                <a:ea typeface="MS PGothic"/>
                <a:cs typeface="Arial"/>
              </a:rPr>
              <a:t>Integración QA &amp; testing de releases</a:t>
            </a:r>
          </a:p>
        </p:txBody>
      </p:sp>
      <p:sp>
        <p:nvSpPr>
          <p:cNvPr id="114" name="Rectangle 491">
            <a:extLst>
              <a:ext uri="{FF2B5EF4-FFF2-40B4-BE49-F238E27FC236}">
                <a16:creationId xmlns:a16="http://schemas.microsoft.com/office/drawing/2014/main" id="{12349EAF-8A3A-4E22-8115-8C4DEB08EA59}"/>
              </a:ext>
            </a:extLst>
          </p:cNvPr>
          <p:cNvSpPr>
            <a:spLocks noChangeArrowheads="1"/>
          </p:cNvSpPr>
          <p:nvPr/>
        </p:nvSpPr>
        <p:spPr bwMode="auto">
          <a:xfrm>
            <a:off x="12508099" y="5545234"/>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latin typeface="Arial"/>
                <a:ea typeface="MS PGothic"/>
                <a:cs typeface="Arial"/>
              </a:rPr>
              <a:t>Orquestación &amp; Accesos de servicios</a:t>
            </a:r>
          </a:p>
        </p:txBody>
      </p:sp>
      <p:sp>
        <p:nvSpPr>
          <p:cNvPr id="115" name="Rectangle 491">
            <a:extLst>
              <a:ext uri="{FF2B5EF4-FFF2-40B4-BE49-F238E27FC236}">
                <a16:creationId xmlns:a16="http://schemas.microsoft.com/office/drawing/2014/main" id="{9AAD18AC-6B2E-428D-95BD-65ECFA7A261B}"/>
              </a:ext>
            </a:extLst>
          </p:cNvPr>
          <p:cNvSpPr>
            <a:spLocks noChangeArrowheads="1"/>
          </p:cNvSpPr>
          <p:nvPr/>
        </p:nvSpPr>
        <p:spPr bwMode="auto">
          <a:xfrm>
            <a:off x="9602010" y="6662606"/>
            <a:ext cx="2572877" cy="973523"/>
          </a:xfrm>
          <a:prstGeom prst="rect">
            <a:avLst/>
          </a:prstGeom>
          <a:solidFill>
            <a:schemeClr val="bg2">
              <a:lumMod val="85000"/>
            </a:schemeClr>
          </a:solidFill>
          <a:ln w="11113" cap="rnd">
            <a:solidFill>
              <a:schemeClr val="accent1"/>
            </a:solidFill>
            <a:miter lim="800000"/>
            <a:headEnd/>
            <a:tailEnd/>
          </a:ln>
          <a:effectLst/>
        </p:spPr>
        <p:txBody>
          <a:bodyPr anchor="ctr"/>
          <a:lstStyle/>
          <a:p>
            <a:pPr defTabSz="1097280" fontAlgn="base">
              <a:spcBef>
                <a:spcPct val="0"/>
              </a:spcBef>
              <a:spcAft>
                <a:spcPct val="0"/>
              </a:spcAft>
            </a:pPr>
            <a:r>
              <a:rPr lang="en-GB" altLang="en-US" sz="1400" b="1" dirty="0">
                <a:solidFill>
                  <a:srgbClr val="000000"/>
                </a:solidFill>
                <a:latin typeface="Arial"/>
                <a:ea typeface="MS PGothic"/>
                <a:cs typeface="Arial"/>
              </a:rPr>
              <a:t>Gestión &amp; Configuración de versiones</a:t>
            </a:r>
          </a:p>
        </p:txBody>
      </p:sp>
      <p:sp>
        <p:nvSpPr>
          <p:cNvPr id="116" name="Rectangle 255">
            <a:extLst>
              <a:ext uri="{FF2B5EF4-FFF2-40B4-BE49-F238E27FC236}">
                <a16:creationId xmlns:a16="http://schemas.microsoft.com/office/drawing/2014/main" id="{A708ACBD-CA2D-4122-A21C-176DCC5D7A1E}"/>
              </a:ext>
            </a:extLst>
          </p:cNvPr>
          <p:cNvSpPr>
            <a:spLocks noChangeArrowheads="1"/>
          </p:cNvSpPr>
          <p:nvPr/>
        </p:nvSpPr>
        <p:spPr bwMode="auto">
          <a:xfrm>
            <a:off x="18328705" y="7773483"/>
            <a:ext cx="2572877" cy="973523"/>
          </a:xfrm>
          <a:prstGeom prst="rect">
            <a:avLst/>
          </a:prstGeom>
          <a:solidFill>
            <a:schemeClr val="bg2">
              <a:lumMod val="85000"/>
            </a:schemeClr>
          </a:solidFill>
          <a:ln w="11113" cap="rnd">
            <a:solidFill>
              <a:schemeClr val="accent1"/>
            </a:solidFill>
            <a:miter lim="800000"/>
            <a:headEnd/>
            <a:tailEnd/>
          </a:ln>
          <a:effectLst/>
          <a:extLst>
            <a:ext uri="{909E8E84-426E-40dd-AFC4-6F175D3DCCD1}">
              <a14:hiddenFill xmlns="" xmlns:a14="http://schemas.microsoft.com/office/drawing/2010/main">
                <a:solidFill>
                  <a:srgbClr val="FFFFFF"/>
                </a:solidFill>
              </a14:hiddenFill>
            </a:ext>
          </a:extLst>
        </p:spPr>
        <p:txBody>
          <a:bodyPr anchor="ctr"/>
          <a:lstStyle/>
          <a:p>
            <a:pPr defTabSz="1097280" fontAlgn="base">
              <a:spcBef>
                <a:spcPct val="0"/>
              </a:spcBef>
              <a:spcAft>
                <a:spcPct val="0"/>
              </a:spcAft>
            </a:pPr>
            <a:r>
              <a:rPr lang="en-GB" altLang="en-US" sz="1400" b="1">
                <a:latin typeface="Arial"/>
                <a:ea typeface="MS PGothic"/>
                <a:cs typeface="Arial"/>
              </a:rPr>
              <a:t>Abastecimiento y gestión de Partners</a:t>
            </a:r>
          </a:p>
        </p:txBody>
      </p:sp>
      <p:sp>
        <p:nvSpPr>
          <p:cNvPr id="75" name="TextBox 74">
            <a:extLst>
              <a:ext uri="{FF2B5EF4-FFF2-40B4-BE49-F238E27FC236}">
                <a16:creationId xmlns:a16="http://schemas.microsoft.com/office/drawing/2014/main" id="{54CA14F7-D13A-4D20-9C49-BF9E554748E2}"/>
              </a:ext>
            </a:extLst>
          </p:cNvPr>
          <p:cNvSpPr txBox="1"/>
          <p:nvPr/>
        </p:nvSpPr>
        <p:spPr>
          <a:xfrm>
            <a:off x="650240" y="541319"/>
            <a:ext cx="22611504" cy="1138773"/>
          </a:xfrm>
          <a:prstGeom prst="rect">
            <a:avLst/>
          </a:prstGeom>
          <a:noFill/>
        </p:spPr>
        <p:txBody>
          <a:bodyPr wrap="square" rtlCol="0" anchor="t">
            <a:spAutoFit/>
          </a:bodyPr>
          <a:lstStyle/>
          <a:p>
            <a:pPr algn="l"/>
            <a:r>
              <a:rPr lang="en-US" sz="4000" b="1" kern="1200" dirty="0">
                <a:solidFill>
                  <a:srgbClr val="C00000"/>
                </a:solidFill>
              </a:rPr>
              <a:t>Overview CTOM</a:t>
            </a:r>
          </a:p>
          <a:p>
            <a:pPr algn="l"/>
            <a:r>
              <a:rPr lang="en-GB" altLang="en-US" sz="2800" kern="1200" dirty="0">
                <a:solidFill>
                  <a:schemeClr val="tx1"/>
                </a:solidFill>
              </a:rPr>
              <a:t>30 Box – Metodología IBM</a:t>
            </a:r>
          </a:p>
        </p:txBody>
      </p:sp>
      <p:sp>
        <p:nvSpPr>
          <p:cNvPr id="3" name="TextBox 2">
            <a:extLst>
              <a:ext uri="{FF2B5EF4-FFF2-40B4-BE49-F238E27FC236}">
                <a16:creationId xmlns:a16="http://schemas.microsoft.com/office/drawing/2014/main" id="{308C5E79-062D-439A-BCB6-B8EA0CF1C0BE}"/>
              </a:ext>
            </a:extLst>
          </p:cNvPr>
          <p:cNvSpPr txBox="1"/>
          <p:nvPr/>
        </p:nvSpPr>
        <p:spPr>
          <a:xfrm>
            <a:off x="701192" y="2068872"/>
            <a:ext cx="21394880" cy="240065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GB" dirty="0">
                <a:latin typeface="+mn-lt"/>
                <a:cs typeface="Arial"/>
              </a:rPr>
              <a:t>Apoyándose en la metodología 30 Box de </a:t>
            </a:r>
            <a:r>
              <a:rPr lang="en-GB" b="1" dirty="0">
                <a:solidFill>
                  <a:srgbClr val="0060B6"/>
                </a:solidFill>
                <a:latin typeface="+mn-lt"/>
                <a:cs typeface="Arial"/>
              </a:rPr>
              <a:t>IBM</a:t>
            </a:r>
            <a:r>
              <a:rPr lang="en-GB" dirty="0">
                <a:latin typeface="+mn-lt"/>
                <a:cs typeface="Arial"/>
              </a:rPr>
              <a:t>:</a:t>
            </a:r>
          </a:p>
          <a:p>
            <a:pPr algn="l"/>
            <a:endParaRPr lang="en-GB" dirty="0">
              <a:latin typeface="+mn-lt"/>
              <a:cs typeface="Arial"/>
            </a:endParaRPr>
          </a:p>
          <a:p>
            <a:pPr algn="l"/>
            <a:r>
              <a:rPr lang="en-GB" dirty="0">
                <a:latin typeface="+mn-lt"/>
                <a:cs typeface="Arial"/>
              </a:rPr>
              <a:t>Se parte de los siguientes </a:t>
            </a:r>
            <a:r>
              <a:rPr lang="en-GB" b="1" dirty="0">
                <a:solidFill>
                  <a:srgbClr val="C00000"/>
                </a:solidFill>
                <a:latin typeface="+mn-lt"/>
                <a:cs typeface="Arial"/>
              </a:rPr>
              <a:t>procesos operacionales clave </a:t>
            </a:r>
            <a:r>
              <a:rPr lang="en-GB" dirty="0">
                <a:latin typeface="+mn-lt"/>
                <a:cs typeface="Arial"/>
              </a:rPr>
              <a:t>objeto de estudio para determinar el alcance del entregable</a:t>
            </a:r>
            <a:r>
              <a:rPr lang="en-GB" dirty="0">
                <a:cs typeface="Arial"/>
              </a:rPr>
              <a:t>.</a:t>
            </a:r>
          </a:p>
          <a:p>
            <a:pPr algn="l"/>
            <a:endParaRPr lang="en-GB" dirty="0">
              <a:cs typeface="Arial"/>
            </a:endParaRPr>
          </a:p>
          <a:p>
            <a:pPr algn="l"/>
            <a:endParaRPr lang="en-GB" dirty="0">
              <a:cs typeface="Arial"/>
            </a:endParaRPr>
          </a:p>
        </p:txBody>
      </p:sp>
    </p:spTree>
    <p:extLst>
      <p:ext uri="{BB962C8B-B14F-4D97-AF65-F5344CB8AC3E}">
        <p14:creationId xmlns:p14="http://schemas.microsoft.com/office/powerpoint/2010/main" val="414275810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7" descr="A screenshot of a cell phone&#10;&#10;Description generated with very high confidence">
            <a:extLst>
              <a:ext uri="{FF2B5EF4-FFF2-40B4-BE49-F238E27FC236}">
                <a16:creationId xmlns:a16="http://schemas.microsoft.com/office/drawing/2014/main" id="{CA778D4F-5371-42BE-80B1-C764372A5B1E}"/>
              </a:ext>
            </a:extLst>
          </p:cNvPr>
          <p:cNvPicPr>
            <a:picLocks noChangeAspect="1"/>
          </p:cNvPicPr>
          <p:nvPr/>
        </p:nvPicPr>
        <p:blipFill>
          <a:blip r:embed="rId3"/>
          <a:stretch>
            <a:fillRect/>
          </a:stretch>
        </p:blipFill>
        <p:spPr>
          <a:xfrm>
            <a:off x="418616" y="2871816"/>
            <a:ext cx="23546718" cy="2358480"/>
          </a:xfrm>
          <a:prstGeom prst="rect">
            <a:avLst/>
          </a:prstGeom>
        </p:spPr>
      </p:pic>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sp>
        <p:nvSpPr>
          <p:cNvPr id="29" name="Rectangle: Rounded Corners 28">
            <a:extLst>
              <a:ext uri="{FF2B5EF4-FFF2-40B4-BE49-F238E27FC236}">
                <a16:creationId xmlns:a16="http://schemas.microsoft.com/office/drawing/2014/main" id="{141B3FC8-6126-4A5F-AF30-AC4526EECA7E}"/>
              </a:ext>
            </a:extLst>
          </p:cNvPr>
          <p:cNvSpPr/>
          <p:nvPr/>
        </p:nvSpPr>
        <p:spPr>
          <a:xfrm>
            <a:off x="419976" y="5436487"/>
            <a:ext cx="2088000" cy="6477218"/>
          </a:xfrm>
          <a:prstGeom prst="roundRect">
            <a:avLst>
              <a:gd name="adj" fmla="val 0"/>
            </a:avLst>
          </a:prstGeom>
          <a:solidFill>
            <a:schemeClr val="bg1"/>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5400" b="1" dirty="0">
              <a:solidFill>
                <a:srgbClr val="C00000"/>
              </a:solidFill>
            </a:endParaRPr>
          </a:p>
          <a:p>
            <a:pPr algn="ctr"/>
            <a:endParaRPr lang="en-US" sz="5400" b="1" dirty="0">
              <a:solidFill>
                <a:srgbClr val="C00000"/>
              </a:solidFill>
            </a:endParaRPr>
          </a:p>
          <a:p>
            <a:pPr algn="ctr"/>
            <a:r>
              <a:rPr lang="en-US" sz="2400" b="1" dirty="0">
                <a:solidFill>
                  <a:schemeClr val="tx1"/>
                </a:solidFill>
              </a:rPr>
              <a:t>Funciones</a:t>
            </a:r>
          </a:p>
          <a:p>
            <a:pPr algn="ctr"/>
            <a:endParaRPr lang="en-US" sz="2400" b="1" dirty="0">
              <a:solidFill>
                <a:schemeClr val="tx1"/>
              </a:solidFill>
            </a:endParaRPr>
          </a:p>
        </p:txBody>
      </p:sp>
      <p:sp>
        <p:nvSpPr>
          <p:cNvPr id="30" name="Rectangle: Rounded Corners 29">
            <a:extLst>
              <a:ext uri="{FF2B5EF4-FFF2-40B4-BE49-F238E27FC236}">
                <a16:creationId xmlns:a16="http://schemas.microsoft.com/office/drawing/2014/main" id="{743D9354-06B1-493C-B9C2-549999A6F1A3}"/>
              </a:ext>
            </a:extLst>
          </p:cNvPr>
          <p:cNvSpPr/>
          <p:nvPr/>
        </p:nvSpPr>
        <p:spPr>
          <a:xfrm>
            <a:off x="2503027" y="5436487"/>
            <a:ext cx="2011826" cy="6477218"/>
          </a:xfrm>
          <a:prstGeom prst="roundRect">
            <a:avLst>
              <a:gd name="adj" fmla="val 0"/>
            </a:avLst>
          </a:prstGeom>
          <a:solidFill>
            <a:schemeClr val="bg1"/>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6400" b="1" dirty="0">
              <a:solidFill>
                <a:srgbClr val="C00000"/>
              </a:solidFill>
            </a:endParaRPr>
          </a:p>
          <a:p>
            <a:pPr algn="ctr"/>
            <a:r>
              <a:rPr lang="en-US" sz="2400" b="1" dirty="0">
                <a:solidFill>
                  <a:schemeClr val="tx1"/>
                </a:solidFill>
              </a:rPr>
              <a:t>Sub-funciones</a:t>
            </a:r>
          </a:p>
        </p:txBody>
      </p:sp>
      <p:sp>
        <p:nvSpPr>
          <p:cNvPr id="31" name="Rectangle: Rounded Corners 30">
            <a:extLst>
              <a:ext uri="{FF2B5EF4-FFF2-40B4-BE49-F238E27FC236}">
                <a16:creationId xmlns:a16="http://schemas.microsoft.com/office/drawing/2014/main" id="{F4F84651-E061-4F9F-8856-427A59B8A42A}"/>
              </a:ext>
            </a:extLst>
          </p:cNvPr>
          <p:cNvSpPr/>
          <p:nvPr/>
        </p:nvSpPr>
        <p:spPr>
          <a:xfrm>
            <a:off x="4514853" y="5436487"/>
            <a:ext cx="1885950" cy="6477218"/>
          </a:xfrm>
          <a:prstGeom prst="roundRect">
            <a:avLst>
              <a:gd name="adj" fmla="val 0"/>
            </a:avLst>
          </a:prstGeom>
          <a:solidFill>
            <a:schemeClr val="bg1"/>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6400" b="1" dirty="0">
              <a:solidFill>
                <a:srgbClr val="C00000"/>
              </a:solidFill>
            </a:endParaRPr>
          </a:p>
          <a:p>
            <a:pPr algn="ctr"/>
            <a:r>
              <a:rPr lang="en-US" sz="2400" b="1" dirty="0">
                <a:solidFill>
                  <a:schemeClr val="tx1"/>
                </a:solidFill>
              </a:rPr>
              <a:t>Actividades </a:t>
            </a:r>
          </a:p>
          <a:p>
            <a:pPr algn="ctr"/>
            <a:r>
              <a:rPr lang="en-US" sz="2400" b="1" dirty="0">
                <a:solidFill>
                  <a:schemeClr val="tx1"/>
                </a:solidFill>
              </a:rPr>
              <a:t>High-level</a:t>
            </a:r>
          </a:p>
        </p:txBody>
      </p:sp>
      <p:sp>
        <p:nvSpPr>
          <p:cNvPr id="32" name="TextBox 31">
            <a:extLst>
              <a:ext uri="{FF2B5EF4-FFF2-40B4-BE49-F238E27FC236}">
                <a16:creationId xmlns:a16="http://schemas.microsoft.com/office/drawing/2014/main" id="{5947DEB0-A9BE-45E3-9565-DA74EAFD3416}"/>
              </a:ext>
            </a:extLst>
          </p:cNvPr>
          <p:cNvSpPr txBox="1"/>
          <p:nvPr/>
        </p:nvSpPr>
        <p:spPr>
          <a:xfrm>
            <a:off x="5806015" y="6772726"/>
            <a:ext cx="10386753" cy="1015663"/>
          </a:xfrm>
          <a:prstGeom prst="rect">
            <a:avLst/>
          </a:prstGeom>
          <a:noFill/>
        </p:spPr>
        <p:txBody>
          <a:bodyPr wrap="square" rtlCol="0" anchor="t">
            <a:spAutoFit/>
          </a:bodyPr>
          <a:lstStyle/>
          <a:p>
            <a:pPr>
              <a:spcAft>
                <a:spcPts val="1200"/>
              </a:spcAft>
            </a:pPr>
            <a:r>
              <a:rPr lang="en-US" sz="6000" b="1" dirty="0">
                <a:latin typeface="Arial Black" panose="020B0A04020102020204" pitchFamily="34" charset="0"/>
              </a:rPr>
              <a:t>RACI</a:t>
            </a:r>
            <a:endParaRPr lang="en-US" sz="2400" dirty="0">
              <a:ea typeface="+mj-lt"/>
              <a:cs typeface="+mj-lt"/>
            </a:endParaRPr>
          </a:p>
        </p:txBody>
      </p:sp>
      <p:sp>
        <p:nvSpPr>
          <p:cNvPr id="33" name="Isosceles Triangle 32">
            <a:extLst>
              <a:ext uri="{FF2B5EF4-FFF2-40B4-BE49-F238E27FC236}">
                <a16:creationId xmlns:a16="http://schemas.microsoft.com/office/drawing/2014/main" id="{04411367-A14F-4F0B-B2FB-F5E2F682F72B}"/>
              </a:ext>
            </a:extLst>
          </p:cNvPr>
          <p:cNvSpPr/>
          <p:nvPr/>
        </p:nvSpPr>
        <p:spPr>
          <a:xfrm rot="5400000">
            <a:off x="6167816" y="6735319"/>
            <a:ext cx="3754972" cy="2209276"/>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p>
        </p:txBody>
      </p:sp>
      <p:sp>
        <p:nvSpPr>
          <p:cNvPr id="34" name="Rectangle 33">
            <a:extLst>
              <a:ext uri="{FF2B5EF4-FFF2-40B4-BE49-F238E27FC236}">
                <a16:creationId xmlns:a16="http://schemas.microsoft.com/office/drawing/2014/main" id="{D734B854-8474-4045-94A4-86C097099597}"/>
              </a:ext>
            </a:extLst>
          </p:cNvPr>
          <p:cNvSpPr/>
          <p:nvPr/>
        </p:nvSpPr>
        <p:spPr>
          <a:xfrm>
            <a:off x="701192" y="1929356"/>
            <a:ext cx="22560552" cy="1015663"/>
          </a:xfrm>
          <a:prstGeom prst="rect">
            <a:avLst/>
          </a:prstGeom>
        </p:spPr>
        <p:txBody>
          <a:bodyPr wrap="square" anchor="t">
            <a:spAutoFit/>
          </a:bodyPr>
          <a:lstStyle/>
          <a:p>
            <a:pPr algn="l">
              <a:spcAft>
                <a:spcPts val="2400"/>
              </a:spcAft>
            </a:pPr>
            <a:r>
              <a:rPr lang="en-US" dirty="0">
                <a:latin typeface="+mn-lt"/>
                <a:ea typeface="Verdana"/>
              </a:rPr>
              <a:t>La</a:t>
            </a:r>
            <a:r>
              <a:rPr lang="en-US" b="1" dirty="0">
                <a:latin typeface="+mn-lt"/>
                <a:ea typeface="Verdana"/>
              </a:rPr>
              <a:t> </a:t>
            </a:r>
            <a:r>
              <a:rPr lang="en-US" b="1" dirty="0">
                <a:solidFill>
                  <a:srgbClr val="C00000"/>
                </a:solidFill>
                <a:latin typeface="+mn-lt"/>
                <a:ea typeface="Verdana"/>
              </a:rPr>
              <a:t>Matriz RACI </a:t>
            </a:r>
            <a:r>
              <a:rPr lang="en-US" dirty="0">
                <a:latin typeface="+mn-lt"/>
                <a:ea typeface="Verdana"/>
              </a:rPr>
              <a:t>mapea las tareas definidas en los principales procesos operativos</a:t>
            </a:r>
            <a:r>
              <a:rPr lang="en-US" b="1" dirty="0">
                <a:latin typeface="+mn-lt"/>
                <a:ea typeface="Verdana"/>
              </a:rPr>
              <a:t> </a:t>
            </a:r>
            <a:r>
              <a:rPr lang="en-US" dirty="0">
                <a:latin typeface="+mn-lt"/>
                <a:ea typeface="Verdana"/>
              </a:rPr>
              <a:t> con los su asignación por rol, se basa en el </a:t>
            </a:r>
            <a:r>
              <a:rPr lang="en-US" b="1" dirty="0">
                <a:solidFill>
                  <a:srgbClr val="C00000"/>
                </a:solidFill>
                <a:latin typeface="+mn-lt"/>
                <a:ea typeface="Verdana"/>
              </a:rPr>
              <a:t>Cloud Operating model framework</a:t>
            </a:r>
            <a:r>
              <a:rPr lang="en-US" b="1" dirty="0">
                <a:latin typeface="+mn-lt"/>
                <a:ea typeface="Verdana"/>
              </a:rPr>
              <a:t>:</a:t>
            </a:r>
          </a:p>
        </p:txBody>
      </p:sp>
      <p:sp>
        <p:nvSpPr>
          <p:cNvPr id="36" name="TextBox 35">
            <a:extLst>
              <a:ext uri="{FF2B5EF4-FFF2-40B4-BE49-F238E27FC236}">
                <a16:creationId xmlns:a16="http://schemas.microsoft.com/office/drawing/2014/main" id="{D33FE939-B3A3-4912-A000-2BDCEFF35340}"/>
              </a:ext>
            </a:extLst>
          </p:cNvPr>
          <p:cNvSpPr txBox="1"/>
          <p:nvPr/>
        </p:nvSpPr>
        <p:spPr>
          <a:xfrm>
            <a:off x="650240" y="541319"/>
            <a:ext cx="22611504" cy="1138773"/>
          </a:xfrm>
          <a:prstGeom prst="rect">
            <a:avLst/>
          </a:prstGeom>
          <a:noFill/>
        </p:spPr>
        <p:txBody>
          <a:bodyPr wrap="square" rtlCol="0" anchor="t">
            <a:spAutoFit/>
          </a:bodyPr>
          <a:lstStyle/>
          <a:p>
            <a:pPr algn="l"/>
            <a:r>
              <a:rPr lang="en-US" sz="4000" b="1" kern="1200" dirty="0">
                <a:solidFill>
                  <a:srgbClr val="C00000"/>
                </a:solidFill>
              </a:rPr>
              <a:t>Overview CTOM</a:t>
            </a:r>
          </a:p>
          <a:p>
            <a:pPr algn="l"/>
            <a:r>
              <a:rPr lang="en-GB" altLang="en-US" sz="2800" kern="1200" dirty="0">
                <a:solidFill>
                  <a:schemeClr val="tx1"/>
                </a:solidFill>
              </a:rPr>
              <a:t>Matriz RACI</a:t>
            </a:r>
            <a:endParaRPr lang="en-US" altLang="en-US" sz="2800" kern="1200" dirty="0">
              <a:solidFill>
                <a:schemeClr val="tx1"/>
              </a:solidFill>
            </a:endParaRPr>
          </a:p>
        </p:txBody>
      </p:sp>
      <p:grpSp>
        <p:nvGrpSpPr>
          <p:cNvPr id="3" name="Group 2">
            <a:extLst>
              <a:ext uri="{FF2B5EF4-FFF2-40B4-BE49-F238E27FC236}">
                <a16:creationId xmlns:a16="http://schemas.microsoft.com/office/drawing/2014/main" id="{95FA9D16-1D2D-4D65-B1AB-76496D347C69}"/>
              </a:ext>
            </a:extLst>
          </p:cNvPr>
          <p:cNvGrpSpPr/>
          <p:nvPr/>
        </p:nvGrpSpPr>
        <p:grpSpPr>
          <a:xfrm>
            <a:off x="8258186" y="6768283"/>
            <a:ext cx="14481281" cy="5931270"/>
            <a:chOff x="989476" y="3559389"/>
            <a:chExt cx="22592354" cy="9253419"/>
          </a:xfrm>
        </p:grpSpPr>
        <p:sp>
          <p:nvSpPr>
            <p:cNvPr id="11" name="Rectangle 10">
              <a:extLst>
                <a:ext uri="{FF2B5EF4-FFF2-40B4-BE49-F238E27FC236}">
                  <a16:creationId xmlns:a16="http://schemas.microsoft.com/office/drawing/2014/main" id="{717AC6E5-1194-4421-BA68-6AD4678FB96F}"/>
                </a:ext>
              </a:extLst>
            </p:cNvPr>
            <p:cNvSpPr/>
            <p:nvPr/>
          </p:nvSpPr>
          <p:spPr bwMode="auto">
            <a:xfrm>
              <a:off x="8987247" y="3559389"/>
              <a:ext cx="11839239" cy="3334432"/>
            </a:xfrm>
            <a:prstGeom prst="rect">
              <a:avLst/>
            </a:prstGeom>
            <a:solidFill>
              <a:schemeClr val="bg1"/>
            </a:solidFill>
            <a:ln w="25400" cap="flat" cmpd="sng" algn="ctr">
              <a:solidFill>
                <a:schemeClr val="accent1"/>
              </a:solidFill>
              <a:prstDash val="solid"/>
              <a:round/>
              <a:headEnd type="none" w="med" len="med"/>
              <a:tailEnd type="none" w="med" len="med"/>
            </a:ln>
            <a:effectLst/>
          </p:spPr>
          <p:txBody>
            <a:bodyPr vert="horz" wrap="square" lIns="243840" tIns="121920" rIns="243840" bIns="121920" numCol="1" rtlCol="0" anchor="t" anchorCtr="0" compatLnSpc="1">
              <a:prstTxWarp prst="textNoShape">
                <a:avLst/>
              </a:prstTxWarp>
            </a:bodyPr>
            <a:lstStyle/>
            <a:p>
              <a:pPr defTabSz="2438340">
                <a:lnSpc>
                  <a:spcPct val="90000"/>
                </a:lnSpc>
              </a:pPr>
              <a:endParaRPr lang="en-US" sz="3200" dirty="0">
                <a:solidFill>
                  <a:schemeClr val="hlink"/>
                </a:solidFill>
              </a:endParaRPr>
            </a:p>
          </p:txBody>
        </p:sp>
        <p:sp>
          <p:nvSpPr>
            <p:cNvPr id="12" name="TextBox 27">
              <a:extLst>
                <a:ext uri="{FF2B5EF4-FFF2-40B4-BE49-F238E27FC236}">
                  <a16:creationId xmlns:a16="http://schemas.microsoft.com/office/drawing/2014/main" id="{9410C72A-7840-4F7E-AEA2-1DDE568581AC}"/>
                </a:ext>
              </a:extLst>
            </p:cNvPr>
            <p:cNvSpPr txBox="1">
              <a:spLocks noChangeArrowheads="1"/>
            </p:cNvSpPr>
            <p:nvPr/>
          </p:nvSpPr>
          <p:spPr bwMode="auto">
            <a:xfrm>
              <a:off x="10406776" y="3828802"/>
              <a:ext cx="7509225" cy="816279"/>
            </a:xfrm>
            <a:prstGeom prst="rect">
              <a:avLst/>
            </a:prstGeom>
            <a:noFill/>
            <a:ln>
              <a:noFill/>
            </a:ln>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eaLnBrk="1" hangingPunct="1"/>
              <a:r>
                <a:rPr lang="en-US" altLang="en-US" sz="2800" dirty="0">
                  <a:solidFill>
                    <a:srgbClr val="C00000"/>
                  </a:solidFill>
                  <a:cs typeface="Arial" panose="020B0604020202020204" pitchFamily="34" charset="0"/>
                </a:rPr>
                <a:t>Responsible</a:t>
              </a:r>
            </a:p>
          </p:txBody>
        </p:sp>
        <p:sp>
          <p:nvSpPr>
            <p:cNvPr id="13" name="Rectangle 12">
              <a:extLst>
                <a:ext uri="{FF2B5EF4-FFF2-40B4-BE49-F238E27FC236}">
                  <a16:creationId xmlns:a16="http://schemas.microsoft.com/office/drawing/2014/main" id="{BFC1EFD8-E1E0-4A73-ACFA-D1385A06C734}"/>
                </a:ext>
              </a:extLst>
            </p:cNvPr>
            <p:cNvSpPr/>
            <p:nvPr/>
          </p:nvSpPr>
          <p:spPr bwMode="auto">
            <a:xfrm>
              <a:off x="5520136" y="8308600"/>
              <a:ext cx="13102168" cy="4504208"/>
            </a:xfrm>
            <a:prstGeom prst="rect">
              <a:avLst/>
            </a:prstGeom>
            <a:noFill/>
            <a:ln w="25400" cap="flat" cmpd="sng" algn="ctr">
              <a:solidFill>
                <a:schemeClr val="accent1"/>
              </a:solidFill>
              <a:prstDash val="solid"/>
              <a:round/>
              <a:headEnd type="none" w="med" len="med"/>
              <a:tailEnd type="none" w="med" len="med"/>
            </a:ln>
            <a:effectLst/>
          </p:spPr>
          <p:txBody>
            <a:bodyPr vert="horz" wrap="square" lIns="243840" tIns="121920" rIns="243840" bIns="121920" numCol="1" rtlCol="0" anchor="t" anchorCtr="0" compatLnSpc="1">
              <a:prstTxWarp prst="textNoShape">
                <a:avLst/>
              </a:prstTxWarp>
            </a:bodyPr>
            <a:lstStyle/>
            <a:p>
              <a:pPr defTabSz="2438340">
                <a:lnSpc>
                  <a:spcPct val="90000"/>
                </a:lnSpc>
              </a:pPr>
              <a:endParaRPr lang="en-US" sz="3200" dirty="0">
                <a:solidFill>
                  <a:schemeClr val="hlink"/>
                </a:solidFill>
              </a:endParaRPr>
            </a:p>
          </p:txBody>
        </p:sp>
        <p:sp>
          <p:nvSpPr>
            <p:cNvPr id="14" name="Rectangle 13">
              <a:extLst>
                <a:ext uri="{FF2B5EF4-FFF2-40B4-BE49-F238E27FC236}">
                  <a16:creationId xmlns:a16="http://schemas.microsoft.com/office/drawing/2014/main" id="{CF166F02-254B-4DE5-A03A-73F218C4E566}"/>
                </a:ext>
              </a:extLst>
            </p:cNvPr>
            <p:cNvSpPr/>
            <p:nvPr/>
          </p:nvSpPr>
          <p:spPr bwMode="auto">
            <a:xfrm>
              <a:off x="989476" y="6041207"/>
              <a:ext cx="12374684" cy="3118102"/>
            </a:xfrm>
            <a:prstGeom prst="rect">
              <a:avLst/>
            </a:prstGeom>
            <a:solidFill>
              <a:schemeClr val="bg1"/>
            </a:solidFill>
            <a:ln w="25400" cap="flat" cmpd="sng" algn="ctr">
              <a:solidFill>
                <a:schemeClr val="accent1"/>
              </a:solidFill>
              <a:prstDash val="solid"/>
              <a:round/>
              <a:headEnd type="none" w="med" len="med"/>
              <a:tailEnd type="none" w="med" len="med"/>
            </a:ln>
            <a:effectLst/>
          </p:spPr>
          <p:txBody>
            <a:bodyPr vert="horz" wrap="square" lIns="243840" tIns="121920" rIns="243840" bIns="121920" numCol="1" rtlCol="0" anchor="t" anchorCtr="0" compatLnSpc="1">
              <a:prstTxWarp prst="textNoShape">
                <a:avLst/>
              </a:prstTxWarp>
            </a:bodyPr>
            <a:lstStyle/>
            <a:p>
              <a:pPr defTabSz="2438340">
                <a:lnSpc>
                  <a:spcPct val="90000"/>
                </a:lnSpc>
              </a:pPr>
              <a:endParaRPr lang="en-US" sz="3200" dirty="0">
                <a:solidFill>
                  <a:schemeClr val="hlink"/>
                </a:solidFill>
              </a:endParaRPr>
            </a:p>
          </p:txBody>
        </p:sp>
        <p:sp>
          <p:nvSpPr>
            <p:cNvPr id="15" name="TextBox 27">
              <a:extLst>
                <a:ext uri="{FF2B5EF4-FFF2-40B4-BE49-F238E27FC236}">
                  <a16:creationId xmlns:a16="http://schemas.microsoft.com/office/drawing/2014/main" id="{25A2D462-C35B-491F-84ED-AA39B670A2C6}"/>
                </a:ext>
              </a:extLst>
            </p:cNvPr>
            <p:cNvSpPr txBox="1">
              <a:spLocks noChangeArrowheads="1"/>
            </p:cNvSpPr>
            <p:nvPr/>
          </p:nvSpPr>
          <p:spPr bwMode="auto">
            <a:xfrm>
              <a:off x="2259038" y="6434188"/>
              <a:ext cx="7500422" cy="816279"/>
            </a:xfrm>
            <a:prstGeom prst="rect">
              <a:avLst/>
            </a:prstGeom>
            <a:noFill/>
            <a:ln>
              <a:noFill/>
            </a:ln>
          </p:spPr>
          <p:txBody>
            <a:bodyPr wrap="square">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l" eaLnBrk="1" hangingPunct="1">
                <a:defRPr sz="2800" b="1">
                  <a:solidFill>
                    <a:srgbClr val="C00000"/>
                  </a:solidFill>
                  <a:latin typeface="Arial" panose="020B0604020202020204" pitchFamily="34" charset="0"/>
                  <a:ea typeface="MS PGothic" panose="020B0600070205080204" pitchFamily="34" charset="-128"/>
                  <a:cs typeface="Arial" panose="020B0604020202020204" pitchFamily="34" charset="0"/>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r>
                <a:rPr lang="en-US" dirty="0"/>
                <a:t>Informed</a:t>
              </a:r>
              <a:endParaRPr lang="en-US" altLang="en-US" dirty="0"/>
            </a:p>
          </p:txBody>
        </p:sp>
        <p:sp>
          <p:nvSpPr>
            <p:cNvPr id="16" name="TextBox 27">
              <a:extLst>
                <a:ext uri="{FF2B5EF4-FFF2-40B4-BE49-F238E27FC236}">
                  <a16:creationId xmlns:a16="http://schemas.microsoft.com/office/drawing/2014/main" id="{D96EACC0-FC28-4B20-82AF-79AD8FF3E22E}"/>
                </a:ext>
              </a:extLst>
            </p:cNvPr>
            <p:cNvSpPr txBox="1">
              <a:spLocks noChangeArrowheads="1"/>
            </p:cNvSpPr>
            <p:nvPr/>
          </p:nvSpPr>
          <p:spPr bwMode="auto">
            <a:xfrm>
              <a:off x="6998624" y="9614926"/>
              <a:ext cx="5272038" cy="816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a:r>
                <a:rPr lang="en-US" sz="2800" dirty="0">
                  <a:solidFill>
                    <a:srgbClr val="C00000"/>
                  </a:solidFill>
                  <a:cs typeface="Arial" panose="020B0604020202020204" pitchFamily="34" charset="0"/>
                </a:rPr>
                <a:t>Accountable</a:t>
              </a:r>
              <a:endParaRPr lang="en-US" altLang="en-US" sz="2800" dirty="0">
                <a:solidFill>
                  <a:srgbClr val="C00000"/>
                </a:solidFill>
                <a:cs typeface="Arial" panose="020B0604020202020204" pitchFamily="34" charset="0"/>
              </a:endParaRPr>
            </a:p>
          </p:txBody>
        </p:sp>
        <p:sp>
          <p:nvSpPr>
            <p:cNvPr id="17" name="Rectangle 16">
              <a:extLst>
                <a:ext uri="{FF2B5EF4-FFF2-40B4-BE49-F238E27FC236}">
                  <a16:creationId xmlns:a16="http://schemas.microsoft.com/office/drawing/2014/main" id="{0BC896FD-CFC5-4712-937C-D7848B338BA9}"/>
                </a:ext>
              </a:extLst>
            </p:cNvPr>
            <p:cNvSpPr/>
            <p:nvPr/>
          </p:nvSpPr>
          <p:spPr bwMode="auto">
            <a:xfrm>
              <a:off x="12489046" y="6356562"/>
              <a:ext cx="11092784" cy="3488096"/>
            </a:xfrm>
            <a:prstGeom prst="rect">
              <a:avLst/>
            </a:prstGeom>
            <a:solidFill>
              <a:schemeClr val="bg1"/>
            </a:solidFill>
            <a:ln w="25400" cap="flat" cmpd="sng" algn="ctr">
              <a:solidFill>
                <a:schemeClr val="accent1"/>
              </a:solidFill>
              <a:prstDash val="solid"/>
              <a:round/>
              <a:headEnd type="none" w="med" len="med"/>
              <a:tailEnd type="none" w="med" len="med"/>
            </a:ln>
            <a:effectLst/>
          </p:spPr>
          <p:txBody>
            <a:bodyPr vert="horz" wrap="square" lIns="243840" tIns="121920" rIns="243840" bIns="121920" numCol="1" rtlCol="0" anchor="t" anchorCtr="0" compatLnSpc="1">
              <a:prstTxWarp prst="textNoShape">
                <a:avLst/>
              </a:prstTxWarp>
            </a:bodyPr>
            <a:lstStyle/>
            <a:p>
              <a:pPr defTabSz="2438340">
                <a:lnSpc>
                  <a:spcPct val="90000"/>
                </a:lnSpc>
              </a:pPr>
              <a:endParaRPr lang="en-US" sz="3200" dirty="0">
                <a:solidFill>
                  <a:schemeClr val="hlink"/>
                </a:solidFill>
              </a:endParaRPr>
            </a:p>
          </p:txBody>
        </p:sp>
        <p:sp>
          <p:nvSpPr>
            <p:cNvPr id="18" name="TextBox 27">
              <a:extLst>
                <a:ext uri="{FF2B5EF4-FFF2-40B4-BE49-F238E27FC236}">
                  <a16:creationId xmlns:a16="http://schemas.microsoft.com/office/drawing/2014/main" id="{FD4D3D84-89D1-4F0C-8E2F-3904D29C21AC}"/>
                </a:ext>
              </a:extLst>
            </p:cNvPr>
            <p:cNvSpPr txBox="1">
              <a:spLocks noChangeArrowheads="1"/>
            </p:cNvSpPr>
            <p:nvPr/>
          </p:nvSpPr>
          <p:spPr bwMode="auto">
            <a:xfrm>
              <a:off x="14357492" y="6693970"/>
              <a:ext cx="5016937" cy="816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b="1">
                  <a:solidFill>
                    <a:schemeClr val="tx1"/>
                  </a:solidFill>
                  <a:latin typeface="Arial" panose="020B0604020202020204" pitchFamily="34" charset="0"/>
                  <a:ea typeface="MS PGothic" panose="020B0600070205080204" pitchFamily="34" charset="-128"/>
                </a:defRPr>
              </a:lvl1pPr>
              <a:lvl2pPr marL="742950" indent="-285750">
                <a:defRPr sz="1200" b="1">
                  <a:solidFill>
                    <a:schemeClr val="tx1"/>
                  </a:solidFill>
                  <a:latin typeface="Arial" panose="020B0604020202020204" pitchFamily="34" charset="0"/>
                  <a:ea typeface="MS PGothic" panose="020B0600070205080204" pitchFamily="34" charset="-128"/>
                </a:defRPr>
              </a:lvl2pPr>
              <a:lvl3pPr marL="1143000" indent="-228600">
                <a:defRPr sz="1200" b="1">
                  <a:solidFill>
                    <a:schemeClr val="tx1"/>
                  </a:solidFill>
                  <a:latin typeface="Arial" panose="020B0604020202020204" pitchFamily="34" charset="0"/>
                  <a:ea typeface="MS PGothic" panose="020B0600070205080204" pitchFamily="34" charset="-128"/>
                </a:defRPr>
              </a:lvl3pPr>
              <a:lvl4pPr marL="1600200" indent="-228600">
                <a:defRPr sz="1200" b="1">
                  <a:solidFill>
                    <a:schemeClr val="tx1"/>
                  </a:solidFill>
                  <a:latin typeface="Arial" panose="020B0604020202020204" pitchFamily="34" charset="0"/>
                  <a:ea typeface="MS PGothic" panose="020B0600070205080204" pitchFamily="34" charset="-128"/>
                </a:defRPr>
              </a:lvl4pPr>
              <a:lvl5pPr marL="2057400" indent="-228600">
                <a:defRPr sz="12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MS PGothic" panose="020B0600070205080204" pitchFamily="34" charset="-128"/>
                </a:defRPr>
              </a:lvl9pPr>
            </a:lstStyle>
            <a:p>
              <a:pPr algn="l" eaLnBrk="1" hangingPunct="1"/>
              <a:r>
                <a:rPr lang="en-US" altLang="en-US" sz="2800" dirty="0">
                  <a:solidFill>
                    <a:srgbClr val="C00000"/>
                  </a:solidFill>
                  <a:cs typeface="Arial" panose="020B0604020202020204" pitchFamily="34" charset="0"/>
                </a:rPr>
                <a:t>Consulted</a:t>
              </a:r>
            </a:p>
          </p:txBody>
        </p:sp>
        <p:sp>
          <p:nvSpPr>
            <p:cNvPr id="19" name="TextBox 18">
              <a:extLst>
                <a:ext uri="{FF2B5EF4-FFF2-40B4-BE49-F238E27FC236}">
                  <a16:creationId xmlns:a16="http://schemas.microsoft.com/office/drawing/2014/main" id="{6E4DBF72-E2A1-48CF-A076-390E8A2695A4}"/>
                </a:ext>
              </a:extLst>
            </p:cNvPr>
            <p:cNvSpPr txBox="1"/>
            <p:nvPr/>
          </p:nvSpPr>
          <p:spPr>
            <a:xfrm>
              <a:off x="1653916" y="7441267"/>
              <a:ext cx="10544710" cy="1152395"/>
            </a:xfrm>
            <a:prstGeom prst="rect">
              <a:avLst/>
            </a:prstGeom>
            <a:noFill/>
          </p:spPr>
          <p:txBody>
            <a:bodyPr vert="horz" wrap="square" lIns="0" tIns="0" rIns="0" bIns="0" rtlCol="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2pPr lvl="1" algn="just" defTabSz="948242">
                <a:lnSpc>
                  <a:spcPct val="90000"/>
                </a:lnSpc>
                <a:spcAft>
                  <a:spcPct val="15000"/>
                </a:spcAft>
                <a:defRPr sz="2400">
                  <a:ea typeface="+mj-lt"/>
                  <a:cs typeface="+mj-lt"/>
                </a:defRPr>
              </a:lvl2pPr>
            </a:lstStyle>
            <a:p>
              <a:pPr algn="l">
                <a:spcAft>
                  <a:spcPts val="1200"/>
                </a:spcAft>
              </a:pPr>
              <a:r>
                <a:rPr lang="en-US" sz="2400" dirty="0">
                  <a:ea typeface="+mj-lt"/>
                  <a:cs typeface="+mj-lt"/>
                </a:rPr>
                <a:t>Rol que debe ser informado sobre el avance y los resultados de la ejecución de la tarea</a:t>
              </a:r>
            </a:p>
          </p:txBody>
        </p:sp>
        <p:sp>
          <p:nvSpPr>
            <p:cNvPr id="20" name="TextBox 19">
              <a:extLst>
                <a:ext uri="{FF2B5EF4-FFF2-40B4-BE49-F238E27FC236}">
                  <a16:creationId xmlns:a16="http://schemas.microsoft.com/office/drawing/2014/main" id="{427955C0-8977-48C2-8428-3A06EA9D2023}"/>
                </a:ext>
              </a:extLst>
            </p:cNvPr>
            <p:cNvSpPr txBox="1"/>
            <p:nvPr/>
          </p:nvSpPr>
          <p:spPr>
            <a:xfrm>
              <a:off x="13331288" y="7941479"/>
              <a:ext cx="9925224" cy="1037155"/>
            </a:xfrm>
            <a:prstGeom prst="rect">
              <a:avLst/>
            </a:prstGeom>
            <a:noFill/>
          </p:spPr>
          <p:txBody>
            <a:bodyPr vert="horz" wrap="square" lIns="0" tIns="0" rIns="0" bIns="0" rtlCol="0">
              <a:spAutoFit/>
            </a:bodyPr>
            <a:lstStyle/>
            <a:p>
              <a:pPr lvl="1" algn="l" defTabSz="948242">
                <a:lnSpc>
                  <a:spcPct val="90000"/>
                </a:lnSpc>
                <a:spcAft>
                  <a:spcPct val="15000"/>
                </a:spcAft>
                <a:defRPr/>
              </a:pPr>
              <a:r>
                <a:rPr lang="en-US" sz="2400" dirty="0">
                  <a:ea typeface="+mj-lt"/>
                  <a:cs typeface="+mj-lt"/>
                </a:rPr>
                <a:t>Rol que posee alguna información o capacidad necesaria para realizar la tarea   </a:t>
              </a:r>
            </a:p>
          </p:txBody>
        </p:sp>
        <p:sp>
          <p:nvSpPr>
            <p:cNvPr id="21" name="TextBox 20">
              <a:extLst>
                <a:ext uri="{FF2B5EF4-FFF2-40B4-BE49-F238E27FC236}">
                  <a16:creationId xmlns:a16="http://schemas.microsoft.com/office/drawing/2014/main" id="{B0848719-43A0-4129-BE60-EF20E0032B78}"/>
                </a:ext>
              </a:extLst>
            </p:cNvPr>
            <p:cNvSpPr txBox="1"/>
            <p:nvPr/>
          </p:nvSpPr>
          <p:spPr>
            <a:xfrm>
              <a:off x="9720436" y="5078605"/>
              <a:ext cx="11165406" cy="518578"/>
            </a:xfrm>
            <a:prstGeom prst="rect">
              <a:avLst/>
            </a:prstGeom>
            <a:noFill/>
          </p:spPr>
          <p:txBody>
            <a:bodyPr vert="horz" wrap="square" lIns="0" tIns="0" rIns="0" bIns="0" rtlCol="0">
              <a:spAutoFit/>
            </a:bodyPr>
            <a:lstStyle/>
            <a:p>
              <a:pPr lvl="1" algn="just" defTabSz="948242">
                <a:lnSpc>
                  <a:spcPct val="90000"/>
                </a:lnSpc>
                <a:spcAft>
                  <a:spcPct val="15000"/>
                </a:spcAft>
                <a:defRPr/>
              </a:pPr>
              <a:r>
                <a:rPr lang="en-US" sz="2400" dirty="0">
                  <a:ea typeface="+mj-lt"/>
                  <a:cs typeface="+mj-lt"/>
                </a:rPr>
                <a:t>Rol que realiza la tarea </a:t>
              </a:r>
            </a:p>
          </p:txBody>
        </p:sp>
        <p:sp>
          <p:nvSpPr>
            <p:cNvPr id="22" name="TextBox 21">
              <a:extLst>
                <a:ext uri="{FF2B5EF4-FFF2-40B4-BE49-F238E27FC236}">
                  <a16:creationId xmlns:a16="http://schemas.microsoft.com/office/drawing/2014/main" id="{EAEC8C13-9795-496C-89DF-C0665E37A259}"/>
                </a:ext>
              </a:extLst>
            </p:cNvPr>
            <p:cNvSpPr txBox="1"/>
            <p:nvPr/>
          </p:nvSpPr>
          <p:spPr>
            <a:xfrm>
              <a:off x="6251501" y="10868733"/>
              <a:ext cx="11836969" cy="1152395"/>
            </a:xfrm>
            <a:prstGeom prst="rect">
              <a:avLst/>
            </a:prstGeom>
            <a:noFill/>
          </p:spPr>
          <p:txBody>
            <a:bodyPr vert="horz" wrap="square" lIns="0" tIns="0" rIns="0" bIns="0" rtlCol="0">
              <a:spAutoFit/>
            </a:bodyPr>
            <a:lstStyle/>
            <a:p>
              <a:pPr algn="l">
                <a:spcAft>
                  <a:spcPts val="1200"/>
                </a:spcAft>
              </a:pPr>
              <a:r>
                <a:rPr lang="en-US" sz="2400" dirty="0">
                  <a:ea typeface="+mj-lt"/>
                  <a:cs typeface="+mj-lt"/>
                </a:rPr>
                <a:t>Rol que se responsabiliza de que la tarea se realice y que debe rendir cuentas sobre su ejecución</a:t>
              </a:r>
            </a:p>
          </p:txBody>
        </p:sp>
        <p:pic>
          <p:nvPicPr>
            <p:cNvPr id="26" name="Picture 25">
              <a:extLst>
                <a:ext uri="{FF2B5EF4-FFF2-40B4-BE49-F238E27FC236}">
                  <a16:creationId xmlns:a16="http://schemas.microsoft.com/office/drawing/2014/main" id="{DA030336-3173-42CC-88BB-256D49ECDBD4}"/>
                </a:ext>
              </a:extLst>
            </p:cNvPr>
            <p:cNvPicPr>
              <a:picLocks noChangeAspect="1"/>
            </p:cNvPicPr>
            <p:nvPr/>
          </p:nvPicPr>
          <p:blipFill>
            <a:blip r:embed="rId4">
              <a:extLst>
                <a:ext uri="{BEBA8EAE-BF5A-486C-A8C5-ECC9F3942E4B}">
                  <a14:imgProps xmlns:a14="http://schemas.microsoft.com/office/drawing/2010/main">
                    <a14:imgLayer r:embed="rId5">
                      <a14:imgEffect>
                        <a14:colorTemperature colorTemp="2300"/>
                      </a14:imgEffect>
                    </a14:imgLayer>
                  </a14:imgProps>
                </a:ext>
                <a:ext uri="{28A0092B-C50C-407E-A947-70E740481C1C}">
                  <a14:useLocalDpi xmlns:a14="http://schemas.microsoft.com/office/drawing/2010/main" val="0"/>
                </a:ext>
              </a:extLst>
            </a:blip>
            <a:stretch>
              <a:fillRect/>
            </a:stretch>
          </p:blipFill>
          <p:spPr>
            <a:xfrm>
              <a:off x="9187575" y="3832581"/>
              <a:ext cx="1219201" cy="1219201"/>
            </a:xfrm>
            <a:prstGeom prst="rect">
              <a:avLst/>
            </a:prstGeom>
          </p:spPr>
        </p:pic>
      </p:grpSp>
      <p:pic>
        <p:nvPicPr>
          <p:cNvPr id="7" name="Graphic 6" descr="Handshake">
            <a:extLst>
              <a:ext uri="{FF2B5EF4-FFF2-40B4-BE49-F238E27FC236}">
                <a16:creationId xmlns:a16="http://schemas.microsoft.com/office/drawing/2014/main" id="{A105F9F2-9E4C-4FFF-9471-98C1A062156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5858098" y="8668040"/>
            <a:ext cx="914400" cy="914400"/>
          </a:xfrm>
          <a:prstGeom prst="rect">
            <a:avLst/>
          </a:prstGeom>
        </p:spPr>
      </p:pic>
      <p:pic>
        <p:nvPicPr>
          <p:cNvPr id="27" name="Graphic 26" descr="Research">
            <a:extLst>
              <a:ext uri="{FF2B5EF4-FFF2-40B4-BE49-F238E27FC236}">
                <a16:creationId xmlns:a16="http://schemas.microsoft.com/office/drawing/2014/main" id="{E1EFD845-3EF7-42DD-BF70-E9F10DB1CCD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309758" y="10480027"/>
            <a:ext cx="914400" cy="914400"/>
          </a:xfrm>
          <a:prstGeom prst="rect">
            <a:avLst/>
          </a:prstGeom>
        </p:spPr>
      </p:pic>
      <p:pic>
        <p:nvPicPr>
          <p:cNvPr id="35" name="Graphic 34" descr="Information">
            <a:extLst>
              <a:ext uri="{FF2B5EF4-FFF2-40B4-BE49-F238E27FC236}">
                <a16:creationId xmlns:a16="http://schemas.microsoft.com/office/drawing/2014/main" id="{ED0E42F8-C437-4870-AD38-8181EE7A764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407949" y="8531013"/>
            <a:ext cx="683145" cy="683145"/>
          </a:xfrm>
          <a:prstGeom prst="rect">
            <a:avLst/>
          </a:prstGeom>
        </p:spPr>
      </p:pic>
    </p:spTree>
    <p:extLst>
      <p:ext uri="{BB962C8B-B14F-4D97-AF65-F5344CB8AC3E}">
        <p14:creationId xmlns:p14="http://schemas.microsoft.com/office/powerpoint/2010/main" val="389345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heme/theme1.xml><?xml version="1.0" encoding="utf-8"?>
<a:theme xmlns:a="http://schemas.openxmlformats.org/drawingml/2006/main" name="Tema de Office">
  <a:themeElements>
    <a:clrScheme name="Personalizado 3">
      <a:dk1>
        <a:sysClr val="windowText" lastClr="000000"/>
      </a:dk1>
      <a:lt1>
        <a:sysClr val="window" lastClr="FFFFFF"/>
      </a:lt1>
      <a:dk2>
        <a:srgbClr val="6E7678"/>
      </a:dk2>
      <a:lt2>
        <a:srgbClr val="E7E6E6"/>
      </a:lt2>
      <a:accent1>
        <a:srgbClr val="EB0000"/>
      </a:accent1>
      <a:accent2>
        <a:srgbClr val="DEEDF1"/>
      </a:accent2>
      <a:accent3>
        <a:srgbClr val="9D3566"/>
      </a:accent3>
      <a:accent4>
        <a:srgbClr val="62B967"/>
      </a:accent4>
      <a:accent5>
        <a:srgbClr val="1AB2BB"/>
      </a:accent5>
      <a:accent6>
        <a:srgbClr val="FFCB32"/>
      </a:accent6>
      <a:hlink>
        <a:srgbClr val="3265FF"/>
      </a:hlink>
      <a:folHlink>
        <a:srgbClr val="954F72"/>
      </a:folHlink>
    </a:clrScheme>
    <a:fontScheme name="Personalizado 6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IBM Cloud 2017">
  <a:themeElements>
    <a:clrScheme name="CTOMPlaybook">
      <a:dk1>
        <a:srgbClr val="000000"/>
      </a:dk1>
      <a:lt1>
        <a:srgbClr val="051243"/>
      </a:lt1>
      <a:dk2>
        <a:srgbClr val="F3F3F3"/>
      </a:dk2>
      <a:lt2>
        <a:srgbClr val="FFFFFF"/>
      </a:lt2>
      <a:accent1>
        <a:srgbClr val="6EA6FF"/>
      </a:accent1>
      <a:accent2>
        <a:srgbClr val="0F6DFF"/>
      </a:accent2>
      <a:accent3>
        <a:srgbClr val="0530AD"/>
      </a:accent3>
      <a:accent4>
        <a:srgbClr val="00BAB6"/>
      </a:accent4>
      <a:accent5>
        <a:srgbClr val="924CFC"/>
      </a:accent5>
      <a:accent6>
        <a:srgbClr val="D7306D"/>
      </a:accent6>
      <a:hlink>
        <a:srgbClr val="0F6DFF"/>
      </a:hlink>
      <a:folHlink>
        <a:srgbClr val="E0E0E0"/>
      </a:folHlink>
    </a:clrScheme>
    <a:fontScheme name="Custom 2">
      <a:majorFont>
        <a:latin typeface="IBM Plex Sans"/>
        <a:ea typeface=""/>
        <a:cs typeface=""/>
      </a:majorFont>
      <a:minorFont>
        <a:latin typeface="IBM Plex Sans"/>
        <a:ea typeface=""/>
        <a:cs typeface=""/>
      </a:minorFont>
    </a:fontScheme>
    <a:fmtScheme name="IBM Cloud 2017">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45718" tIns="45718" rIns="45718" bIns="45718"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3.xml><?xml version="1.0" encoding="utf-8"?>
<a:theme xmlns:a="http://schemas.openxmlformats.org/drawingml/2006/main" name="2_IBM Cloud 2017">
  <a:themeElements>
    <a:clrScheme name="Custom 5">
      <a:dk1>
        <a:srgbClr val="000000"/>
      </a:dk1>
      <a:lt1>
        <a:srgbClr val="FFFFFF"/>
      </a:lt1>
      <a:dk2>
        <a:srgbClr val="A7A7A7"/>
      </a:dk2>
      <a:lt2>
        <a:srgbClr val="535353"/>
      </a:lt2>
      <a:accent1>
        <a:srgbClr val="B8AEAE"/>
      </a:accent1>
      <a:accent2>
        <a:srgbClr val="E4E1E4"/>
      </a:accent2>
      <a:accent3>
        <a:srgbClr val="F05253"/>
      </a:accent3>
      <a:accent4>
        <a:srgbClr val="1C3649"/>
      </a:accent4>
      <a:accent5>
        <a:srgbClr val="5498D5"/>
      </a:accent5>
      <a:accent6>
        <a:srgbClr val="AC72E6"/>
      </a:accent6>
      <a:hlink>
        <a:srgbClr val="FFFFFF"/>
      </a:hlink>
      <a:folHlink>
        <a:srgbClr val="FFFFFF"/>
      </a:folHlink>
    </a:clrScheme>
    <a:fontScheme name="Custom 1">
      <a:majorFont>
        <a:latin typeface="IBM Plex Sans"/>
        <a:ea typeface=""/>
        <a:cs typeface=""/>
      </a:majorFont>
      <a:minorFont>
        <a:latin typeface="IBM Plex Sans Light"/>
        <a:ea typeface=""/>
        <a:cs typeface=""/>
      </a:minorFont>
    </a:fontScheme>
    <a:fmtScheme name="IBM Cloud 2017">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45718" tIns="45718" rIns="45718" bIns="45718"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4.xml><?xml version="1.0" encoding="utf-8"?>
<a:theme xmlns:a="http://schemas.openxmlformats.org/drawingml/2006/main" name="White">
  <a:themeElements>
    <a:clrScheme name="White">
      <a:dk1>
        <a:srgbClr val="000000"/>
      </a:dk1>
      <a:lt1>
        <a:srgbClr val="FFFFFF"/>
      </a:lt1>
      <a:dk2>
        <a:srgbClr val="A7A7A7"/>
      </a:dk2>
      <a:lt2>
        <a:srgbClr val="535353"/>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White">
      <a:majorFont>
        <a:latin typeface="Helvetica"/>
        <a:ea typeface="Helvetica"/>
        <a:cs typeface="Helvetica"/>
      </a:majorFont>
      <a:minorFont>
        <a:latin typeface="Helvetica Neue"/>
        <a:ea typeface="Helvetica Neue"/>
        <a:cs typeface="Helvetica Neue"/>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Personalizado 3">
    <a:dk1>
      <a:sysClr val="windowText" lastClr="000000"/>
    </a:dk1>
    <a:lt1>
      <a:sysClr val="window" lastClr="FFFFFF"/>
    </a:lt1>
    <a:dk2>
      <a:srgbClr val="6E7678"/>
    </a:dk2>
    <a:lt2>
      <a:srgbClr val="E7E6E6"/>
    </a:lt2>
    <a:accent1>
      <a:srgbClr val="EB0000"/>
    </a:accent1>
    <a:accent2>
      <a:srgbClr val="DEEDF1"/>
    </a:accent2>
    <a:accent3>
      <a:srgbClr val="9D3566"/>
    </a:accent3>
    <a:accent4>
      <a:srgbClr val="62B967"/>
    </a:accent4>
    <a:accent5>
      <a:srgbClr val="1AB2BB"/>
    </a:accent5>
    <a:accent6>
      <a:srgbClr val="FFCB32"/>
    </a:accent6>
    <a:hlink>
      <a:srgbClr val="3265FF"/>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01067738163A649AFF0A3EAC69D0CE2" ma:contentTypeVersion="3" ma:contentTypeDescription="Create a new document." ma:contentTypeScope="" ma:versionID="037609e9405ca400f6b4f4b0b5bfd1bf">
  <xsd:schema xmlns:xsd="http://www.w3.org/2001/XMLSchema" xmlns:xs="http://www.w3.org/2001/XMLSchema" xmlns:p="http://schemas.microsoft.com/office/2006/metadata/properties" xmlns:ns2="fe66e491-c72e-4273-a58c-fba859478979" targetNamespace="http://schemas.microsoft.com/office/2006/metadata/properties" ma:root="true" ma:fieldsID="bf64b8f82d0a9f77d4dd1390aa332b78" ns2:_="">
    <xsd:import namespace="fe66e491-c72e-4273-a58c-fba859478979"/>
    <xsd:element name="properties">
      <xsd:complexType>
        <xsd:sequence>
          <xsd:element name="documentManagement">
            <xsd:complexType>
              <xsd:all>
                <xsd:element ref="ns2:MediaServiceMetadata" minOccurs="0"/>
                <xsd:element ref="ns2:MediaServiceFastMetadata"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66e491-c72e-4273-a58c-fba85947897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E1631D9-B41A-4F17-B3BA-3C91487AF489}"/>
</file>

<file path=customXml/itemProps2.xml><?xml version="1.0" encoding="utf-8"?>
<ds:datastoreItem xmlns:ds="http://schemas.openxmlformats.org/officeDocument/2006/customXml" ds:itemID="{19DC3753-6B88-4A2C-89E9-6D8B68790BEA}">
  <ds:schemaRefs>
    <ds:schemaRef ds:uri="http://www.w3.org/XML/1998/namespace"/>
    <ds:schemaRef ds:uri="http://schemas.openxmlformats.org/package/2006/metadata/core-properties"/>
    <ds:schemaRef ds:uri="http://purl.org/dc/elements/1.1/"/>
    <ds:schemaRef ds:uri="http://schemas.microsoft.com/office/2006/metadata/properties"/>
    <ds:schemaRef ds:uri="http://schemas.microsoft.com/office/infopath/2007/PartnerControls"/>
    <ds:schemaRef ds:uri="fe66e491-c72e-4273-a58c-fba859478979"/>
    <ds:schemaRef ds:uri="http://schemas.microsoft.com/office/2006/documentManagement/types"/>
    <ds:schemaRef ds:uri="http://purl.org/dc/dcmitype/"/>
    <ds:schemaRef ds:uri="http://purl.org/dc/terms/"/>
  </ds:schemaRefs>
</ds:datastoreItem>
</file>

<file path=customXml/itemProps3.xml><?xml version="1.0" encoding="utf-8"?>
<ds:datastoreItem xmlns:ds="http://schemas.openxmlformats.org/officeDocument/2006/customXml" ds:itemID="{7378C41C-C482-4BDE-858B-73DD2F33218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908</TotalTime>
  <Words>4805</Words>
  <Application>Microsoft Office PowerPoint</Application>
  <PresentationFormat>Personalizado</PresentationFormat>
  <Paragraphs>1990</Paragraphs>
  <Slides>53</Slides>
  <Notes>46</Notes>
  <HiddenSlides>0</HiddenSlides>
  <MMClips>0</MMClips>
  <ScaleCrop>false</ScaleCrop>
  <HeadingPairs>
    <vt:vector size="6" baseType="variant">
      <vt:variant>
        <vt:lpstr>Fuentes usadas</vt:lpstr>
      </vt:variant>
      <vt:variant>
        <vt:i4>14</vt:i4>
      </vt:variant>
      <vt:variant>
        <vt:lpstr>Tema</vt:lpstr>
      </vt:variant>
      <vt:variant>
        <vt:i4>3</vt:i4>
      </vt:variant>
      <vt:variant>
        <vt:lpstr>Títulos de diapositiva</vt:lpstr>
      </vt:variant>
      <vt:variant>
        <vt:i4>53</vt:i4>
      </vt:variant>
    </vt:vector>
  </HeadingPairs>
  <TitlesOfParts>
    <vt:vector size="70" baseType="lpstr">
      <vt:lpstr>Arial</vt:lpstr>
      <vt:lpstr>Arial Black</vt:lpstr>
      <vt:lpstr>Calibri</vt:lpstr>
      <vt:lpstr>Calibri Light</vt:lpstr>
      <vt:lpstr>Century Gothic</vt:lpstr>
      <vt:lpstr>Helvetica</vt:lpstr>
      <vt:lpstr>Helvetica Neue</vt:lpstr>
      <vt:lpstr>Helvetica Neue Medium</vt:lpstr>
      <vt:lpstr>HelveticaNeueLT Std Lt Cn</vt:lpstr>
      <vt:lpstr>IBM Plex Sans</vt:lpstr>
      <vt:lpstr>IBM Plex Sans Light</vt:lpstr>
      <vt:lpstr>IBM Plex Sans Regular</vt:lpstr>
      <vt:lpstr>Times New Roman</vt:lpstr>
      <vt:lpstr>Wingdings</vt:lpstr>
      <vt:lpstr>Tema de Office</vt:lpstr>
      <vt:lpstr>IBM Cloud 2017</vt:lpstr>
      <vt:lpstr>2_IBM Cloud 2017</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ARRIBAS GOMEZ JAIME</cp:lastModifiedBy>
  <cp:revision>31</cp:revision>
  <cp:lastPrinted>2020-01-22T11:06:21Z</cp:lastPrinted>
  <dcterms:created xsi:type="dcterms:W3CDTF">2019-12-17T19:04:51Z</dcterms:created>
  <dcterms:modified xsi:type="dcterms:W3CDTF">2020-07-14T14:47: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01067738163A649AFF0A3EAC69D0CE2</vt:lpwstr>
  </property>
</Properties>
</file>